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5"/>
  </p:sldMasterIdLst>
  <p:notesMasterIdLst>
    <p:notesMasterId r:id="rId29"/>
  </p:notesMasterIdLst>
  <p:handoutMasterIdLst>
    <p:handoutMasterId r:id="rId30"/>
  </p:handoutMasterIdLst>
  <p:sldIdLst>
    <p:sldId id="271" r:id="rId6"/>
    <p:sldId id="301" r:id="rId7"/>
    <p:sldId id="363" r:id="rId8"/>
    <p:sldId id="302" r:id="rId9"/>
    <p:sldId id="364" r:id="rId10"/>
    <p:sldId id="304" r:id="rId11"/>
    <p:sldId id="305" r:id="rId12"/>
    <p:sldId id="306" r:id="rId13"/>
    <p:sldId id="307" r:id="rId14"/>
    <p:sldId id="361" r:id="rId15"/>
    <p:sldId id="309" r:id="rId16"/>
    <p:sldId id="310" r:id="rId17"/>
    <p:sldId id="311" r:id="rId18"/>
    <p:sldId id="325" r:id="rId19"/>
    <p:sldId id="365" r:id="rId20"/>
    <p:sldId id="314" r:id="rId21"/>
    <p:sldId id="263" r:id="rId22"/>
    <p:sldId id="316" r:id="rId23"/>
    <p:sldId id="317" r:id="rId24"/>
    <p:sldId id="366" r:id="rId25"/>
    <p:sldId id="362" r:id="rId26"/>
    <p:sldId id="320" r:id="rId27"/>
    <p:sldId id="321" r:id="rId28"/>
  </p:sldIdLst>
  <p:sldSz cx="12192000" cy="6858000"/>
  <p:notesSz cx="6858000" cy="9144000"/>
  <p:custDataLst>
    <p:tags r:id="rId3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49" userDrawn="1">
          <p15:clr>
            <a:srgbClr val="A4A3A4"/>
          </p15:clr>
        </p15:guide>
        <p15:guide id="2" pos="3727" userDrawn="1">
          <p15:clr>
            <a:srgbClr val="A4A3A4"/>
          </p15:clr>
        </p15:guide>
        <p15:guide id="3" orient="horz" pos="4020" userDrawn="1">
          <p15:clr>
            <a:srgbClr val="A4A3A4"/>
          </p15:clr>
        </p15:guide>
        <p15:guide id="4" pos="1890" userDrawn="1">
          <p15:clr>
            <a:srgbClr val="A4A3A4"/>
          </p15:clr>
        </p15:guide>
        <p15:guide id="5" pos="302" userDrawn="1">
          <p15:clr>
            <a:srgbClr val="A4A3A4"/>
          </p15:clr>
        </p15:guide>
        <p15:guide id="6" pos="2139" userDrawn="1">
          <p15:clr>
            <a:srgbClr val="A4A3A4"/>
          </p15:clr>
        </p15:guide>
        <p15:guide id="7" pos="3953" userDrawn="1">
          <p15:clr>
            <a:srgbClr val="A4A3A4"/>
          </p15:clr>
        </p15:guide>
        <p15:guide id="8" pos="5541" userDrawn="1">
          <p15:clr>
            <a:srgbClr val="A4A3A4"/>
          </p15:clr>
        </p15:guide>
        <p15:guide id="9" pos="5790" userDrawn="1">
          <p15:clr>
            <a:srgbClr val="A4A3A4"/>
          </p15:clr>
        </p15:guide>
        <p15:guide id="10" pos="737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464" autoAdjust="0"/>
    <p:restoredTop sz="95770" autoAdjust="0"/>
  </p:normalViewPr>
  <p:slideViewPr>
    <p:cSldViewPr snapToGrid="0" showGuides="1">
      <p:cViewPr varScale="1">
        <p:scale>
          <a:sx n="76" d="100"/>
          <a:sy n="76" d="100"/>
        </p:scale>
        <p:origin x="1171" y="67"/>
      </p:cViewPr>
      <p:guideLst>
        <p:guide orient="horz" pos="1049"/>
        <p:guide pos="3727"/>
        <p:guide orient="horz" pos="4020"/>
        <p:guide pos="1890"/>
        <p:guide pos="302"/>
        <p:guide pos="2139"/>
        <p:guide pos="3953"/>
        <p:guide pos="5541"/>
        <p:guide pos="5790"/>
        <p:guide pos="737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382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09ADE6A-3166-476D-9AE3-DD22170CEE1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872716" y="8789985"/>
            <a:ext cx="5508612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1200"/>
            </a:lvl1pPr>
          </a:lstStyle>
          <a:p>
            <a:endParaRPr lang="en-US" sz="900" dirty="0">
              <a:solidFill>
                <a:schemeClr val="accent4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FBBB2E1-D601-4688-B9C2-BFF59FCA9C1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76672" y="8789985"/>
            <a:ext cx="252028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pPr algn="l"/>
            <a:fld id="{B946A726-3560-4674-8880-C829E231F3F9}" type="slidenum">
              <a:rPr lang="en-US" sz="900" smtClean="0">
                <a:solidFill>
                  <a:schemeClr val="accent4"/>
                </a:solidFill>
              </a:rPr>
              <a:pPr algn="l"/>
              <a:t>‹Nr.›</a:t>
            </a:fld>
            <a:endParaRPr lang="en-US" sz="900">
              <a:solidFill>
                <a:schemeClr val="accent4"/>
              </a:solidFill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241C563-10AD-4969-977B-659A43DF655A}"/>
              </a:ext>
            </a:extLst>
          </p:cNvPr>
          <p:cNvGrpSpPr>
            <a:grpSpLocks noChangeAspect="1"/>
          </p:cNvGrpSpPr>
          <p:nvPr/>
        </p:nvGrpSpPr>
        <p:grpSpPr>
          <a:xfrm>
            <a:off x="5625243" y="359532"/>
            <a:ext cx="756245" cy="432596"/>
            <a:chOff x="-3733800" y="-3232150"/>
            <a:chExt cx="2259012" cy="1292225"/>
          </a:xfrm>
        </p:grpSpPr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28599F80-0D43-488D-AA42-27304C7AEF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733800" y="-2392363"/>
              <a:ext cx="450850" cy="452438"/>
            </a:xfrm>
            <a:custGeom>
              <a:avLst/>
              <a:gdLst>
                <a:gd name="T0" fmla="*/ 284 w 284"/>
                <a:gd name="T1" fmla="*/ 285 h 285"/>
                <a:gd name="T2" fmla="*/ 0 w 284"/>
                <a:gd name="T3" fmla="*/ 285 h 285"/>
                <a:gd name="T4" fmla="*/ 0 w 284"/>
                <a:gd name="T5" fmla="*/ 0 h 285"/>
                <a:gd name="T6" fmla="*/ 81 w 284"/>
                <a:gd name="T7" fmla="*/ 0 h 285"/>
                <a:gd name="T8" fmla="*/ 81 w 284"/>
                <a:gd name="T9" fmla="*/ 204 h 285"/>
                <a:gd name="T10" fmla="*/ 284 w 284"/>
                <a:gd name="T11" fmla="*/ 204 h 285"/>
                <a:gd name="T12" fmla="*/ 284 w 284"/>
                <a:gd name="T13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4" h="285">
                  <a:moveTo>
                    <a:pt x="284" y="285"/>
                  </a:moveTo>
                  <a:lnTo>
                    <a:pt x="0" y="285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204"/>
                  </a:lnTo>
                  <a:lnTo>
                    <a:pt x="284" y="204"/>
                  </a:lnTo>
                  <a:lnTo>
                    <a:pt x="284" y="28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15">
              <a:extLst>
                <a:ext uri="{FF2B5EF4-FFF2-40B4-BE49-F238E27FC236}">
                  <a16:creationId xmlns:a16="http://schemas.microsoft.com/office/drawing/2014/main" id="{9139A25F-3947-48CD-8C63-405F7BA2250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25638" y="-3232150"/>
              <a:ext cx="450850" cy="452438"/>
            </a:xfrm>
            <a:custGeom>
              <a:avLst/>
              <a:gdLst>
                <a:gd name="T0" fmla="*/ 284 w 284"/>
                <a:gd name="T1" fmla="*/ 285 h 285"/>
                <a:gd name="T2" fmla="*/ 203 w 284"/>
                <a:gd name="T3" fmla="*/ 285 h 285"/>
                <a:gd name="T4" fmla="*/ 203 w 284"/>
                <a:gd name="T5" fmla="*/ 81 h 285"/>
                <a:gd name="T6" fmla="*/ 0 w 284"/>
                <a:gd name="T7" fmla="*/ 81 h 285"/>
                <a:gd name="T8" fmla="*/ 0 w 284"/>
                <a:gd name="T9" fmla="*/ 0 h 285"/>
                <a:gd name="T10" fmla="*/ 284 w 284"/>
                <a:gd name="T11" fmla="*/ 0 h 285"/>
                <a:gd name="T12" fmla="*/ 284 w 284"/>
                <a:gd name="T13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4" h="285">
                  <a:moveTo>
                    <a:pt x="284" y="285"/>
                  </a:moveTo>
                  <a:lnTo>
                    <a:pt x="203" y="285"/>
                  </a:lnTo>
                  <a:lnTo>
                    <a:pt x="203" y="81"/>
                  </a:lnTo>
                  <a:lnTo>
                    <a:pt x="0" y="81"/>
                  </a:lnTo>
                  <a:lnTo>
                    <a:pt x="0" y="0"/>
                  </a:lnTo>
                  <a:lnTo>
                    <a:pt x="284" y="0"/>
                  </a:lnTo>
                  <a:lnTo>
                    <a:pt x="284" y="28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" name="Freeform 16">
              <a:extLst>
                <a:ext uri="{FF2B5EF4-FFF2-40B4-BE49-F238E27FC236}">
                  <a16:creationId xmlns:a16="http://schemas.microsoft.com/office/drawing/2014/main" id="{206FABAB-0335-4391-B5DA-514BA6E93D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3346450" y="-2846388"/>
              <a:ext cx="436562" cy="519113"/>
            </a:xfrm>
            <a:custGeom>
              <a:avLst/>
              <a:gdLst>
                <a:gd name="T0" fmla="*/ 1978 w 1978"/>
                <a:gd name="T1" fmla="*/ 906 h 2351"/>
                <a:gd name="T2" fmla="*/ 1086 w 1978"/>
                <a:gd name="T3" fmla="*/ 0 h 2351"/>
                <a:gd name="T4" fmla="*/ 0 w 1978"/>
                <a:gd name="T5" fmla="*/ 0 h 2351"/>
                <a:gd name="T6" fmla="*/ 0 w 1978"/>
                <a:gd name="T7" fmla="*/ 2351 h 2351"/>
                <a:gd name="T8" fmla="*/ 571 w 1978"/>
                <a:gd name="T9" fmla="*/ 2351 h 2351"/>
                <a:gd name="T10" fmla="*/ 571 w 1978"/>
                <a:gd name="T11" fmla="*/ 1818 h 2351"/>
                <a:gd name="T12" fmla="*/ 1082 w 1978"/>
                <a:gd name="T13" fmla="*/ 1818 h 2351"/>
                <a:gd name="T14" fmla="*/ 1978 w 1978"/>
                <a:gd name="T15" fmla="*/ 906 h 2351"/>
                <a:gd name="T16" fmla="*/ 1404 w 1978"/>
                <a:gd name="T17" fmla="*/ 906 h 2351"/>
                <a:gd name="T18" fmla="*/ 1020 w 1978"/>
                <a:gd name="T19" fmla="*/ 1296 h 2351"/>
                <a:gd name="T20" fmla="*/ 571 w 1978"/>
                <a:gd name="T21" fmla="*/ 1296 h 2351"/>
                <a:gd name="T22" fmla="*/ 571 w 1978"/>
                <a:gd name="T23" fmla="*/ 526 h 2351"/>
                <a:gd name="T24" fmla="*/ 1020 w 1978"/>
                <a:gd name="T25" fmla="*/ 526 h 2351"/>
                <a:gd name="T26" fmla="*/ 1404 w 1978"/>
                <a:gd name="T27" fmla="*/ 906 h 2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78" h="2351">
                  <a:moveTo>
                    <a:pt x="1978" y="906"/>
                  </a:moveTo>
                  <a:cubicBezTo>
                    <a:pt x="1978" y="450"/>
                    <a:pt x="1687" y="0"/>
                    <a:pt x="10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51"/>
                    <a:pt x="0" y="2351"/>
                    <a:pt x="0" y="2351"/>
                  </a:cubicBezTo>
                  <a:cubicBezTo>
                    <a:pt x="571" y="2351"/>
                    <a:pt x="571" y="2351"/>
                    <a:pt x="571" y="2351"/>
                  </a:cubicBezTo>
                  <a:cubicBezTo>
                    <a:pt x="571" y="1818"/>
                    <a:pt x="571" y="1818"/>
                    <a:pt x="571" y="1818"/>
                  </a:cubicBezTo>
                  <a:cubicBezTo>
                    <a:pt x="1082" y="1818"/>
                    <a:pt x="1082" y="1818"/>
                    <a:pt x="1082" y="1818"/>
                  </a:cubicBezTo>
                  <a:cubicBezTo>
                    <a:pt x="1684" y="1818"/>
                    <a:pt x="1978" y="1369"/>
                    <a:pt x="1978" y="906"/>
                  </a:cubicBezTo>
                  <a:close/>
                  <a:moveTo>
                    <a:pt x="1404" y="906"/>
                  </a:moveTo>
                  <a:cubicBezTo>
                    <a:pt x="1404" y="1162"/>
                    <a:pt x="1248" y="1296"/>
                    <a:pt x="1020" y="1296"/>
                  </a:cubicBezTo>
                  <a:cubicBezTo>
                    <a:pt x="571" y="1296"/>
                    <a:pt x="571" y="1296"/>
                    <a:pt x="571" y="1296"/>
                  </a:cubicBezTo>
                  <a:cubicBezTo>
                    <a:pt x="571" y="526"/>
                    <a:pt x="571" y="526"/>
                    <a:pt x="571" y="526"/>
                  </a:cubicBezTo>
                  <a:cubicBezTo>
                    <a:pt x="1020" y="526"/>
                    <a:pt x="1020" y="526"/>
                    <a:pt x="1020" y="526"/>
                  </a:cubicBezTo>
                  <a:cubicBezTo>
                    <a:pt x="1248" y="529"/>
                    <a:pt x="1404" y="653"/>
                    <a:pt x="1404" y="90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17">
              <a:extLst>
                <a:ext uri="{FF2B5EF4-FFF2-40B4-BE49-F238E27FC236}">
                  <a16:creationId xmlns:a16="http://schemas.microsoft.com/office/drawing/2014/main" id="{B0C69A18-1727-4A25-93B8-CBD0E3F2517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2330450" y="-2846388"/>
              <a:ext cx="585787" cy="519113"/>
            </a:xfrm>
            <a:custGeom>
              <a:avLst/>
              <a:gdLst>
                <a:gd name="T0" fmla="*/ 369 w 369"/>
                <a:gd name="T1" fmla="*/ 327 h 327"/>
                <a:gd name="T2" fmla="*/ 228 w 369"/>
                <a:gd name="T3" fmla="*/ 0 h 327"/>
                <a:gd name="T4" fmla="*/ 140 w 369"/>
                <a:gd name="T5" fmla="*/ 0 h 327"/>
                <a:gd name="T6" fmla="*/ 0 w 369"/>
                <a:gd name="T7" fmla="*/ 327 h 327"/>
                <a:gd name="T8" fmla="*/ 84 w 369"/>
                <a:gd name="T9" fmla="*/ 327 h 327"/>
                <a:gd name="T10" fmla="*/ 106 w 369"/>
                <a:gd name="T11" fmla="*/ 276 h 327"/>
                <a:gd name="T12" fmla="*/ 264 w 369"/>
                <a:gd name="T13" fmla="*/ 276 h 327"/>
                <a:gd name="T14" fmla="*/ 285 w 369"/>
                <a:gd name="T15" fmla="*/ 327 h 327"/>
                <a:gd name="T16" fmla="*/ 369 w 369"/>
                <a:gd name="T17" fmla="*/ 327 h 327"/>
                <a:gd name="T18" fmla="*/ 369 w 369"/>
                <a:gd name="T19" fmla="*/ 327 h 327"/>
                <a:gd name="T20" fmla="*/ 236 w 369"/>
                <a:gd name="T21" fmla="*/ 211 h 327"/>
                <a:gd name="T22" fmla="*/ 133 w 369"/>
                <a:gd name="T23" fmla="*/ 211 h 327"/>
                <a:gd name="T24" fmla="*/ 185 w 369"/>
                <a:gd name="T25" fmla="*/ 89 h 327"/>
                <a:gd name="T26" fmla="*/ 236 w 369"/>
                <a:gd name="T27" fmla="*/ 211 h 327"/>
                <a:gd name="T28" fmla="*/ 236 w 369"/>
                <a:gd name="T29" fmla="*/ 21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9" h="327">
                  <a:moveTo>
                    <a:pt x="369" y="327"/>
                  </a:moveTo>
                  <a:lnTo>
                    <a:pt x="228" y="0"/>
                  </a:lnTo>
                  <a:lnTo>
                    <a:pt x="140" y="0"/>
                  </a:lnTo>
                  <a:lnTo>
                    <a:pt x="0" y="327"/>
                  </a:lnTo>
                  <a:lnTo>
                    <a:pt x="84" y="327"/>
                  </a:lnTo>
                  <a:lnTo>
                    <a:pt x="106" y="276"/>
                  </a:lnTo>
                  <a:lnTo>
                    <a:pt x="264" y="276"/>
                  </a:lnTo>
                  <a:lnTo>
                    <a:pt x="285" y="327"/>
                  </a:lnTo>
                  <a:lnTo>
                    <a:pt x="369" y="327"/>
                  </a:lnTo>
                  <a:lnTo>
                    <a:pt x="369" y="327"/>
                  </a:lnTo>
                  <a:close/>
                  <a:moveTo>
                    <a:pt x="236" y="211"/>
                  </a:moveTo>
                  <a:lnTo>
                    <a:pt x="133" y="211"/>
                  </a:lnTo>
                  <a:lnTo>
                    <a:pt x="185" y="89"/>
                  </a:lnTo>
                  <a:lnTo>
                    <a:pt x="236" y="211"/>
                  </a:lnTo>
                  <a:lnTo>
                    <a:pt x="236" y="2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18">
              <a:extLst>
                <a:ext uri="{FF2B5EF4-FFF2-40B4-BE49-F238E27FC236}">
                  <a16:creationId xmlns:a16="http://schemas.microsoft.com/office/drawing/2014/main" id="{57A7FC6B-2F16-4C7C-8271-F677E20540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46363" y="-2846388"/>
              <a:ext cx="311150" cy="519113"/>
            </a:xfrm>
            <a:custGeom>
              <a:avLst/>
              <a:gdLst>
                <a:gd name="T0" fmla="*/ 0 w 196"/>
                <a:gd name="T1" fmla="*/ 0 h 327"/>
                <a:gd name="T2" fmla="*/ 0 w 196"/>
                <a:gd name="T3" fmla="*/ 73 h 327"/>
                <a:gd name="T4" fmla="*/ 0 w 196"/>
                <a:gd name="T5" fmla="*/ 327 h 327"/>
                <a:gd name="T6" fmla="*/ 80 w 196"/>
                <a:gd name="T7" fmla="*/ 327 h 327"/>
                <a:gd name="T8" fmla="*/ 80 w 196"/>
                <a:gd name="T9" fmla="*/ 73 h 327"/>
                <a:gd name="T10" fmla="*/ 196 w 196"/>
                <a:gd name="T11" fmla="*/ 73 h 327"/>
                <a:gd name="T12" fmla="*/ 196 w 196"/>
                <a:gd name="T13" fmla="*/ 0 h 327"/>
                <a:gd name="T14" fmla="*/ 0 w 196"/>
                <a:gd name="T15" fmla="*/ 0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6" h="327">
                  <a:moveTo>
                    <a:pt x="0" y="0"/>
                  </a:moveTo>
                  <a:lnTo>
                    <a:pt x="0" y="73"/>
                  </a:lnTo>
                  <a:lnTo>
                    <a:pt x="0" y="327"/>
                  </a:lnTo>
                  <a:lnTo>
                    <a:pt x="80" y="327"/>
                  </a:lnTo>
                  <a:lnTo>
                    <a:pt x="80" y="73"/>
                  </a:lnTo>
                  <a:lnTo>
                    <a:pt x="196" y="73"/>
                  </a:lnTo>
                  <a:lnTo>
                    <a:pt x="19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Rectangle 19">
              <a:extLst>
                <a:ext uri="{FF2B5EF4-FFF2-40B4-BE49-F238E27FC236}">
                  <a16:creationId xmlns:a16="http://schemas.microsoft.com/office/drawing/2014/main" id="{C1E71D9B-BA39-4581-A84C-226F5D72207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2830513" y="-2846388"/>
              <a:ext cx="112712" cy="1158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8880388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895088" y="8604448"/>
            <a:ext cx="5486400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accent4"/>
                </a:solidFill>
              </a:defRPr>
            </a:lvl1pPr>
          </a:lstStyle>
          <a:p>
            <a:endParaRPr lang="en-US" sz="90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76512" y="8604448"/>
            <a:ext cx="228463" cy="1384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>
              <a:defRPr sz="900">
                <a:solidFill>
                  <a:schemeClr val="accent4"/>
                </a:solidFill>
              </a:defRPr>
            </a:lvl1pPr>
          </a:lstStyle>
          <a:p>
            <a:pPr algn="l"/>
            <a:fld id="{AC7AD370-DACE-4493-8CE9-180F13309A68}" type="slidenum">
              <a:rPr lang="en-US" smtClean="0"/>
              <a:pPr algn="l"/>
              <a:t>‹Nr.›</a:t>
            </a:fld>
            <a:endParaRPr lang="en-US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9675B0B0-67EB-41F3-B497-C3E162BF05BA}"/>
              </a:ext>
            </a:extLst>
          </p:cNvPr>
          <p:cNvGrpSpPr>
            <a:grpSpLocks noChangeAspect="1"/>
          </p:cNvGrpSpPr>
          <p:nvPr/>
        </p:nvGrpSpPr>
        <p:grpSpPr>
          <a:xfrm>
            <a:off x="5625243" y="359532"/>
            <a:ext cx="756245" cy="432596"/>
            <a:chOff x="-3733800" y="-3232150"/>
            <a:chExt cx="2259012" cy="1292225"/>
          </a:xfrm>
        </p:grpSpPr>
        <p:sp>
          <p:nvSpPr>
            <p:cNvPr id="9" name="Freeform 14">
              <a:extLst>
                <a:ext uri="{FF2B5EF4-FFF2-40B4-BE49-F238E27FC236}">
                  <a16:creationId xmlns:a16="http://schemas.microsoft.com/office/drawing/2014/main" id="{7C86226E-56DD-4051-8D97-4F0FC4D695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733800" y="-2392363"/>
              <a:ext cx="450850" cy="452438"/>
            </a:xfrm>
            <a:custGeom>
              <a:avLst/>
              <a:gdLst>
                <a:gd name="T0" fmla="*/ 284 w 284"/>
                <a:gd name="T1" fmla="*/ 285 h 285"/>
                <a:gd name="T2" fmla="*/ 0 w 284"/>
                <a:gd name="T3" fmla="*/ 285 h 285"/>
                <a:gd name="T4" fmla="*/ 0 w 284"/>
                <a:gd name="T5" fmla="*/ 0 h 285"/>
                <a:gd name="T6" fmla="*/ 81 w 284"/>
                <a:gd name="T7" fmla="*/ 0 h 285"/>
                <a:gd name="T8" fmla="*/ 81 w 284"/>
                <a:gd name="T9" fmla="*/ 204 h 285"/>
                <a:gd name="T10" fmla="*/ 284 w 284"/>
                <a:gd name="T11" fmla="*/ 204 h 285"/>
                <a:gd name="T12" fmla="*/ 284 w 284"/>
                <a:gd name="T13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4" h="285">
                  <a:moveTo>
                    <a:pt x="284" y="285"/>
                  </a:moveTo>
                  <a:lnTo>
                    <a:pt x="0" y="285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204"/>
                  </a:lnTo>
                  <a:lnTo>
                    <a:pt x="284" y="204"/>
                  </a:lnTo>
                  <a:lnTo>
                    <a:pt x="284" y="28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07D07C8F-AFE9-4A19-BF1C-E95D3E638D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925638" y="-3232150"/>
              <a:ext cx="450850" cy="452438"/>
            </a:xfrm>
            <a:custGeom>
              <a:avLst/>
              <a:gdLst>
                <a:gd name="T0" fmla="*/ 284 w 284"/>
                <a:gd name="T1" fmla="*/ 285 h 285"/>
                <a:gd name="T2" fmla="*/ 203 w 284"/>
                <a:gd name="T3" fmla="*/ 285 h 285"/>
                <a:gd name="T4" fmla="*/ 203 w 284"/>
                <a:gd name="T5" fmla="*/ 81 h 285"/>
                <a:gd name="T6" fmla="*/ 0 w 284"/>
                <a:gd name="T7" fmla="*/ 81 h 285"/>
                <a:gd name="T8" fmla="*/ 0 w 284"/>
                <a:gd name="T9" fmla="*/ 0 h 285"/>
                <a:gd name="T10" fmla="*/ 284 w 284"/>
                <a:gd name="T11" fmla="*/ 0 h 285"/>
                <a:gd name="T12" fmla="*/ 284 w 284"/>
                <a:gd name="T13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4" h="285">
                  <a:moveTo>
                    <a:pt x="284" y="285"/>
                  </a:moveTo>
                  <a:lnTo>
                    <a:pt x="203" y="285"/>
                  </a:lnTo>
                  <a:lnTo>
                    <a:pt x="203" y="81"/>
                  </a:lnTo>
                  <a:lnTo>
                    <a:pt x="0" y="81"/>
                  </a:lnTo>
                  <a:lnTo>
                    <a:pt x="0" y="0"/>
                  </a:lnTo>
                  <a:lnTo>
                    <a:pt x="284" y="0"/>
                  </a:lnTo>
                  <a:lnTo>
                    <a:pt x="284" y="28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6751C4B9-5561-4BEE-A389-91EFAC05A5B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3346450" y="-2846388"/>
              <a:ext cx="436562" cy="519113"/>
            </a:xfrm>
            <a:custGeom>
              <a:avLst/>
              <a:gdLst>
                <a:gd name="T0" fmla="*/ 1978 w 1978"/>
                <a:gd name="T1" fmla="*/ 906 h 2351"/>
                <a:gd name="T2" fmla="*/ 1086 w 1978"/>
                <a:gd name="T3" fmla="*/ 0 h 2351"/>
                <a:gd name="T4" fmla="*/ 0 w 1978"/>
                <a:gd name="T5" fmla="*/ 0 h 2351"/>
                <a:gd name="T6" fmla="*/ 0 w 1978"/>
                <a:gd name="T7" fmla="*/ 2351 h 2351"/>
                <a:gd name="T8" fmla="*/ 571 w 1978"/>
                <a:gd name="T9" fmla="*/ 2351 h 2351"/>
                <a:gd name="T10" fmla="*/ 571 w 1978"/>
                <a:gd name="T11" fmla="*/ 1818 h 2351"/>
                <a:gd name="T12" fmla="*/ 1082 w 1978"/>
                <a:gd name="T13" fmla="*/ 1818 h 2351"/>
                <a:gd name="T14" fmla="*/ 1978 w 1978"/>
                <a:gd name="T15" fmla="*/ 906 h 2351"/>
                <a:gd name="T16" fmla="*/ 1404 w 1978"/>
                <a:gd name="T17" fmla="*/ 906 h 2351"/>
                <a:gd name="T18" fmla="*/ 1020 w 1978"/>
                <a:gd name="T19" fmla="*/ 1296 h 2351"/>
                <a:gd name="T20" fmla="*/ 571 w 1978"/>
                <a:gd name="T21" fmla="*/ 1296 h 2351"/>
                <a:gd name="T22" fmla="*/ 571 w 1978"/>
                <a:gd name="T23" fmla="*/ 526 h 2351"/>
                <a:gd name="T24" fmla="*/ 1020 w 1978"/>
                <a:gd name="T25" fmla="*/ 526 h 2351"/>
                <a:gd name="T26" fmla="*/ 1404 w 1978"/>
                <a:gd name="T27" fmla="*/ 906 h 2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78" h="2351">
                  <a:moveTo>
                    <a:pt x="1978" y="906"/>
                  </a:moveTo>
                  <a:cubicBezTo>
                    <a:pt x="1978" y="450"/>
                    <a:pt x="1687" y="0"/>
                    <a:pt x="10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51"/>
                    <a:pt x="0" y="2351"/>
                    <a:pt x="0" y="2351"/>
                  </a:cubicBezTo>
                  <a:cubicBezTo>
                    <a:pt x="571" y="2351"/>
                    <a:pt x="571" y="2351"/>
                    <a:pt x="571" y="2351"/>
                  </a:cubicBezTo>
                  <a:cubicBezTo>
                    <a:pt x="571" y="1818"/>
                    <a:pt x="571" y="1818"/>
                    <a:pt x="571" y="1818"/>
                  </a:cubicBezTo>
                  <a:cubicBezTo>
                    <a:pt x="1082" y="1818"/>
                    <a:pt x="1082" y="1818"/>
                    <a:pt x="1082" y="1818"/>
                  </a:cubicBezTo>
                  <a:cubicBezTo>
                    <a:pt x="1684" y="1818"/>
                    <a:pt x="1978" y="1369"/>
                    <a:pt x="1978" y="906"/>
                  </a:cubicBezTo>
                  <a:close/>
                  <a:moveTo>
                    <a:pt x="1404" y="906"/>
                  </a:moveTo>
                  <a:cubicBezTo>
                    <a:pt x="1404" y="1162"/>
                    <a:pt x="1248" y="1296"/>
                    <a:pt x="1020" y="1296"/>
                  </a:cubicBezTo>
                  <a:cubicBezTo>
                    <a:pt x="571" y="1296"/>
                    <a:pt x="571" y="1296"/>
                    <a:pt x="571" y="1296"/>
                  </a:cubicBezTo>
                  <a:cubicBezTo>
                    <a:pt x="571" y="526"/>
                    <a:pt x="571" y="526"/>
                    <a:pt x="571" y="526"/>
                  </a:cubicBezTo>
                  <a:cubicBezTo>
                    <a:pt x="1020" y="526"/>
                    <a:pt x="1020" y="526"/>
                    <a:pt x="1020" y="526"/>
                  </a:cubicBezTo>
                  <a:cubicBezTo>
                    <a:pt x="1248" y="529"/>
                    <a:pt x="1404" y="653"/>
                    <a:pt x="1404" y="90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2" name="Freeform 17">
              <a:extLst>
                <a:ext uri="{FF2B5EF4-FFF2-40B4-BE49-F238E27FC236}">
                  <a16:creationId xmlns:a16="http://schemas.microsoft.com/office/drawing/2014/main" id="{03B3F8F8-B2CE-4CE1-B1AF-2F26DFA880A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-2330450" y="-2846388"/>
              <a:ext cx="585787" cy="519113"/>
            </a:xfrm>
            <a:custGeom>
              <a:avLst/>
              <a:gdLst>
                <a:gd name="T0" fmla="*/ 369 w 369"/>
                <a:gd name="T1" fmla="*/ 327 h 327"/>
                <a:gd name="T2" fmla="*/ 228 w 369"/>
                <a:gd name="T3" fmla="*/ 0 h 327"/>
                <a:gd name="T4" fmla="*/ 140 w 369"/>
                <a:gd name="T5" fmla="*/ 0 h 327"/>
                <a:gd name="T6" fmla="*/ 0 w 369"/>
                <a:gd name="T7" fmla="*/ 327 h 327"/>
                <a:gd name="T8" fmla="*/ 84 w 369"/>
                <a:gd name="T9" fmla="*/ 327 h 327"/>
                <a:gd name="T10" fmla="*/ 106 w 369"/>
                <a:gd name="T11" fmla="*/ 276 h 327"/>
                <a:gd name="T12" fmla="*/ 264 w 369"/>
                <a:gd name="T13" fmla="*/ 276 h 327"/>
                <a:gd name="T14" fmla="*/ 285 w 369"/>
                <a:gd name="T15" fmla="*/ 327 h 327"/>
                <a:gd name="T16" fmla="*/ 369 w 369"/>
                <a:gd name="T17" fmla="*/ 327 h 327"/>
                <a:gd name="T18" fmla="*/ 369 w 369"/>
                <a:gd name="T19" fmla="*/ 327 h 327"/>
                <a:gd name="T20" fmla="*/ 236 w 369"/>
                <a:gd name="T21" fmla="*/ 211 h 327"/>
                <a:gd name="T22" fmla="*/ 133 w 369"/>
                <a:gd name="T23" fmla="*/ 211 h 327"/>
                <a:gd name="T24" fmla="*/ 185 w 369"/>
                <a:gd name="T25" fmla="*/ 89 h 327"/>
                <a:gd name="T26" fmla="*/ 236 w 369"/>
                <a:gd name="T27" fmla="*/ 211 h 327"/>
                <a:gd name="T28" fmla="*/ 236 w 369"/>
                <a:gd name="T29" fmla="*/ 211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9" h="327">
                  <a:moveTo>
                    <a:pt x="369" y="327"/>
                  </a:moveTo>
                  <a:lnTo>
                    <a:pt x="228" y="0"/>
                  </a:lnTo>
                  <a:lnTo>
                    <a:pt x="140" y="0"/>
                  </a:lnTo>
                  <a:lnTo>
                    <a:pt x="0" y="327"/>
                  </a:lnTo>
                  <a:lnTo>
                    <a:pt x="84" y="327"/>
                  </a:lnTo>
                  <a:lnTo>
                    <a:pt x="106" y="276"/>
                  </a:lnTo>
                  <a:lnTo>
                    <a:pt x="264" y="276"/>
                  </a:lnTo>
                  <a:lnTo>
                    <a:pt x="285" y="327"/>
                  </a:lnTo>
                  <a:lnTo>
                    <a:pt x="369" y="327"/>
                  </a:lnTo>
                  <a:lnTo>
                    <a:pt x="369" y="327"/>
                  </a:lnTo>
                  <a:close/>
                  <a:moveTo>
                    <a:pt x="236" y="211"/>
                  </a:moveTo>
                  <a:lnTo>
                    <a:pt x="133" y="211"/>
                  </a:lnTo>
                  <a:lnTo>
                    <a:pt x="185" y="89"/>
                  </a:lnTo>
                  <a:lnTo>
                    <a:pt x="236" y="211"/>
                  </a:lnTo>
                  <a:lnTo>
                    <a:pt x="236" y="21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18">
              <a:extLst>
                <a:ext uri="{FF2B5EF4-FFF2-40B4-BE49-F238E27FC236}">
                  <a16:creationId xmlns:a16="http://schemas.microsoft.com/office/drawing/2014/main" id="{9F25133F-FCE2-4456-8162-8F5104F459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2646363" y="-2846388"/>
              <a:ext cx="311150" cy="519113"/>
            </a:xfrm>
            <a:custGeom>
              <a:avLst/>
              <a:gdLst>
                <a:gd name="T0" fmla="*/ 0 w 196"/>
                <a:gd name="T1" fmla="*/ 0 h 327"/>
                <a:gd name="T2" fmla="*/ 0 w 196"/>
                <a:gd name="T3" fmla="*/ 73 h 327"/>
                <a:gd name="T4" fmla="*/ 0 w 196"/>
                <a:gd name="T5" fmla="*/ 327 h 327"/>
                <a:gd name="T6" fmla="*/ 80 w 196"/>
                <a:gd name="T7" fmla="*/ 327 h 327"/>
                <a:gd name="T8" fmla="*/ 80 w 196"/>
                <a:gd name="T9" fmla="*/ 73 h 327"/>
                <a:gd name="T10" fmla="*/ 196 w 196"/>
                <a:gd name="T11" fmla="*/ 73 h 327"/>
                <a:gd name="T12" fmla="*/ 196 w 196"/>
                <a:gd name="T13" fmla="*/ 0 h 327"/>
                <a:gd name="T14" fmla="*/ 0 w 196"/>
                <a:gd name="T15" fmla="*/ 0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6" h="327">
                  <a:moveTo>
                    <a:pt x="0" y="0"/>
                  </a:moveTo>
                  <a:lnTo>
                    <a:pt x="0" y="73"/>
                  </a:lnTo>
                  <a:lnTo>
                    <a:pt x="0" y="327"/>
                  </a:lnTo>
                  <a:lnTo>
                    <a:pt x="80" y="327"/>
                  </a:lnTo>
                  <a:lnTo>
                    <a:pt x="80" y="73"/>
                  </a:lnTo>
                  <a:lnTo>
                    <a:pt x="196" y="73"/>
                  </a:lnTo>
                  <a:lnTo>
                    <a:pt x="19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Rectangle 19">
              <a:extLst>
                <a:ext uri="{FF2B5EF4-FFF2-40B4-BE49-F238E27FC236}">
                  <a16:creationId xmlns:a16="http://schemas.microsoft.com/office/drawing/2014/main" id="{DDCCBF7B-6613-4089-8DE1-5BF0D3D7F1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2830513" y="-2846388"/>
              <a:ext cx="112712" cy="11588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87598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spcBef>
        <a:spcPts val="600"/>
      </a:spcBef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spcBef>
        <a:spcPts val="400"/>
      </a:spcBef>
      <a:buFont typeface="Segoe UI Light" panose="020B0502040204020203" pitchFamily="34" charset="0"/>
      <a:buChar char="−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spcBef>
        <a:spcPts val="200"/>
      </a:spcBef>
      <a:buFont typeface="Segoe UI Light" panose="020B0502040204020203" pitchFamily="34" charset="0"/>
      <a:buChar char="−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spcBef>
        <a:spcPts val="100"/>
      </a:spcBef>
      <a:buFont typeface="Segoe UI Light" panose="020B0502040204020203" pitchFamily="34" charset="0"/>
      <a:buChar char="−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Workspace-übergreifendes</a:t>
            </a:r>
            <a:r>
              <a:rPr lang="de-DE" baseline="0" dirty="0"/>
              <a:t> Arbeiten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/>
            <a:fld id="{AC7AD370-DACE-4493-8CE9-180F13309A68}" type="slidenum">
              <a:rPr lang="en-US" smtClean="0"/>
              <a:pPr algn="l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6441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emf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BC3D554B-1A05-4C53-AEDE-FDAF4EF1CFD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0" y="339"/>
            <a:ext cx="12192000" cy="6857322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9B0C33EE-937D-45EA-BAAF-A06AC56F1C9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6000" y="485775"/>
            <a:ext cx="2259371" cy="1292678"/>
          </a:xfrm>
          <a:prstGeom prst="rect">
            <a:avLst/>
          </a:prstGeom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EB153809-CE5C-4962-97F6-C99EBD4A40A5}"/>
              </a:ext>
            </a:extLst>
          </p:cNvPr>
          <p:cNvGrpSpPr/>
          <p:nvPr userDrawn="1"/>
        </p:nvGrpSpPr>
        <p:grpSpPr bwMode="gray">
          <a:xfrm>
            <a:off x="11713200" y="-1"/>
            <a:ext cx="478800" cy="478801"/>
            <a:chOff x="11713200" y="-1"/>
            <a:chExt cx="478800" cy="478801"/>
          </a:xfrm>
          <a:solidFill>
            <a:schemeClr val="accent1"/>
          </a:solidFill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A445A790-7FBD-4676-A0FD-3300CC337AD0}"/>
                </a:ext>
              </a:extLst>
            </p:cNvPr>
            <p:cNvSpPr/>
            <p:nvPr userDrawn="1"/>
          </p:nvSpPr>
          <p:spPr bwMode="gray">
            <a:xfrm>
              <a:off x="11713200" y="-1"/>
              <a:ext cx="478800" cy="136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15EC3EC7-9701-426E-8775-1AC4AA37274C}"/>
                </a:ext>
              </a:extLst>
            </p:cNvPr>
            <p:cNvSpPr/>
            <p:nvPr userDrawn="1"/>
          </p:nvSpPr>
          <p:spPr bwMode="gray">
            <a:xfrm>
              <a:off x="12055200" y="0"/>
              <a:ext cx="136800" cy="478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262A831-8A59-4A07-9370-600ECA32A907}"/>
              </a:ext>
            </a:extLst>
          </p:cNvPr>
          <p:cNvGrpSpPr/>
          <p:nvPr userDrawn="1"/>
        </p:nvGrpSpPr>
        <p:grpSpPr bwMode="gray">
          <a:xfrm>
            <a:off x="0" y="6379200"/>
            <a:ext cx="478800" cy="478800"/>
            <a:chOff x="0" y="6379200"/>
            <a:chExt cx="478800" cy="478800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9852F6FF-D962-474B-A702-A2843D970FDC}"/>
                </a:ext>
              </a:extLst>
            </p:cNvPr>
            <p:cNvSpPr/>
            <p:nvPr userDrawn="1"/>
          </p:nvSpPr>
          <p:spPr bwMode="gray">
            <a:xfrm>
              <a:off x="0" y="6721200"/>
              <a:ext cx="478800" cy="136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B0DE7587-4E92-49FC-A4AD-8881F2471EB6}"/>
                </a:ext>
              </a:extLst>
            </p:cNvPr>
            <p:cNvSpPr/>
            <p:nvPr userDrawn="1"/>
          </p:nvSpPr>
          <p:spPr bwMode="gray">
            <a:xfrm>
              <a:off x="0" y="6379200"/>
              <a:ext cx="136800" cy="478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0EAA46B-A94E-44C8-9B47-497C0E926F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50387" y="2353213"/>
            <a:ext cx="6696000" cy="2105192"/>
          </a:xfrm>
        </p:spPr>
        <p:txBody>
          <a:bodyPr anchor="b">
            <a:sp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Präsentationstitel durch Klicken bearbeiten</a:t>
            </a:r>
          </a:p>
        </p:txBody>
      </p:sp>
      <p:cxnSp>
        <p:nvCxnSpPr>
          <p:cNvPr id="25" name="Straight Connector 66">
            <a:extLst>
              <a:ext uri="{FF2B5EF4-FFF2-40B4-BE49-F238E27FC236}">
                <a16:creationId xmlns:a16="http://schemas.microsoft.com/office/drawing/2014/main" id="{4086AD63-2727-446B-9DE1-B4CB1115FDD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50387" y="4591640"/>
            <a:ext cx="5436000" cy="0"/>
          </a:xfrm>
          <a:prstGeom prst="line">
            <a:avLst/>
          </a:prstGeom>
          <a:ln>
            <a:gradFill>
              <a:gsLst>
                <a:gs pos="53100">
                  <a:schemeClr val="accent1"/>
                </a:gs>
                <a:gs pos="0">
                  <a:schemeClr val="accent3"/>
                </a:gs>
                <a:gs pos="100000">
                  <a:schemeClr val="accent1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1C225DA6-3CAB-4974-B562-FA685A471D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50386" y="5954191"/>
            <a:ext cx="6695999" cy="215444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Name Nachname, Ort, Datum durch Klicken bearbeit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80597CC-6F44-4DBB-84E3-0462194EE4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50385" y="4757439"/>
            <a:ext cx="6696000" cy="3077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339423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(zwei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5F69EB-4EA7-4953-9C03-3060D924C7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Folientitel durch Klicken bearbeiten (maximal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9CBE55-A567-41E3-9C5C-7D030E3239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>
                <a:solidFill>
                  <a:schemeClr val="accent4"/>
                </a:solidFill>
              </a:rPr>
              <a:t>PTA – Vorstellung Inflectr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96D90A-53C2-4455-9763-3E48449EAD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5" name="Straight Connector 66">
            <a:extLst>
              <a:ext uri="{FF2B5EF4-FFF2-40B4-BE49-F238E27FC236}">
                <a16:creationId xmlns:a16="http://schemas.microsoft.com/office/drawing/2014/main" id="{F0A4A80F-B9CA-4DEA-9097-18CE3DD9764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1537452"/>
            <a:ext cx="5436000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5E2CC3-5C04-468D-BC2D-0AE37B0D8C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0000" y="1664804"/>
            <a:ext cx="5435376" cy="4716000"/>
          </a:xfrm>
        </p:spPr>
        <p:txBody>
          <a:bodyPr/>
          <a:lstStyle/>
          <a:p>
            <a:pPr lvl="0"/>
            <a:r>
              <a:rPr lang="de-DE" noProof="0"/>
              <a:t>Tex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BCAF2F85-2DD6-4A79-88D7-E77FFA6D3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76020" y="1664804"/>
            <a:ext cx="5435376" cy="4716000"/>
          </a:xfrm>
        </p:spPr>
        <p:txBody>
          <a:bodyPr/>
          <a:lstStyle/>
          <a:p>
            <a:pPr lvl="0"/>
            <a:r>
              <a:rPr lang="de-DE" noProof="0"/>
              <a:t>Tex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cxnSp>
        <p:nvCxnSpPr>
          <p:cNvPr id="9" name="Straight Connector 66">
            <a:extLst>
              <a:ext uri="{FF2B5EF4-FFF2-40B4-BE49-F238E27FC236}">
                <a16:creationId xmlns:a16="http://schemas.microsoft.com/office/drawing/2014/main" id="{F666BE5B-1AC4-4E7F-BE6A-5F45F41F9F0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76020" y="1537452"/>
            <a:ext cx="5436000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5359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0">
            <a:extLst>
              <a:ext uri="{FF2B5EF4-FFF2-40B4-BE49-F238E27FC236}">
                <a16:creationId xmlns:a16="http://schemas.microsoft.com/office/drawing/2014/main" id="{21B8ED70-419C-40AA-8388-3B28F85B498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gray">
          <a:xfrm>
            <a:off x="0" y="1665289"/>
            <a:ext cx="5913607" cy="5192712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F69EB-4EA7-4953-9C03-3060D924C7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Folientitel durch Klicken bearbeiten (maximal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9CBE55-A567-41E3-9C5C-7D030E3239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>
                <a:solidFill>
                  <a:schemeClr val="bg1"/>
                </a:solidFill>
              </a:rPr>
              <a:t>PTA – Vorstellung Inflectr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96D90A-53C2-4455-9763-3E48449EAD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72F2BC45-0863-4CF3-8971-E911246F958A}"/>
              </a:ext>
            </a:extLst>
          </p:cNvPr>
          <p:cNvGrpSpPr/>
          <p:nvPr userDrawn="1"/>
        </p:nvGrpSpPr>
        <p:grpSpPr bwMode="gray">
          <a:xfrm>
            <a:off x="11713200" y="-1"/>
            <a:ext cx="478800" cy="478801"/>
            <a:chOff x="11713200" y="-1"/>
            <a:chExt cx="478800" cy="478801"/>
          </a:xfrm>
          <a:solidFill>
            <a:schemeClr val="accent1"/>
          </a:solidFill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9B87DC9F-2C6E-4185-8E6D-AA8258A2146C}"/>
                </a:ext>
              </a:extLst>
            </p:cNvPr>
            <p:cNvSpPr/>
            <p:nvPr userDrawn="1"/>
          </p:nvSpPr>
          <p:spPr bwMode="gray">
            <a:xfrm>
              <a:off x="11713200" y="-1"/>
              <a:ext cx="478800" cy="136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3584098C-F195-4205-95A1-736B55641615}"/>
                </a:ext>
              </a:extLst>
            </p:cNvPr>
            <p:cNvSpPr/>
            <p:nvPr userDrawn="1"/>
          </p:nvSpPr>
          <p:spPr bwMode="gray">
            <a:xfrm>
              <a:off x="12055200" y="0"/>
              <a:ext cx="136800" cy="478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70B9862C-7ACB-4F31-A5BF-51CB47E06F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6020" y="1664804"/>
            <a:ext cx="5435376" cy="4716000"/>
          </a:xfrm>
        </p:spPr>
        <p:txBody>
          <a:bodyPr/>
          <a:lstStyle/>
          <a:p>
            <a:pPr lvl="0"/>
            <a:r>
              <a:rPr lang="de-DE" noProof="0"/>
              <a:t>Tex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510FB359-A44B-4466-A68A-8E8A26CFA6D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6379200"/>
            <a:ext cx="478800" cy="478800"/>
          </a:xfrm>
          <a:custGeom>
            <a:avLst/>
            <a:gdLst>
              <a:gd name="connsiteX0" fmla="*/ 0 w 478800"/>
              <a:gd name="connsiteY0" fmla="*/ 0 h 478800"/>
              <a:gd name="connsiteX1" fmla="*/ 136800 w 478800"/>
              <a:gd name="connsiteY1" fmla="*/ 0 h 478800"/>
              <a:gd name="connsiteX2" fmla="*/ 136800 w 478800"/>
              <a:gd name="connsiteY2" fmla="*/ 342000 h 478800"/>
              <a:gd name="connsiteX3" fmla="*/ 478800 w 478800"/>
              <a:gd name="connsiteY3" fmla="*/ 342000 h 478800"/>
              <a:gd name="connsiteX4" fmla="*/ 478800 w 478800"/>
              <a:gd name="connsiteY4" fmla="*/ 478800 h 478800"/>
              <a:gd name="connsiteX5" fmla="*/ 136800 w 478800"/>
              <a:gd name="connsiteY5" fmla="*/ 478800 h 478800"/>
              <a:gd name="connsiteX6" fmla="*/ 0 w 478800"/>
              <a:gd name="connsiteY6" fmla="*/ 478800 h 478800"/>
              <a:gd name="connsiteX7" fmla="*/ 0 w 478800"/>
              <a:gd name="connsiteY7" fmla="*/ 342000 h 47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8800" h="478800">
                <a:moveTo>
                  <a:pt x="0" y="0"/>
                </a:moveTo>
                <a:lnTo>
                  <a:pt x="136800" y="0"/>
                </a:lnTo>
                <a:lnTo>
                  <a:pt x="136800" y="342000"/>
                </a:lnTo>
                <a:lnTo>
                  <a:pt x="478800" y="342000"/>
                </a:lnTo>
                <a:lnTo>
                  <a:pt x="478800" y="478800"/>
                </a:lnTo>
                <a:lnTo>
                  <a:pt x="136800" y="478800"/>
                </a:lnTo>
                <a:lnTo>
                  <a:pt x="0" y="478800"/>
                </a:lnTo>
                <a:lnTo>
                  <a:pt x="0" y="342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9pPr>
          </a:lstStyle>
          <a:p>
            <a:pPr lvl="0"/>
            <a:r>
              <a:rPr lang="de-DE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4007871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0">
            <a:extLst>
              <a:ext uri="{FF2B5EF4-FFF2-40B4-BE49-F238E27FC236}">
                <a16:creationId xmlns:a16="http://schemas.microsoft.com/office/drawing/2014/main" id="{21B8ED70-419C-40AA-8388-3B28F85B498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gray">
          <a:xfrm>
            <a:off x="6278393" y="1665289"/>
            <a:ext cx="5913607" cy="5192712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70B9862C-7ACB-4F31-A5BF-51CB47E06F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9901" y="1664804"/>
            <a:ext cx="5435376" cy="4716000"/>
          </a:xfrm>
        </p:spPr>
        <p:txBody>
          <a:bodyPr/>
          <a:lstStyle/>
          <a:p>
            <a:pPr lvl="0"/>
            <a:r>
              <a:rPr lang="de-DE" noProof="0"/>
              <a:t>Tex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FF22FB0-7FDC-4A23-BE30-A38152E15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Folientitel durch Klicken bearbeiten (maximal zweizeilig)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7039D7-3719-468F-8164-D045C08780B4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/>
          <a:p>
            <a:r>
              <a:rPr lang="de-DE" noProof="0">
                <a:solidFill>
                  <a:schemeClr val="accent4"/>
                </a:solidFill>
              </a:rPr>
              <a:t>PTA – Vorstellung Inflectra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A065D04-576B-424F-BFFB-23CDE5FEAEAA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/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9365977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Text und Bil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0">
            <a:extLst>
              <a:ext uri="{FF2B5EF4-FFF2-40B4-BE49-F238E27FC236}">
                <a16:creationId xmlns:a16="http://schemas.microsoft.com/office/drawing/2014/main" id="{21B8ED70-419C-40AA-8388-3B28F85B498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gray">
          <a:xfrm>
            <a:off x="6278393" y="0"/>
            <a:ext cx="5913607" cy="6858001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70B9862C-7ACB-4F31-A5BF-51CB47E06F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9901" y="1664804"/>
            <a:ext cx="5435376" cy="4716000"/>
          </a:xfrm>
        </p:spPr>
        <p:txBody>
          <a:bodyPr/>
          <a:lstStyle/>
          <a:p>
            <a:pPr lvl="0"/>
            <a:r>
              <a:rPr lang="de-DE" noProof="0"/>
              <a:t>Tex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FF22FB0-7FDC-4A23-BE30-A38152E15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902" y="479722"/>
            <a:ext cx="5433706" cy="837152"/>
          </a:xfrm>
        </p:spPr>
        <p:txBody>
          <a:bodyPr/>
          <a:lstStyle/>
          <a:p>
            <a:r>
              <a:rPr lang="de-DE" noProof="0" dirty="0"/>
              <a:t>Folientitel bearbeiten (maximal zweizeilig)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7039D7-3719-468F-8164-D045C08780B4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/>
          <a:p>
            <a:r>
              <a:rPr lang="de-DE" noProof="0">
                <a:solidFill>
                  <a:schemeClr val="accent4"/>
                </a:solidFill>
              </a:rPr>
              <a:t>PTA – Vorstellung Inflectra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A065D04-576B-424F-BFFB-23CDE5FEAEAA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/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8C937FA1-263F-4CF4-AC08-BAC069C7A480}"/>
              </a:ext>
            </a:extLst>
          </p:cNvPr>
          <p:cNvGrpSpPr/>
          <p:nvPr userDrawn="1"/>
        </p:nvGrpSpPr>
        <p:grpSpPr bwMode="gray">
          <a:xfrm>
            <a:off x="0" y="6379200"/>
            <a:ext cx="478800" cy="478800"/>
            <a:chOff x="0" y="6379200"/>
            <a:chExt cx="478800" cy="47880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19BEEE67-BE5A-4B54-91DA-3D4165F25F20}"/>
                </a:ext>
              </a:extLst>
            </p:cNvPr>
            <p:cNvSpPr/>
            <p:nvPr userDrawn="1"/>
          </p:nvSpPr>
          <p:spPr bwMode="gray">
            <a:xfrm>
              <a:off x="0" y="6721200"/>
              <a:ext cx="478800" cy="136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1172AA28-E0DB-465A-8377-802994679AA8}"/>
                </a:ext>
              </a:extLst>
            </p:cNvPr>
            <p:cNvSpPr/>
            <p:nvPr userDrawn="1"/>
          </p:nvSpPr>
          <p:spPr bwMode="gray">
            <a:xfrm>
              <a:off x="0" y="6379200"/>
              <a:ext cx="136800" cy="478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C5927A21-66F7-4A5D-B4C0-39DD28CB107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11713200" y="-1"/>
            <a:ext cx="478800" cy="478801"/>
          </a:xfrm>
          <a:custGeom>
            <a:avLst/>
            <a:gdLst>
              <a:gd name="connsiteX0" fmla="*/ 0 w 478800"/>
              <a:gd name="connsiteY0" fmla="*/ 0 h 478801"/>
              <a:gd name="connsiteX1" fmla="*/ 478800 w 478800"/>
              <a:gd name="connsiteY1" fmla="*/ 0 h 478801"/>
              <a:gd name="connsiteX2" fmla="*/ 478800 w 478800"/>
              <a:gd name="connsiteY2" fmla="*/ 1 h 478801"/>
              <a:gd name="connsiteX3" fmla="*/ 478800 w 478800"/>
              <a:gd name="connsiteY3" fmla="*/ 136800 h 478801"/>
              <a:gd name="connsiteX4" fmla="*/ 478800 w 478800"/>
              <a:gd name="connsiteY4" fmla="*/ 478801 h 478801"/>
              <a:gd name="connsiteX5" fmla="*/ 342000 w 478800"/>
              <a:gd name="connsiteY5" fmla="*/ 478801 h 478801"/>
              <a:gd name="connsiteX6" fmla="*/ 342000 w 478800"/>
              <a:gd name="connsiteY6" fmla="*/ 136800 h 478801"/>
              <a:gd name="connsiteX7" fmla="*/ 0 w 478800"/>
              <a:gd name="connsiteY7" fmla="*/ 136800 h 478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8800" h="478801">
                <a:moveTo>
                  <a:pt x="0" y="0"/>
                </a:moveTo>
                <a:lnTo>
                  <a:pt x="478800" y="0"/>
                </a:lnTo>
                <a:lnTo>
                  <a:pt x="478800" y="1"/>
                </a:lnTo>
                <a:lnTo>
                  <a:pt x="478800" y="136800"/>
                </a:lnTo>
                <a:lnTo>
                  <a:pt x="478800" y="478801"/>
                </a:lnTo>
                <a:lnTo>
                  <a:pt x="342000" y="478801"/>
                </a:lnTo>
                <a:lnTo>
                  <a:pt x="342000" y="136800"/>
                </a:lnTo>
                <a:lnTo>
                  <a:pt x="0" y="1368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9pPr>
          </a:lstStyle>
          <a:p>
            <a:pPr lvl="0"/>
            <a:r>
              <a:rPr lang="de-DE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6825464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0">
            <a:extLst>
              <a:ext uri="{FF2B5EF4-FFF2-40B4-BE49-F238E27FC236}">
                <a16:creationId xmlns:a16="http://schemas.microsoft.com/office/drawing/2014/main" id="{21B8ED70-419C-40AA-8388-3B28F85B498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gray">
          <a:xfrm>
            <a:off x="4331763" y="1665289"/>
            <a:ext cx="7860237" cy="5192712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70B9862C-7ACB-4F31-A5BF-51CB47E06F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9901" y="1664804"/>
            <a:ext cx="3492000" cy="4716000"/>
          </a:xfrm>
        </p:spPr>
        <p:txBody>
          <a:bodyPr/>
          <a:lstStyle/>
          <a:p>
            <a:pPr lvl="0"/>
            <a:r>
              <a:rPr lang="de-DE" noProof="0"/>
              <a:t>Tex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FF22FB0-7FDC-4A23-BE30-A38152E15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Folientitel durch Klicken bearbeiten (maximal zweizeilig)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7039D7-3719-468F-8164-D045C08780B4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/>
          <a:p>
            <a:r>
              <a:rPr lang="de-DE" noProof="0">
                <a:solidFill>
                  <a:schemeClr val="accent4"/>
                </a:solidFill>
              </a:rPr>
              <a:t>PTA – Vorstellung Inflectra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A065D04-576B-424F-BFFB-23CDE5FEAEAA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/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0701303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0">
            <a:extLst>
              <a:ext uri="{FF2B5EF4-FFF2-40B4-BE49-F238E27FC236}">
                <a16:creationId xmlns:a16="http://schemas.microsoft.com/office/drawing/2014/main" id="{21B8ED70-419C-40AA-8388-3B28F85B498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gray">
          <a:xfrm>
            <a:off x="3395663" y="1665289"/>
            <a:ext cx="8796337" cy="5192712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70B9862C-7ACB-4F31-A5BF-51CB47E06F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9901" y="3239453"/>
            <a:ext cx="2520000" cy="1016996"/>
          </a:xfrm>
        </p:spPr>
        <p:txBody>
          <a:bodyPr bIns="108000" anchor="b">
            <a:spAutoFit/>
          </a:bodyPr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  <a:lvl6pPr algn="r">
              <a:defRPr/>
            </a:lvl6pPr>
            <a:lvl7pPr algn="r">
              <a:defRPr/>
            </a:lvl7pPr>
            <a:lvl8pPr algn="r">
              <a:defRPr/>
            </a:lvl8pPr>
            <a:lvl9pPr algn="r">
              <a:defRPr/>
            </a:lvl9pPr>
          </a:lstStyle>
          <a:p>
            <a:pPr lvl="0"/>
            <a:r>
              <a:rPr lang="de-DE" noProof="0"/>
              <a:t>Text durch Klicken bearbeiten</a:t>
            </a:r>
          </a:p>
          <a:p>
            <a:pPr lvl="1"/>
            <a:r>
              <a:rPr lang="de-DE" noProof="0"/>
              <a:t>Zwei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FF22FB0-7FDC-4A23-BE30-A38152E15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Folientitel durch Klicken bearbeiten (maximal zweizeilig)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7039D7-3719-468F-8164-D045C08780B4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/>
          <a:p>
            <a:r>
              <a:rPr lang="de-DE" noProof="0">
                <a:solidFill>
                  <a:schemeClr val="accent4"/>
                </a:solidFill>
              </a:rPr>
              <a:t>PTA – Vorstellung Inflectra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A065D04-576B-424F-BFFB-23CDE5FEAEAA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/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BD72720E-A85B-4A58-ACF7-503785ED14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 flipH="1">
            <a:off x="479376" y="4256449"/>
            <a:ext cx="4536000" cy="7200"/>
          </a:xfrm>
          <a:gradFill>
            <a:gsLst>
              <a:gs pos="53100">
                <a:schemeClr val="accent1"/>
              </a:gs>
              <a:gs pos="0">
                <a:schemeClr val="accent3"/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</p:spPr>
        <p:txBody>
          <a:bodyPr/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9pPr>
          </a:lstStyle>
          <a:p>
            <a:pPr lvl="0"/>
            <a:r>
              <a:rPr lang="de-DE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926397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, Text und zwei Bild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0">
            <a:extLst>
              <a:ext uri="{FF2B5EF4-FFF2-40B4-BE49-F238E27FC236}">
                <a16:creationId xmlns:a16="http://schemas.microsoft.com/office/drawing/2014/main" id="{169A55C0-C278-42A2-AA3A-B8B83E361C2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 bwMode="gray">
          <a:xfrm>
            <a:off x="0" y="1665289"/>
            <a:ext cx="5913607" cy="5192712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23" name="Bildplatzhalter 20">
            <a:extLst>
              <a:ext uri="{FF2B5EF4-FFF2-40B4-BE49-F238E27FC236}">
                <a16:creationId xmlns:a16="http://schemas.microsoft.com/office/drawing/2014/main" id="{21B8ED70-419C-40AA-8388-3B28F85B498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gray">
          <a:xfrm>
            <a:off x="6278393" y="1665289"/>
            <a:ext cx="5913607" cy="5192712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FF22FB0-7FDC-4A23-BE30-A38152E15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Folientitel durch Klicken bearbeiten (maximal zweizeilig)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7039D7-3719-468F-8164-D045C08780B4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>
                <a:solidFill>
                  <a:schemeClr val="bg1"/>
                </a:solidFill>
              </a:rPr>
              <a:t>PTA – Vorstellung Inflectra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A065D04-576B-424F-BFFB-23CDE5FEAEAA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746D364-E439-4971-BFE5-EDCE772A8DA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6379200"/>
            <a:ext cx="478800" cy="478800"/>
          </a:xfrm>
          <a:custGeom>
            <a:avLst/>
            <a:gdLst>
              <a:gd name="connsiteX0" fmla="*/ 0 w 478800"/>
              <a:gd name="connsiteY0" fmla="*/ 0 h 478800"/>
              <a:gd name="connsiteX1" fmla="*/ 136800 w 478800"/>
              <a:gd name="connsiteY1" fmla="*/ 0 h 478800"/>
              <a:gd name="connsiteX2" fmla="*/ 136800 w 478800"/>
              <a:gd name="connsiteY2" fmla="*/ 342000 h 478800"/>
              <a:gd name="connsiteX3" fmla="*/ 478800 w 478800"/>
              <a:gd name="connsiteY3" fmla="*/ 342000 h 478800"/>
              <a:gd name="connsiteX4" fmla="*/ 478800 w 478800"/>
              <a:gd name="connsiteY4" fmla="*/ 478800 h 478800"/>
              <a:gd name="connsiteX5" fmla="*/ 136800 w 478800"/>
              <a:gd name="connsiteY5" fmla="*/ 478800 h 478800"/>
              <a:gd name="connsiteX6" fmla="*/ 0 w 478800"/>
              <a:gd name="connsiteY6" fmla="*/ 478800 h 478800"/>
              <a:gd name="connsiteX7" fmla="*/ 0 w 478800"/>
              <a:gd name="connsiteY7" fmla="*/ 342000 h 47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8800" h="478800">
                <a:moveTo>
                  <a:pt x="0" y="0"/>
                </a:moveTo>
                <a:lnTo>
                  <a:pt x="136800" y="0"/>
                </a:lnTo>
                <a:lnTo>
                  <a:pt x="136800" y="342000"/>
                </a:lnTo>
                <a:lnTo>
                  <a:pt x="478800" y="342000"/>
                </a:lnTo>
                <a:lnTo>
                  <a:pt x="478800" y="478800"/>
                </a:lnTo>
                <a:lnTo>
                  <a:pt x="136800" y="478800"/>
                </a:lnTo>
                <a:lnTo>
                  <a:pt x="0" y="478800"/>
                </a:lnTo>
                <a:lnTo>
                  <a:pt x="0" y="342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9pPr>
          </a:lstStyle>
          <a:p>
            <a:pPr lvl="0"/>
            <a:r>
              <a:rPr lang="de-DE" noProof="0"/>
              <a:t>x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23A8201-AD32-4860-8528-55D1BDA5339F}"/>
              </a:ext>
            </a:extLst>
          </p:cNvPr>
          <p:cNvGrpSpPr/>
          <p:nvPr userDrawn="1"/>
        </p:nvGrpSpPr>
        <p:grpSpPr bwMode="gray">
          <a:xfrm>
            <a:off x="11713200" y="-1"/>
            <a:ext cx="478800" cy="478801"/>
            <a:chOff x="11713200" y="-1"/>
            <a:chExt cx="478800" cy="478801"/>
          </a:xfrm>
          <a:solidFill>
            <a:schemeClr val="accent1"/>
          </a:solidFill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B246EE07-2BEB-4D4D-97ED-14BCC317C7F6}"/>
                </a:ext>
              </a:extLst>
            </p:cNvPr>
            <p:cNvSpPr/>
            <p:nvPr userDrawn="1"/>
          </p:nvSpPr>
          <p:spPr bwMode="gray">
            <a:xfrm>
              <a:off x="11713200" y="-1"/>
              <a:ext cx="478800" cy="136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5ACE3DB1-7056-4155-BB5A-4D46336061D6}"/>
                </a:ext>
              </a:extLst>
            </p:cNvPr>
            <p:cNvSpPr/>
            <p:nvPr userDrawn="1"/>
          </p:nvSpPr>
          <p:spPr bwMode="gray">
            <a:xfrm>
              <a:off x="12055200" y="0"/>
              <a:ext cx="136800" cy="478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</p:spTree>
    <p:extLst>
      <p:ext uri="{BB962C8B-B14F-4D97-AF65-F5344CB8AC3E}">
        <p14:creationId xmlns:p14="http://schemas.microsoft.com/office/powerpoint/2010/main" val="38397741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zwei Bild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0">
            <a:extLst>
              <a:ext uri="{FF2B5EF4-FFF2-40B4-BE49-F238E27FC236}">
                <a16:creationId xmlns:a16="http://schemas.microsoft.com/office/drawing/2014/main" id="{21B8ED70-419C-40AA-8388-3B28F85B498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gray">
          <a:xfrm>
            <a:off x="4331764" y="1665289"/>
            <a:ext cx="3858118" cy="5192712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10" name="Bildplatzhalter 20">
            <a:extLst>
              <a:ext uri="{FF2B5EF4-FFF2-40B4-BE49-F238E27FC236}">
                <a16:creationId xmlns:a16="http://schemas.microsoft.com/office/drawing/2014/main" id="{66075DFF-93EB-4156-89AF-2D4C7F568874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 bwMode="gray">
          <a:xfrm>
            <a:off x="8333882" y="1665289"/>
            <a:ext cx="3858118" cy="5192712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70B9862C-7ACB-4F31-A5BF-51CB47E06F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9901" y="1664804"/>
            <a:ext cx="3492000" cy="4716000"/>
          </a:xfrm>
        </p:spPr>
        <p:txBody>
          <a:bodyPr/>
          <a:lstStyle/>
          <a:p>
            <a:pPr lvl="0"/>
            <a:r>
              <a:rPr lang="de-DE" noProof="0"/>
              <a:t>Tex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FF22FB0-7FDC-4A23-BE30-A38152E15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Folientitel durch Klicken bearbeiten (maximal zweizeilig)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7039D7-3719-468F-8164-D045C08780B4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/>
          <a:p>
            <a:r>
              <a:rPr lang="de-DE" noProof="0">
                <a:solidFill>
                  <a:schemeClr val="accent4"/>
                </a:solidFill>
              </a:rPr>
              <a:t>PTA – Vorstellung Inflectra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A065D04-576B-424F-BFFB-23CDE5FEAEAA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/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6071757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zwei Bild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0">
            <a:extLst>
              <a:ext uri="{FF2B5EF4-FFF2-40B4-BE49-F238E27FC236}">
                <a16:creationId xmlns:a16="http://schemas.microsoft.com/office/drawing/2014/main" id="{21B8ED70-419C-40AA-8388-3B28F85B498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gray">
          <a:xfrm>
            <a:off x="3395663" y="1665289"/>
            <a:ext cx="8796337" cy="2520000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10" name="Bildplatzhalter 20">
            <a:extLst>
              <a:ext uri="{FF2B5EF4-FFF2-40B4-BE49-F238E27FC236}">
                <a16:creationId xmlns:a16="http://schemas.microsoft.com/office/drawing/2014/main" id="{ABD09E68-7162-4733-A82E-DB0CECA9C906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 bwMode="gray">
          <a:xfrm>
            <a:off x="3395663" y="4338000"/>
            <a:ext cx="8796337" cy="2520000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70B9862C-7ACB-4F31-A5BF-51CB47E06F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9901" y="1941802"/>
            <a:ext cx="2520000" cy="1016996"/>
          </a:xfrm>
        </p:spPr>
        <p:txBody>
          <a:bodyPr bIns="108000" anchor="b">
            <a:spAutoFit/>
          </a:bodyPr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  <a:lvl6pPr algn="r">
              <a:defRPr/>
            </a:lvl6pPr>
            <a:lvl7pPr algn="r">
              <a:defRPr/>
            </a:lvl7pPr>
            <a:lvl8pPr algn="r">
              <a:defRPr/>
            </a:lvl8pPr>
            <a:lvl9pPr algn="r">
              <a:defRPr/>
            </a:lvl9pPr>
          </a:lstStyle>
          <a:p>
            <a:pPr lvl="0"/>
            <a:r>
              <a:rPr lang="de-DE" noProof="0"/>
              <a:t>Text durch Klicken bearbeiten</a:t>
            </a:r>
          </a:p>
          <a:p>
            <a:pPr lvl="1"/>
            <a:r>
              <a:rPr lang="de-DE" noProof="0"/>
              <a:t>Zweite Eben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FF22FB0-7FDC-4A23-BE30-A38152E15C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Folientitel durch Klicken bearbeiten (maximal zweizeilig)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D7039D7-3719-468F-8164-D045C08780B4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/>
          <a:p>
            <a:r>
              <a:rPr lang="de-DE" noProof="0">
                <a:solidFill>
                  <a:schemeClr val="accent4"/>
                </a:solidFill>
              </a:rPr>
              <a:t>PTA – Vorstellung Inflectra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A065D04-576B-424F-BFFB-23CDE5FEAEAA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/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BD72720E-A85B-4A58-ACF7-503785ED141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 flipH="1">
            <a:off x="479376" y="2958798"/>
            <a:ext cx="4536000" cy="7200"/>
          </a:xfrm>
          <a:gradFill>
            <a:gsLst>
              <a:gs pos="53100">
                <a:schemeClr val="accent1"/>
              </a:gs>
              <a:gs pos="0">
                <a:schemeClr val="accent3"/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</p:spPr>
        <p:txBody>
          <a:bodyPr/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9pPr>
          </a:lstStyle>
          <a:p>
            <a:pPr lvl="0"/>
            <a:r>
              <a:rPr lang="de-DE" noProof="0"/>
              <a:t>x</a:t>
            </a:r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8F443047-9DC4-4D41-821A-EFD7952F790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79901" y="4642102"/>
            <a:ext cx="2520000" cy="1016996"/>
          </a:xfrm>
        </p:spPr>
        <p:txBody>
          <a:bodyPr bIns="108000" anchor="b">
            <a:spAutoFit/>
          </a:bodyPr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  <a:lvl6pPr algn="r">
              <a:defRPr/>
            </a:lvl6pPr>
            <a:lvl7pPr algn="r">
              <a:defRPr/>
            </a:lvl7pPr>
            <a:lvl8pPr algn="r">
              <a:defRPr/>
            </a:lvl8pPr>
            <a:lvl9pPr algn="r">
              <a:defRPr/>
            </a:lvl9pPr>
          </a:lstStyle>
          <a:p>
            <a:pPr lvl="0"/>
            <a:r>
              <a:rPr lang="de-DE" noProof="0"/>
              <a:t>Text durch Klicken bearbeiten</a:t>
            </a:r>
          </a:p>
          <a:p>
            <a:pPr lvl="1"/>
            <a:r>
              <a:rPr lang="de-DE" noProof="0"/>
              <a:t>Zweite Ebene</a:t>
            </a:r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9032F9A8-DB11-43BE-8BB0-E1654C17905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 flipH="1">
            <a:off x="479376" y="5659098"/>
            <a:ext cx="4536000" cy="7200"/>
          </a:xfrm>
          <a:gradFill>
            <a:gsLst>
              <a:gs pos="53100">
                <a:schemeClr val="accent1"/>
              </a:gs>
              <a:gs pos="0">
                <a:schemeClr val="accent3"/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</p:spPr>
        <p:txBody>
          <a:bodyPr/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9pPr>
          </a:lstStyle>
          <a:p>
            <a:pPr lvl="0"/>
            <a:r>
              <a:rPr lang="de-DE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7336422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0">
            <a:extLst>
              <a:ext uri="{FF2B5EF4-FFF2-40B4-BE49-F238E27FC236}">
                <a16:creationId xmlns:a16="http://schemas.microsoft.com/office/drawing/2014/main" id="{21B8ED70-419C-40AA-8388-3B28F85B498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79424" y="1665289"/>
            <a:ext cx="11231949" cy="4712989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F69EB-4EA7-4953-9C03-3060D924C7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/>
              <a:t>Folientitel durch Klicken bearbeiten (maximal zweizeilig)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21EE1A-E8DB-4C47-A4AB-BB9212D5D1C9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de-DE" noProof="0">
                <a:solidFill>
                  <a:schemeClr val="accent4"/>
                </a:solidFill>
              </a:rPr>
              <a:t>PTA – Vorstellung Inflectra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9D17382-96F2-4233-88E1-9E12A1A57032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3290718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Schnee, draußen, Nachthimmel enthält.&#10;&#10;Automatisch generierte Beschreibung">
            <a:extLst>
              <a:ext uri="{FF2B5EF4-FFF2-40B4-BE49-F238E27FC236}">
                <a16:creationId xmlns:a16="http://schemas.microsoft.com/office/drawing/2014/main" id="{73C54E34-C51D-4DFD-B325-10E04BDABE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0" y="339"/>
            <a:ext cx="12192000" cy="6857322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9B0C33EE-937D-45EA-BAAF-A06AC56F1C9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6000" y="485775"/>
            <a:ext cx="2259371" cy="1292678"/>
          </a:xfrm>
          <a:prstGeom prst="rect">
            <a:avLst/>
          </a:prstGeom>
        </p:spPr>
      </p:pic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EB153809-CE5C-4962-97F6-C99EBD4A40A5}"/>
              </a:ext>
            </a:extLst>
          </p:cNvPr>
          <p:cNvGrpSpPr/>
          <p:nvPr userDrawn="1"/>
        </p:nvGrpSpPr>
        <p:grpSpPr bwMode="gray">
          <a:xfrm>
            <a:off x="11713200" y="-1"/>
            <a:ext cx="478800" cy="478801"/>
            <a:chOff x="11713200" y="-1"/>
            <a:chExt cx="478800" cy="478801"/>
          </a:xfrm>
          <a:solidFill>
            <a:schemeClr val="accent1"/>
          </a:solidFill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A445A790-7FBD-4676-A0FD-3300CC337AD0}"/>
                </a:ext>
              </a:extLst>
            </p:cNvPr>
            <p:cNvSpPr/>
            <p:nvPr userDrawn="1"/>
          </p:nvSpPr>
          <p:spPr bwMode="gray">
            <a:xfrm>
              <a:off x="11713200" y="-1"/>
              <a:ext cx="478800" cy="136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15EC3EC7-9701-426E-8775-1AC4AA37274C}"/>
                </a:ext>
              </a:extLst>
            </p:cNvPr>
            <p:cNvSpPr/>
            <p:nvPr userDrawn="1"/>
          </p:nvSpPr>
          <p:spPr bwMode="gray">
            <a:xfrm>
              <a:off x="12055200" y="0"/>
              <a:ext cx="136800" cy="478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262A831-8A59-4A07-9370-600ECA32A907}"/>
              </a:ext>
            </a:extLst>
          </p:cNvPr>
          <p:cNvGrpSpPr/>
          <p:nvPr userDrawn="1"/>
        </p:nvGrpSpPr>
        <p:grpSpPr bwMode="gray">
          <a:xfrm>
            <a:off x="0" y="6379200"/>
            <a:ext cx="478800" cy="478800"/>
            <a:chOff x="0" y="6379200"/>
            <a:chExt cx="478800" cy="478800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9852F6FF-D962-474B-A702-A2843D970FDC}"/>
                </a:ext>
              </a:extLst>
            </p:cNvPr>
            <p:cNvSpPr/>
            <p:nvPr userDrawn="1"/>
          </p:nvSpPr>
          <p:spPr bwMode="gray">
            <a:xfrm>
              <a:off x="0" y="6721200"/>
              <a:ext cx="478800" cy="136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B0DE7587-4E92-49FC-A4AD-8881F2471EB6}"/>
                </a:ext>
              </a:extLst>
            </p:cNvPr>
            <p:cNvSpPr/>
            <p:nvPr userDrawn="1"/>
          </p:nvSpPr>
          <p:spPr bwMode="gray">
            <a:xfrm>
              <a:off x="0" y="6379200"/>
              <a:ext cx="136800" cy="478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0EAA46B-A94E-44C8-9B47-497C0E926F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50387" y="2353213"/>
            <a:ext cx="6696000" cy="2105192"/>
          </a:xfrm>
        </p:spPr>
        <p:txBody>
          <a:bodyPr anchor="b">
            <a:sp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Präsentationstitel durch Klicken bearbeiten</a:t>
            </a:r>
          </a:p>
        </p:txBody>
      </p:sp>
      <p:cxnSp>
        <p:nvCxnSpPr>
          <p:cNvPr id="25" name="Straight Connector 66">
            <a:extLst>
              <a:ext uri="{FF2B5EF4-FFF2-40B4-BE49-F238E27FC236}">
                <a16:creationId xmlns:a16="http://schemas.microsoft.com/office/drawing/2014/main" id="{4086AD63-2727-446B-9DE1-B4CB1115FDD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50387" y="4591640"/>
            <a:ext cx="5436000" cy="0"/>
          </a:xfrm>
          <a:prstGeom prst="line">
            <a:avLst/>
          </a:prstGeom>
          <a:ln>
            <a:gradFill>
              <a:gsLst>
                <a:gs pos="53100">
                  <a:schemeClr val="accent1"/>
                </a:gs>
                <a:gs pos="0">
                  <a:schemeClr val="accent3"/>
                </a:gs>
                <a:gs pos="100000">
                  <a:schemeClr val="accent1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1C225DA6-3CAB-4974-B562-FA685A471D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50386" y="5954191"/>
            <a:ext cx="6695999" cy="215444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Name Nachname, Ort, Datum durch Klicken bearbeit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80597CC-6F44-4DBB-84E3-0462194EE4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50385" y="4757439"/>
            <a:ext cx="6696000" cy="3077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Unter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9783854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Bil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20">
            <a:extLst>
              <a:ext uri="{FF2B5EF4-FFF2-40B4-BE49-F238E27FC236}">
                <a16:creationId xmlns:a16="http://schemas.microsoft.com/office/drawing/2014/main" id="{21B8ED70-419C-40AA-8388-3B28F85B498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 bwMode="gray">
          <a:xfrm>
            <a:off x="0" y="1665289"/>
            <a:ext cx="12192000" cy="5192712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5F69EB-4EA7-4953-9C03-3060D924C7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Folientitel durch Klicken bearbeiten (maximal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9CBE55-A567-41E3-9C5C-7D030E3239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>
                <a:solidFill>
                  <a:schemeClr val="bg1"/>
                </a:solidFill>
              </a:rPr>
              <a:t>PTA – Vorstellung Inflectr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96D90A-53C2-4455-9763-3E48449EAD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72F2BC45-0863-4CF3-8971-E911246F958A}"/>
              </a:ext>
            </a:extLst>
          </p:cNvPr>
          <p:cNvGrpSpPr/>
          <p:nvPr userDrawn="1"/>
        </p:nvGrpSpPr>
        <p:grpSpPr bwMode="gray">
          <a:xfrm>
            <a:off x="11713200" y="-1"/>
            <a:ext cx="478800" cy="478801"/>
            <a:chOff x="11713200" y="-1"/>
            <a:chExt cx="478800" cy="478801"/>
          </a:xfrm>
          <a:solidFill>
            <a:schemeClr val="accent1"/>
          </a:solidFill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9B87DC9F-2C6E-4185-8E6D-AA8258A2146C}"/>
                </a:ext>
              </a:extLst>
            </p:cNvPr>
            <p:cNvSpPr/>
            <p:nvPr userDrawn="1"/>
          </p:nvSpPr>
          <p:spPr bwMode="gray">
            <a:xfrm>
              <a:off x="11713200" y="-1"/>
              <a:ext cx="478800" cy="136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3584098C-F195-4205-95A1-736B55641615}"/>
                </a:ext>
              </a:extLst>
            </p:cNvPr>
            <p:cNvSpPr/>
            <p:nvPr userDrawn="1"/>
          </p:nvSpPr>
          <p:spPr bwMode="gray">
            <a:xfrm>
              <a:off x="12055200" y="0"/>
              <a:ext cx="136800" cy="478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510FB359-A44B-4466-A68A-8E8A26CFA6D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6379200"/>
            <a:ext cx="478800" cy="478800"/>
          </a:xfrm>
          <a:custGeom>
            <a:avLst/>
            <a:gdLst>
              <a:gd name="connsiteX0" fmla="*/ 0 w 478800"/>
              <a:gd name="connsiteY0" fmla="*/ 0 h 478800"/>
              <a:gd name="connsiteX1" fmla="*/ 136800 w 478800"/>
              <a:gd name="connsiteY1" fmla="*/ 0 h 478800"/>
              <a:gd name="connsiteX2" fmla="*/ 136800 w 478800"/>
              <a:gd name="connsiteY2" fmla="*/ 342000 h 478800"/>
              <a:gd name="connsiteX3" fmla="*/ 478800 w 478800"/>
              <a:gd name="connsiteY3" fmla="*/ 342000 h 478800"/>
              <a:gd name="connsiteX4" fmla="*/ 478800 w 478800"/>
              <a:gd name="connsiteY4" fmla="*/ 478800 h 478800"/>
              <a:gd name="connsiteX5" fmla="*/ 136800 w 478800"/>
              <a:gd name="connsiteY5" fmla="*/ 478800 h 478800"/>
              <a:gd name="connsiteX6" fmla="*/ 0 w 478800"/>
              <a:gd name="connsiteY6" fmla="*/ 478800 h 478800"/>
              <a:gd name="connsiteX7" fmla="*/ 0 w 478800"/>
              <a:gd name="connsiteY7" fmla="*/ 342000 h 47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8800" h="478800">
                <a:moveTo>
                  <a:pt x="0" y="0"/>
                </a:moveTo>
                <a:lnTo>
                  <a:pt x="136800" y="0"/>
                </a:lnTo>
                <a:lnTo>
                  <a:pt x="136800" y="342000"/>
                </a:lnTo>
                <a:lnTo>
                  <a:pt x="478800" y="342000"/>
                </a:lnTo>
                <a:lnTo>
                  <a:pt x="478800" y="478800"/>
                </a:lnTo>
                <a:lnTo>
                  <a:pt x="136800" y="478800"/>
                </a:lnTo>
                <a:lnTo>
                  <a:pt x="0" y="478800"/>
                </a:lnTo>
                <a:lnTo>
                  <a:pt x="0" y="342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9pPr>
          </a:lstStyle>
          <a:p>
            <a:pPr lvl="0"/>
            <a:r>
              <a:rPr lang="de-DE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1977383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azi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 descr="Ein Bild, das Tisch enthält.&#10;&#10;Automatisch generierte Beschreibung">
            <a:extLst>
              <a:ext uri="{FF2B5EF4-FFF2-40B4-BE49-F238E27FC236}">
                <a16:creationId xmlns:a16="http://schemas.microsoft.com/office/drawing/2014/main" id="{47E69076-741C-4C95-9548-4AA44331B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0682A68-FF3F-4A48-B3C8-2F11A78B9F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899460" y="3876098"/>
            <a:ext cx="4333690" cy="1969770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600"/>
              </a:spcBef>
              <a:defRPr sz="3200" b="0" cap="none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Zwischenfazit durch Klicken bearbeiten (kann auch mehrere Zeilen lang sein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D96256-5B34-49F4-8941-68060D5B18E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>
                <a:solidFill>
                  <a:schemeClr val="bg1"/>
                </a:solidFill>
              </a:rPr>
              <a:t>PTA – Vorstellung Inflectr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1672B6C-DFA4-4D26-86FC-FB3B267AB5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8D50713-6D74-4BFB-AC1B-B08E0077C848}"/>
              </a:ext>
            </a:extLst>
          </p:cNvPr>
          <p:cNvGrpSpPr/>
          <p:nvPr userDrawn="1"/>
        </p:nvGrpSpPr>
        <p:grpSpPr bwMode="gray">
          <a:xfrm>
            <a:off x="11233775" y="3340211"/>
            <a:ext cx="478800" cy="478801"/>
            <a:chOff x="11713200" y="-1"/>
            <a:chExt cx="478800" cy="478801"/>
          </a:xfrm>
          <a:solidFill>
            <a:schemeClr val="accent1"/>
          </a:solidFill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677A3D1-A283-47D4-BC2B-6541C86C1A2E}"/>
                </a:ext>
              </a:extLst>
            </p:cNvPr>
            <p:cNvSpPr/>
            <p:nvPr userDrawn="1"/>
          </p:nvSpPr>
          <p:spPr bwMode="gray">
            <a:xfrm>
              <a:off x="11713200" y="-1"/>
              <a:ext cx="478800" cy="136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310FC8DD-6D59-4A24-898A-C6501F0937C4}"/>
                </a:ext>
              </a:extLst>
            </p:cNvPr>
            <p:cNvSpPr/>
            <p:nvPr userDrawn="1"/>
          </p:nvSpPr>
          <p:spPr bwMode="gray">
            <a:xfrm>
              <a:off x="12055200" y="0"/>
              <a:ext cx="136800" cy="478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E6F27C9-9677-4519-96C9-3CA0E569B21F}"/>
              </a:ext>
            </a:extLst>
          </p:cNvPr>
          <p:cNvGrpSpPr/>
          <p:nvPr userDrawn="1"/>
        </p:nvGrpSpPr>
        <p:grpSpPr bwMode="gray">
          <a:xfrm>
            <a:off x="6420036" y="5902951"/>
            <a:ext cx="478800" cy="478800"/>
            <a:chOff x="0" y="6379200"/>
            <a:chExt cx="478800" cy="47880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EA958523-67B7-483F-AF80-A41EE07F9479}"/>
                </a:ext>
              </a:extLst>
            </p:cNvPr>
            <p:cNvSpPr/>
            <p:nvPr userDrawn="1"/>
          </p:nvSpPr>
          <p:spPr bwMode="gray">
            <a:xfrm>
              <a:off x="0" y="6721200"/>
              <a:ext cx="478800" cy="136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7061E864-B3C4-47EC-8FEF-5F40F92483DA}"/>
                </a:ext>
              </a:extLst>
            </p:cNvPr>
            <p:cNvSpPr/>
            <p:nvPr userDrawn="1"/>
          </p:nvSpPr>
          <p:spPr bwMode="gray">
            <a:xfrm>
              <a:off x="0" y="6379200"/>
              <a:ext cx="136800" cy="478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</p:spTree>
    <p:extLst>
      <p:ext uri="{BB962C8B-B14F-4D97-AF65-F5344CB8AC3E}">
        <p14:creationId xmlns:p14="http://schemas.microsoft.com/office/powerpoint/2010/main" val="26107283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fazi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 descr="Ein Bild, das Nacht enthält.&#10;&#10;Automatisch generierte Beschreibung">
            <a:extLst>
              <a:ext uri="{FF2B5EF4-FFF2-40B4-BE49-F238E27FC236}">
                <a16:creationId xmlns:a16="http://schemas.microsoft.com/office/drawing/2014/main" id="{865A04D3-D52F-4D5C-876C-0BECAEDAD1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811"/>
                    </a14:imgEffect>
                    <a14:imgEffect>
                      <a14:saturation sat="214000"/>
                    </a14:imgEffect>
                    <a14:imgEffect>
                      <a14:brightnessContrast bright="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" y="-2"/>
            <a:ext cx="12192003" cy="685800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0682A68-FF3F-4A48-B3C8-2F11A78B9F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958852" y="1006378"/>
            <a:ext cx="4333690" cy="1969770"/>
          </a:xfr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spcBef>
                <a:spcPts val="600"/>
              </a:spcBef>
              <a:defRPr sz="3200" b="0" cap="none" baseline="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Zwischenfazit durch Klicken bearbeiten (kann auch mehrere Zeilen lang sein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FD96256-5B34-49F4-8941-68060D5B18E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>
                <a:solidFill>
                  <a:schemeClr val="bg1"/>
                </a:solidFill>
              </a:rPr>
              <a:t>PTA – Vorstellung Inflectr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1672B6C-DFA4-4D26-86FC-FB3B267AB5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8D50713-6D74-4BFB-AC1B-B08E0077C848}"/>
              </a:ext>
            </a:extLst>
          </p:cNvPr>
          <p:cNvGrpSpPr/>
          <p:nvPr userDrawn="1"/>
        </p:nvGrpSpPr>
        <p:grpSpPr bwMode="gray">
          <a:xfrm>
            <a:off x="5293167" y="470492"/>
            <a:ext cx="478800" cy="478801"/>
            <a:chOff x="11713200" y="-1"/>
            <a:chExt cx="478800" cy="478801"/>
          </a:xfrm>
          <a:solidFill>
            <a:schemeClr val="accent1"/>
          </a:solidFill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E677A3D1-A283-47D4-BC2B-6541C86C1A2E}"/>
                </a:ext>
              </a:extLst>
            </p:cNvPr>
            <p:cNvSpPr/>
            <p:nvPr userDrawn="1"/>
          </p:nvSpPr>
          <p:spPr bwMode="gray">
            <a:xfrm>
              <a:off x="11713200" y="-1"/>
              <a:ext cx="478800" cy="136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310FC8DD-6D59-4A24-898A-C6501F0937C4}"/>
                </a:ext>
              </a:extLst>
            </p:cNvPr>
            <p:cNvSpPr/>
            <p:nvPr userDrawn="1"/>
          </p:nvSpPr>
          <p:spPr bwMode="gray">
            <a:xfrm>
              <a:off x="12055200" y="0"/>
              <a:ext cx="136800" cy="478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E6F27C9-9677-4519-96C9-3CA0E569B21F}"/>
              </a:ext>
            </a:extLst>
          </p:cNvPr>
          <p:cNvGrpSpPr/>
          <p:nvPr userDrawn="1"/>
        </p:nvGrpSpPr>
        <p:grpSpPr bwMode="gray">
          <a:xfrm>
            <a:off x="479428" y="3033232"/>
            <a:ext cx="478800" cy="478800"/>
            <a:chOff x="0" y="6379200"/>
            <a:chExt cx="478800" cy="47880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EA958523-67B7-483F-AF80-A41EE07F9479}"/>
                </a:ext>
              </a:extLst>
            </p:cNvPr>
            <p:cNvSpPr/>
            <p:nvPr userDrawn="1"/>
          </p:nvSpPr>
          <p:spPr bwMode="gray">
            <a:xfrm>
              <a:off x="0" y="6721200"/>
              <a:ext cx="478800" cy="136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7061E864-B3C4-47EC-8FEF-5F40F92483DA}"/>
                </a:ext>
              </a:extLst>
            </p:cNvPr>
            <p:cNvSpPr/>
            <p:nvPr userDrawn="1"/>
          </p:nvSpPr>
          <p:spPr bwMode="gray">
            <a:xfrm>
              <a:off x="0" y="6379200"/>
              <a:ext cx="136800" cy="478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</p:spTree>
    <p:extLst>
      <p:ext uri="{BB962C8B-B14F-4D97-AF65-F5344CB8AC3E}">
        <p14:creationId xmlns:p14="http://schemas.microsoft.com/office/powerpoint/2010/main" val="35615736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iagrammplatzhalter 16">
            <a:extLst>
              <a:ext uri="{FF2B5EF4-FFF2-40B4-BE49-F238E27FC236}">
                <a16:creationId xmlns:a16="http://schemas.microsoft.com/office/drawing/2014/main" id="{EDD1740E-910B-4E1B-80D0-0148BFC74E2E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 bwMode="gray">
          <a:xfrm>
            <a:off x="479375" y="2420888"/>
            <a:ext cx="11233199" cy="3564000"/>
          </a:xfrm>
        </p:spPr>
        <p:txBody>
          <a:bodyPr/>
          <a:lstStyle>
            <a:lvl1pPr>
              <a:spcBef>
                <a:spcPts val="0"/>
              </a:spcBef>
              <a:defRPr sz="18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Click icon to add chart</a:t>
            </a:r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3B0A77-DB24-488D-9771-8206FE9C9F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>
                <a:solidFill>
                  <a:schemeClr val="accent4"/>
                </a:solidFill>
              </a:rPr>
              <a:t>PTA – Vorstellung Inflectr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049D006-0442-4B22-874D-7872957453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cxnSp>
        <p:nvCxnSpPr>
          <p:cNvPr id="5" name="Straight Connector 66">
            <a:extLst>
              <a:ext uri="{FF2B5EF4-FFF2-40B4-BE49-F238E27FC236}">
                <a16:creationId xmlns:a16="http://schemas.microsoft.com/office/drawing/2014/main" id="{1E9E66DE-1DA5-4940-B8EB-B131F91877D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1537452"/>
            <a:ext cx="5436000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0896332-69C4-4E4E-9509-2BE83BAB1E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9375" y="1664804"/>
            <a:ext cx="11233199" cy="276999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 dirty="0"/>
              <a:t>Diagrammtitel durch Klicken bearbeit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1515C532-0452-4ECF-B1F7-7C57FFD599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375" y="2018747"/>
            <a:ext cx="11233199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Werteinheit durch Klicken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C6893586-E184-4C0B-8EEB-67FD4005CE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900" y="6242829"/>
            <a:ext cx="11233199" cy="138499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Quellenangabe durch Klicken bearbeiten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127453B-AB50-46E1-9A61-2FD22A55F8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 dirty="0"/>
              <a:t>Folientitel durch Klicken bearbeiten (maximal zweizeili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4847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 userDrawn="1">
          <p15:clr>
            <a:srgbClr val="FBAE40"/>
          </p15:clr>
        </p15:guide>
        <p15:guide id="2" orient="horz" pos="377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iagrammplatzhalter 16">
            <a:extLst>
              <a:ext uri="{FF2B5EF4-FFF2-40B4-BE49-F238E27FC236}">
                <a16:creationId xmlns:a16="http://schemas.microsoft.com/office/drawing/2014/main" id="{EDD1740E-910B-4E1B-80D0-0148BFC74E2E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 bwMode="gray">
          <a:xfrm>
            <a:off x="479376" y="2420888"/>
            <a:ext cx="5436000" cy="3564000"/>
          </a:xfrm>
        </p:spPr>
        <p:txBody>
          <a:bodyPr/>
          <a:lstStyle>
            <a:lvl1pPr>
              <a:spcBef>
                <a:spcPts val="0"/>
              </a:spcBef>
              <a:defRPr sz="18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Click icon to add chart</a:t>
            </a:r>
            <a:endParaRPr lang="de-DE" noProof="0" dirty="0"/>
          </a:p>
        </p:txBody>
      </p:sp>
      <p:sp>
        <p:nvSpPr>
          <p:cNvPr id="23" name="Diagrammplatzhalter 16">
            <a:extLst>
              <a:ext uri="{FF2B5EF4-FFF2-40B4-BE49-F238E27FC236}">
                <a16:creationId xmlns:a16="http://schemas.microsoft.com/office/drawing/2014/main" id="{2E63D1F5-ACF8-493B-817F-53CCCB803BB2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 bwMode="gray">
          <a:xfrm>
            <a:off x="6276020" y="2420888"/>
            <a:ext cx="5436000" cy="3564000"/>
          </a:xfrm>
        </p:spPr>
        <p:txBody>
          <a:bodyPr/>
          <a:lstStyle>
            <a:lvl1pPr>
              <a:spcBef>
                <a:spcPts val="0"/>
              </a:spcBef>
              <a:defRPr sz="18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Click icon to add chart</a:t>
            </a:r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3B0A77-DB24-488D-9771-8206FE9C9F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>
                <a:solidFill>
                  <a:schemeClr val="accent4"/>
                </a:solidFill>
              </a:rPr>
              <a:t>PTA – Vorstellung Inflectr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049D006-0442-4B22-874D-7872957453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5" name="Straight Connector 66">
            <a:extLst>
              <a:ext uri="{FF2B5EF4-FFF2-40B4-BE49-F238E27FC236}">
                <a16:creationId xmlns:a16="http://schemas.microsoft.com/office/drawing/2014/main" id="{1E9E66DE-1DA5-4940-B8EB-B131F91877D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1537452"/>
            <a:ext cx="5436000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66">
            <a:extLst>
              <a:ext uri="{FF2B5EF4-FFF2-40B4-BE49-F238E27FC236}">
                <a16:creationId xmlns:a16="http://schemas.microsoft.com/office/drawing/2014/main" id="{BCECBA0F-1871-4272-8010-49727C62006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76020" y="1537452"/>
            <a:ext cx="5436000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0896332-69C4-4E4E-9509-2BE83BAB1E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9376" y="1664804"/>
            <a:ext cx="5436000" cy="276999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 dirty="0"/>
              <a:t>Diagrammtitel durch Klicken bearbeit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1515C532-0452-4ECF-B1F7-7C57FFD599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376" y="2018747"/>
            <a:ext cx="5436000" cy="21544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Werteinheit durch Klicken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C6893586-E184-4C0B-8EEB-67FD4005CE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901" y="6242829"/>
            <a:ext cx="5436000" cy="13849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Quellenangabe durch Klicken bearbeiten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31D42C5B-55CC-4032-82BE-A13BB01830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20" y="1664804"/>
            <a:ext cx="5436000" cy="276999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Diagrammtitel durch Klicken bearbeiten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29F74E48-F9AE-4E48-8F5F-D30B65FD085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76020" y="2018747"/>
            <a:ext cx="5436000" cy="21544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Werteinheit durch Klicken bearbeiten</a:t>
            </a:r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8DBD85C2-EEB8-4824-96F6-F826872EB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76020" y="6242829"/>
            <a:ext cx="5436000" cy="13849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Quellenangabe durch Klicken bearbeite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9766471-D9B2-4B53-855E-7674EB2A9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 dirty="0"/>
              <a:t>Folientitel durch Klicken bearbeiten (maximal zweizeili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5069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 userDrawn="1">
          <p15:clr>
            <a:srgbClr val="FBAE40"/>
          </p15:clr>
        </p15:guide>
        <p15:guide id="2" orient="horz" pos="377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iagrammplatzhalter 16">
            <a:extLst>
              <a:ext uri="{FF2B5EF4-FFF2-40B4-BE49-F238E27FC236}">
                <a16:creationId xmlns:a16="http://schemas.microsoft.com/office/drawing/2014/main" id="{EDD1740E-910B-4E1B-80D0-0148BFC74E2E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 bwMode="gray">
          <a:xfrm>
            <a:off x="479376" y="2420888"/>
            <a:ext cx="5436000" cy="3564000"/>
          </a:xfrm>
        </p:spPr>
        <p:txBody>
          <a:bodyPr/>
          <a:lstStyle>
            <a:lvl1pPr>
              <a:spcBef>
                <a:spcPts val="0"/>
              </a:spcBef>
              <a:defRPr sz="18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Click icon to add chart</a:t>
            </a:r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3B0A77-DB24-488D-9771-8206FE9C9F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>
                <a:solidFill>
                  <a:schemeClr val="accent4"/>
                </a:solidFill>
              </a:rPr>
              <a:t>PTA – Vorstellung Inflectr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049D006-0442-4B22-874D-7872957453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5" name="Straight Connector 66">
            <a:extLst>
              <a:ext uri="{FF2B5EF4-FFF2-40B4-BE49-F238E27FC236}">
                <a16:creationId xmlns:a16="http://schemas.microsoft.com/office/drawing/2014/main" id="{1E9E66DE-1DA5-4940-B8EB-B131F91877D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1537452"/>
            <a:ext cx="5436000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0896332-69C4-4E4E-9509-2BE83BAB1E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79376" y="1664804"/>
            <a:ext cx="5436000" cy="276999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 dirty="0"/>
              <a:t>Diagrammtitel durch Klicken bearbeit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1515C532-0452-4ECF-B1F7-7C57FFD599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79376" y="2018747"/>
            <a:ext cx="5436000" cy="21544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Werteinheit durch Klicken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C6893586-E184-4C0B-8EEB-67FD4005CE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901" y="6242829"/>
            <a:ext cx="5436000" cy="13849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Quellenangabe durch Klicken bearbeiten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C42A7249-191B-4C30-8710-04B646C53B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20" y="1664804"/>
            <a:ext cx="5435376" cy="4716000"/>
          </a:xfrm>
        </p:spPr>
        <p:txBody>
          <a:bodyPr/>
          <a:lstStyle/>
          <a:p>
            <a:pPr lvl="0"/>
            <a:r>
              <a:rPr lang="de-DE" noProof="0"/>
              <a:t>Tex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691BB384-14E1-47B3-93E8-2238403E46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 dirty="0"/>
              <a:t>Folientitel durch Klicken bearbeiten (maximal zweizeili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3020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 userDrawn="1">
          <p15:clr>
            <a:srgbClr val="FBAE40"/>
          </p15:clr>
        </p15:guide>
        <p15:guide id="2" orient="horz" pos="377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iagrammplatzhalter 16">
            <a:extLst>
              <a:ext uri="{FF2B5EF4-FFF2-40B4-BE49-F238E27FC236}">
                <a16:creationId xmlns:a16="http://schemas.microsoft.com/office/drawing/2014/main" id="{EDD1740E-910B-4E1B-80D0-0148BFC74E2E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 bwMode="gray">
          <a:xfrm>
            <a:off x="6276020" y="2420888"/>
            <a:ext cx="5436000" cy="3564000"/>
          </a:xfrm>
        </p:spPr>
        <p:txBody>
          <a:bodyPr/>
          <a:lstStyle>
            <a:lvl1pPr>
              <a:spcBef>
                <a:spcPts val="0"/>
              </a:spcBef>
              <a:defRPr sz="180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noProof="0"/>
              <a:t>Click icon to add chart</a:t>
            </a:r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3B0A77-DB24-488D-9771-8206FE9C9FB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>
                <a:solidFill>
                  <a:schemeClr val="accent4"/>
                </a:solidFill>
              </a:rPr>
              <a:t>PTA – Vorstellung Inflectr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049D006-0442-4B22-874D-7872957453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5" name="Straight Connector 66">
            <a:extLst>
              <a:ext uri="{FF2B5EF4-FFF2-40B4-BE49-F238E27FC236}">
                <a16:creationId xmlns:a16="http://schemas.microsoft.com/office/drawing/2014/main" id="{1E9E66DE-1DA5-4940-B8EB-B131F91877D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1537452"/>
            <a:ext cx="5436000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0896332-69C4-4E4E-9509-2BE83BAB1E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6020" y="1664804"/>
            <a:ext cx="5436000" cy="276999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80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 dirty="0"/>
              <a:t>Diagrammtitel durch Klicken bearbeiten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1515C532-0452-4ECF-B1F7-7C57FFD599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76020" y="2018747"/>
            <a:ext cx="5436000" cy="215444"/>
          </a:xfrm>
        </p:spPr>
        <p:txBody>
          <a:bodyPr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Werteinheit durch Klicken bearbeiten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C6893586-E184-4C0B-8EEB-67FD4005CE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6545" y="6242829"/>
            <a:ext cx="5436000" cy="13849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Font typeface="Segoe UI Light" panose="020B0604020202020204" pitchFamily="34" charset="0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Quellenangabe durch Klicken bearbeiten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C42A7249-191B-4C30-8710-04B646C53B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901" y="1664804"/>
            <a:ext cx="5435376" cy="4716000"/>
          </a:xfrm>
        </p:spPr>
        <p:txBody>
          <a:bodyPr/>
          <a:lstStyle/>
          <a:p>
            <a:pPr lvl="0"/>
            <a:r>
              <a:rPr lang="de-DE" noProof="0"/>
              <a:t>Tex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FB29DE9-2B55-43A0-8E77-DA5E3F775A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noProof="0" dirty="0"/>
              <a:t>Folientitel durch Klicken bearbeiten (maximal zweizeilig)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935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25" userDrawn="1">
          <p15:clr>
            <a:srgbClr val="FBAE40"/>
          </p15:clr>
        </p15:guide>
        <p15:guide id="2" orient="horz" pos="3770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01">
    <p:bg bwMode="gray">
      <p:bgPr>
        <a:gradFill>
          <a:gsLst>
            <a:gs pos="62000">
              <a:schemeClr val="accent2"/>
            </a:gs>
            <a:gs pos="28000">
              <a:schemeClr val="accent1"/>
            </a:gs>
            <a:gs pos="100000">
              <a:schemeClr val="accent2">
                <a:lumMod val="50000"/>
              </a:schemeClr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C5B725-3378-4055-BA94-6591EFFB46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50386" y="3316977"/>
            <a:ext cx="10872000" cy="1329595"/>
          </a:xfrm>
        </p:spPr>
        <p:txBody>
          <a:bodyPr anchor="t"/>
          <a:lstStyle>
            <a:lvl1pPr>
              <a:lnSpc>
                <a:spcPct val="90000"/>
              </a:lnSpc>
              <a:defRPr sz="4800" b="0" i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de-DE" noProof="0" dirty="0"/>
              <a:t>Zitat durch Klicken bearbeiten (kann auch mehrere Zeilen lang sein)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B702ABE3-E699-47C7-AD19-2C63B59EF916}"/>
              </a:ext>
            </a:extLst>
          </p:cNvPr>
          <p:cNvGrpSpPr/>
          <p:nvPr userDrawn="1"/>
        </p:nvGrpSpPr>
        <p:grpSpPr bwMode="gray">
          <a:xfrm>
            <a:off x="486000" y="480337"/>
            <a:ext cx="1628879" cy="1292678"/>
            <a:chOff x="6457288" y="1501907"/>
            <a:chExt cx="1779323" cy="1412070"/>
          </a:xfrm>
          <a:solidFill>
            <a:schemeClr val="accent1"/>
          </a:solidFill>
        </p:grpSpPr>
        <p:sp>
          <p:nvSpPr>
            <p:cNvPr id="6" name="Freihandform: Form 5">
              <a:extLst>
                <a:ext uri="{FF2B5EF4-FFF2-40B4-BE49-F238E27FC236}">
                  <a16:creationId xmlns:a16="http://schemas.microsoft.com/office/drawing/2014/main" id="{05DFB5E9-5E9D-4A35-8BFB-302F23AD375E}"/>
                </a:ext>
              </a:extLst>
            </p:cNvPr>
            <p:cNvSpPr/>
            <p:nvPr/>
          </p:nvSpPr>
          <p:spPr bwMode="gray">
            <a:xfrm>
              <a:off x="6457288" y="1501907"/>
              <a:ext cx="711729" cy="1412070"/>
            </a:xfrm>
            <a:custGeom>
              <a:avLst/>
              <a:gdLst>
                <a:gd name="connsiteX0" fmla="*/ 0 w 711729"/>
                <a:gd name="connsiteY0" fmla="*/ 0 h 1412070"/>
                <a:gd name="connsiteX1" fmla="*/ 0 w 711729"/>
                <a:gd name="connsiteY1" fmla="*/ 711729 h 1412070"/>
                <a:gd name="connsiteX2" fmla="*/ 406041 w 711729"/>
                <a:gd name="connsiteY2" fmla="*/ 711729 h 1412070"/>
                <a:gd name="connsiteX3" fmla="*/ 0 w 711729"/>
                <a:gd name="connsiteY3" fmla="*/ 1106739 h 1412070"/>
                <a:gd name="connsiteX4" fmla="*/ 0 w 711729"/>
                <a:gd name="connsiteY4" fmla="*/ 1412071 h 1412070"/>
                <a:gd name="connsiteX5" fmla="*/ 711729 w 711729"/>
                <a:gd name="connsiteY5" fmla="*/ 711729 h 1412070"/>
                <a:gd name="connsiteX6" fmla="*/ 711729 w 711729"/>
                <a:gd name="connsiteY6" fmla="*/ 711729 h 1412070"/>
                <a:gd name="connsiteX7" fmla="*/ 711729 w 711729"/>
                <a:gd name="connsiteY7" fmla="*/ 0 h 1412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1729" h="1412070">
                  <a:moveTo>
                    <a:pt x="0" y="0"/>
                  </a:moveTo>
                  <a:lnTo>
                    <a:pt x="0" y="711729"/>
                  </a:lnTo>
                  <a:lnTo>
                    <a:pt x="406041" y="711729"/>
                  </a:lnTo>
                  <a:cubicBezTo>
                    <a:pt x="399878" y="931579"/>
                    <a:pt x="219935" y="1106632"/>
                    <a:pt x="0" y="1106739"/>
                  </a:cubicBezTo>
                  <a:lnTo>
                    <a:pt x="0" y="1412071"/>
                  </a:lnTo>
                  <a:cubicBezTo>
                    <a:pt x="388672" y="1412120"/>
                    <a:pt x="705509" y="1100351"/>
                    <a:pt x="711729" y="711729"/>
                  </a:cubicBezTo>
                  <a:lnTo>
                    <a:pt x="711729" y="711729"/>
                  </a:lnTo>
                  <a:lnTo>
                    <a:pt x="711729" y="0"/>
                  </a:lnTo>
                  <a:close/>
                </a:path>
              </a:pathLst>
            </a:custGeom>
            <a:grpFill/>
            <a:ln w="355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  <p:sp>
          <p:nvSpPr>
            <p:cNvPr id="7" name="Freihandform: Form 6">
              <a:extLst>
                <a:ext uri="{FF2B5EF4-FFF2-40B4-BE49-F238E27FC236}">
                  <a16:creationId xmlns:a16="http://schemas.microsoft.com/office/drawing/2014/main" id="{7D8D0E0E-60BB-475B-AD82-B92C8A5DFC00}"/>
                </a:ext>
              </a:extLst>
            </p:cNvPr>
            <p:cNvSpPr/>
            <p:nvPr/>
          </p:nvSpPr>
          <p:spPr bwMode="gray">
            <a:xfrm>
              <a:off x="7524882" y="1501907"/>
              <a:ext cx="711729" cy="1412070"/>
            </a:xfrm>
            <a:custGeom>
              <a:avLst/>
              <a:gdLst>
                <a:gd name="connsiteX0" fmla="*/ 0 w 711729"/>
                <a:gd name="connsiteY0" fmla="*/ 0 h 1412070"/>
                <a:gd name="connsiteX1" fmla="*/ 0 w 711729"/>
                <a:gd name="connsiteY1" fmla="*/ 711729 h 1412070"/>
                <a:gd name="connsiteX2" fmla="*/ 406042 w 711729"/>
                <a:gd name="connsiteY2" fmla="*/ 711729 h 1412070"/>
                <a:gd name="connsiteX3" fmla="*/ 0 w 711729"/>
                <a:gd name="connsiteY3" fmla="*/ 1106739 h 1412070"/>
                <a:gd name="connsiteX4" fmla="*/ 0 w 711729"/>
                <a:gd name="connsiteY4" fmla="*/ 1412071 h 1412070"/>
                <a:gd name="connsiteX5" fmla="*/ 711729 w 711729"/>
                <a:gd name="connsiteY5" fmla="*/ 711729 h 1412070"/>
                <a:gd name="connsiteX6" fmla="*/ 711729 w 711729"/>
                <a:gd name="connsiteY6" fmla="*/ 711729 h 1412070"/>
                <a:gd name="connsiteX7" fmla="*/ 711729 w 711729"/>
                <a:gd name="connsiteY7" fmla="*/ 0 h 1412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11729" h="1412070">
                  <a:moveTo>
                    <a:pt x="0" y="0"/>
                  </a:moveTo>
                  <a:lnTo>
                    <a:pt x="0" y="711729"/>
                  </a:lnTo>
                  <a:lnTo>
                    <a:pt x="406042" y="711729"/>
                  </a:lnTo>
                  <a:cubicBezTo>
                    <a:pt x="399878" y="931579"/>
                    <a:pt x="219935" y="1106632"/>
                    <a:pt x="0" y="1106739"/>
                  </a:cubicBezTo>
                  <a:lnTo>
                    <a:pt x="0" y="1412071"/>
                  </a:lnTo>
                  <a:cubicBezTo>
                    <a:pt x="388672" y="1412120"/>
                    <a:pt x="705509" y="1100351"/>
                    <a:pt x="711729" y="711729"/>
                  </a:cubicBezTo>
                  <a:lnTo>
                    <a:pt x="711729" y="711729"/>
                  </a:lnTo>
                  <a:lnTo>
                    <a:pt x="711729" y="0"/>
                  </a:lnTo>
                  <a:close/>
                </a:path>
              </a:pathLst>
            </a:custGeom>
            <a:grpFill/>
            <a:ln w="355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 noProof="0"/>
            </a:p>
          </p:txBody>
        </p:sp>
      </p:grpSp>
      <p:cxnSp>
        <p:nvCxnSpPr>
          <p:cNvPr id="8" name="Straight Connector 66">
            <a:extLst>
              <a:ext uri="{FF2B5EF4-FFF2-40B4-BE49-F238E27FC236}">
                <a16:creationId xmlns:a16="http://schemas.microsoft.com/office/drawing/2014/main" id="{9615E9EA-F664-424F-967C-8970A166A1F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9416" y="2852936"/>
            <a:ext cx="5436000" cy="0"/>
          </a:xfrm>
          <a:prstGeom prst="line">
            <a:avLst/>
          </a:prstGeom>
          <a:ln>
            <a:gradFill>
              <a:gsLst>
                <a:gs pos="53100">
                  <a:schemeClr val="accent1"/>
                </a:gs>
                <a:gs pos="0">
                  <a:schemeClr val="accent3"/>
                </a:gs>
                <a:gs pos="100000">
                  <a:schemeClr val="accent1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2352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dunkel, sitzend, Licht, Tisch enthält.&#10;&#10;Automatisch generierte Beschreibung">
            <a:extLst>
              <a:ext uri="{FF2B5EF4-FFF2-40B4-BE49-F238E27FC236}">
                <a16:creationId xmlns:a16="http://schemas.microsoft.com/office/drawing/2014/main" id="{DF7E3561-7173-4948-9FD9-A7E772C4F9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4961" b="4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8C5B725-3378-4055-BA94-6591EFFB46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50386" y="2128845"/>
            <a:ext cx="5760000" cy="2659190"/>
          </a:xfrm>
        </p:spPr>
        <p:txBody>
          <a:bodyPr anchor="t"/>
          <a:lstStyle>
            <a:lvl1pPr>
              <a:lnSpc>
                <a:spcPct val="90000"/>
              </a:lnSpc>
              <a:defRPr sz="4800" b="0" i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de-DE" noProof="0" dirty="0"/>
              <a:t>Zitat durch Klicken bearbeiten (kann auch mehrere Zeilen lang sein)</a:t>
            </a:r>
          </a:p>
        </p:txBody>
      </p:sp>
      <p:cxnSp>
        <p:nvCxnSpPr>
          <p:cNvPr id="8" name="Straight Connector 66">
            <a:extLst>
              <a:ext uri="{FF2B5EF4-FFF2-40B4-BE49-F238E27FC236}">
                <a16:creationId xmlns:a16="http://schemas.microsoft.com/office/drawing/2014/main" id="{9615E9EA-F664-424F-967C-8970A166A1F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9416" y="1664804"/>
            <a:ext cx="5436000" cy="0"/>
          </a:xfrm>
          <a:prstGeom prst="line">
            <a:avLst/>
          </a:prstGeom>
          <a:ln>
            <a:gradFill>
              <a:gsLst>
                <a:gs pos="53100">
                  <a:schemeClr val="accent1"/>
                </a:gs>
                <a:gs pos="0">
                  <a:schemeClr val="accent3"/>
                </a:gs>
                <a:gs pos="100000">
                  <a:schemeClr val="accent1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5EE98578-E05A-4D85-B17A-BA288B874E35}"/>
              </a:ext>
            </a:extLst>
          </p:cNvPr>
          <p:cNvGrpSpPr/>
          <p:nvPr userDrawn="1"/>
        </p:nvGrpSpPr>
        <p:grpSpPr bwMode="gray">
          <a:xfrm>
            <a:off x="11713200" y="-1"/>
            <a:ext cx="478800" cy="478801"/>
            <a:chOff x="11713200" y="-1"/>
            <a:chExt cx="478800" cy="478801"/>
          </a:xfrm>
          <a:solidFill>
            <a:schemeClr val="accent1"/>
          </a:solidFill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49AE6580-2DDC-4719-926E-74734039C31A}"/>
                </a:ext>
              </a:extLst>
            </p:cNvPr>
            <p:cNvSpPr/>
            <p:nvPr userDrawn="1"/>
          </p:nvSpPr>
          <p:spPr bwMode="gray">
            <a:xfrm>
              <a:off x="11713200" y="-1"/>
              <a:ext cx="478800" cy="136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73D554F1-D04F-4FC5-8591-DB64A56D4314}"/>
                </a:ext>
              </a:extLst>
            </p:cNvPr>
            <p:cNvSpPr/>
            <p:nvPr userDrawn="1"/>
          </p:nvSpPr>
          <p:spPr bwMode="gray">
            <a:xfrm>
              <a:off x="12055200" y="0"/>
              <a:ext cx="136800" cy="478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5DE99CCC-4F53-426D-B42B-3FD1D45A53DA}"/>
              </a:ext>
            </a:extLst>
          </p:cNvPr>
          <p:cNvGrpSpPr/>
          <p:nvPr userDrawn="1"/>
        </p:nvGrpSpPr>
        <p:grpSpPr bwMode="gray">
          <a:xfrm>
            <a:off x="0" y="6379200"/>
            <a:ext cx="478800" cy="478800"/>
            <a:chOff x="0" y="6379200"/>
            <a:chExt cx="478800" cy="478800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0FAD6354-4315-4229-A371-414CBAA95C52}"/>
                </a:ext>
              </a:extLst>
            </p:cNvPr>
            <p:cNvSpPr/>
            <p:nvPr userDrawn="1"/>
          </p:nvSpPr>
          <p:spPr bwMode="gray">
            <a:xfrm>
              <a:off x="0" y="6721200"/>
              <a:ext cx="478800" cy="136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BE7A0AD3-65F9-4067-ABD0-41769CA75050}"/>
                </a:ext>
              </a:extLst>
            </p:cNvPr>
            <p:cNvSpPr/>
            <p:nvPr userDrawn="1"/>
          </p:nvSpPr>
          <p:spPr bwMode="gray">
            <a:xfrm>
              <a:off x="0" y="6379200"/>
              <a:ext cx="136800" cy="478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</p:spTree>
    <p:extLst>
      <p:ext uri="{BB962C8B-B14F-4D97-AF65-F5344CB8AC3E}">
        <p14:creationId xmlns:p14="http://schemas.microsoft.com/office/powerpoint/2010/main" val="3882810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mi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3C2629-0B14-49BF-8B37-D0C5955757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Folientitel durch Klicken bearbeiten (maximal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05AB1F5-91D2-45E9-932E-EF0DD6C84E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>
                <a:solidFill>
                  <a:schemeClr val="accent4"/>
                </a:solidFill>
              </a:rPr>
              <a:t>PTA – Vorstellung Inflectr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A9A051A-7A0E-43F8-B3C9-566CD07E48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5" name="Bildplatzhalter 20">
            <a:extLst>
              <a:ext uri="{FF2B5EF4-FFF2-40B4-BE49-F238E27FC236}">
                <a16:creationId xmlns:a16="http://schemas.microsoft.com/office/drawing/2014/main" id="{2E398CE1-33E8-4ACC-A127-0CF239DE6F55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 bwMode="gray">
          <a:xfrm>
            <a:off x="479376" y="1664804"/>
            <a:ext cx="3888000" cy="4716000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cxnSp>
        <p:nvCxnSpPr>
          <p:cNvPr id="7" name="Straight Connector 66">
            <a:extLst>
              <a:ext uri="{FF2B5EF4-FFF2-40B4-BE49-F238E27FC236}">
                <a16:creationId xmlns:a16="http://schemas.microsoft.com/office/drawing/2014/main" id="{58553876-5BBD-4820-918B-06FE5E100AA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27848" y="2760604"/>
            <a:ext cx="4072414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4D0CBCB8-4A89-4A1D-8394-D02AD392D2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27848" y="2429508"/>
            <a:ext cx="6984000" cy="246221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Name Nachname durch Klicken bearbeiten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6D45E507-9959-493E-B924-72562E6CFE7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727848" y="2836106"/>
            <a:ext cx="698400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itel / Funktion durch Klicken bearbeite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1A043DB4-AA2B-42CB-88EA-9AA9B955F5C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727848" y="3252606"/>
            <a:ext cx="6984000" cy="215444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E-Mail durch Klicken bearbeiten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5AFB3266-D82A-4AC0-B2CB-022E81E8D48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4727848" y="4114392"/>
            <a:ext cx="6984000" cy="743793"/>
          </a:xfrm>
        </p:spPr>
        <p:txBody>
          <a:bodyPr wrap="square">
            <a:spAutoFit/>
          </a:bodyPr>
          <a:lstStyle>
            <a:lvl1pPr marL="0" indent="0">
              <a:spcBef>
                <a:spcPts val="600"/>
              </a:spcBef>
              <a:buClr>
                <a:schemeClr val="accent1"/>
              </a:buClr>
              <a:buFont typeface="Segoe UI Light" panose="05000000000000000000" pitchFamily="2" charset="2"/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marL="180000" indent="-18000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cap="none" baseline="0">
                <a:solidFill>
                  <a:schemeClr val="tx1"/>
                </a:solidFill>
                <a:latin typeface="+mn-lt"/>
              </a:defRPr>
            </a:lvl2pPr>
            <a:lvl3pPr marL="360000" indent="-180000">
              <a:spcBef>
                <a:spcPts val="400"/>
              </a:spcBef>
              <a:buClr>
                <a:schemeClr val="tx1"/>
              </a:buClr>
              <a:buFont typeface="Segoe UI Light" panose="020B0502040204020203" pitchFamily="34" charset="0"/>
              <a:buChar char="−"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468000" indent="-252000">
              <a:spcBef>
                <a:spcPts val="400"/>
              </a:spcBef>
              <a:buClr>
                <a:schemeClr val="tx1"/>
              </a:buClr>
              <a:buFont typeface="Segoe UI Light" panose="020B0502040204020203" pitchFamily="34" charset="0"/>
              <a:buChar char="−"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468000" indent="-252000">
              <a:spcBef>
                <a:spcPts val="400"/>
              </a:spcBef>
              <a:buClr>
                <a:schemeClr val="tx1"/>
              </a:buClr>
              <a:buFont typeface="Segoe UI Light" panose="020B0502040204020203" pitchFamily="34" charset="0"/>
              <a:buChar char="−"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468000" indent="-252000">
              <a:spcBef>
                <a:spcPts val="400"/>
              </a:spcBef>
              <a:buClr>
                <a:schemeClr val="tx1"/>
              </a:buClr>
              <a:buFont typeface="Segoe UI Light" panose="020B0502040204020203" pitchFamily="34" charset="0"/>
              <a:buChar char="−"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468000" indent="-252000">
              <a:spcBef>
                <a:spcPts val="400"/>
              </a:spcBef>
              <a:buClr>
                <a:schemeClr val="tx1"/>
              </a:buClr>
              <a:buFont typeface="Segoe UI Light" panose="020B0502040204020203" pitchFamily="34" charset="0"/>
              <a:buChar char="−"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468000" indent="-252000">
              <a:spcBef>
                <a:spcPts val="400"/>
              </a:spcBef>
              <a:buClr>
                <a:schemeClr val="tx1"/>
              </a:buClr>
              <a:buFont typeface="Segoe UI Light" panose="020B0502040204020203" pitchFamily="34" charset="0"/>
              <a:buChar char="−"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468000" indent="-252000">
              <a:spcBef>
                <a:spcPts val="400"/>
              </a:spcBef>
              <a:buClr>
                <a:schemeClr val="tx1"/>
              </a:buClr>
              <a:buFont typeface="Segoe UI Light" panose="020B0502040204020203" pitchFamily="34" charset="0"/>
              <a:buChar char="−"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 dirty="0"/>
              <a:t>Tex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A4D9EABE-7057-427F-9E03-AECB07CB1E2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727848" y="3501008"/>
            <a:ext cx="6984000" cy="21544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elefonnummer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9705420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ranch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20">
            <a:extLst>
              <a:ext uri="{FF2B5EF4-FFF2-40B4-BE49-F238E27FC236}">
                <a16:creationId xmlns:a16="http://schemas.microsoft.com/office/drawing/2014/main" id="{21E46FA2-DC25-4584-A9AC-57C855481BE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 bwMode="gray">
          <a:xfrm>
            <a:off x="0" y="0"/>
            <a:ext cx="12192000" cy="6858000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de-DE" noProof="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0EAA46B-A94E-44C8-9B47-497C0E926F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50387" y="2353213"/>
            <a:ext cx="6696000" cy="2105192"/>
          </a:xfrm>
        </p:spPr>
        <p:txBody>
          <a:bodyPr wrap="square" anchor="b">
            <a:sp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Präsentationstitel durch Klicken bearbeiten</a:t>
            </a: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1C225DA6-3CAB-4974-B562-FA685A471D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50386" y="5954191"/>
            <a:ext cx="6696000" cy="215444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Name Nachname, Ort, Datum durch Klicken bearbeit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80597CC-6F44-4DBB-84E3-0462194EE4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50385" y="4757439"/>
            <a:ext cx="6696000" cy="3077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 dirty="0"/>
              <a:t>Untertitel durch Klicken bearbeiten</a:t>
            </a:r>
          </a:p>
        </p:txBody>
      </p:sp>
      <p:sp>
        <p:nvSpPr>
          <p:cNvPr id="16" name="Textplatzhalter 27">
            <a:extLst>
              <a:ext uri="{FF2B5EF4-FFF2-40B4-BE49-F238E27FC236}">
                <a16:creationId xmlns:a16="http://schemas.microsoft.com/office/drawing/2014/main" id="{31D084A4-131F-4E72-BC16-9586C3BA5D3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1713200" y="-1"/>
            <a:ext cx="478800" cy="478801"/>
          </a:xfrm>
          <a:custGeom>
            <a:avLst/>
            <a:gdLst>
              <a:gd name="connsiteX0" fmla="*/ 0 w 478800"/>
              <a:gd name="connsiteY0" fmla="*/ 0 h 478801"/>
              <a:gd name="connsiteX1" fmla="*/ 478800 w 478800"/>
              <a:gd name="connsiteY1" fmla="*/ 0 h 478801"/>
              <a:gd name="connsiteX2" fmla="*/ 478800 w 478800"/>
              <a:gd name="connsiteY2" fmla="*/ 1 h 478801"/>
              <a:gd name="connsiteX3" fmla="*/ 478800 w 478800"/>
              <a:gd name="connsiteY3" fmla="*/ 136800 h 478801"/>
              <a:gd name="connsiteX4" fmla="*/ 478800 w 478800"/>
              <a:gd name="connsiteY4" fmla="*/ 478801 h 478801"/>
              <a:gd name="connsiteX5" fmla="*/ 342000 w 478800"/>
              <a:gd name="connsiteY5" fmla="*/ 478801 h 478801"/>
              <a:gd name="connsiteX6" fmla="*/ 342000 w 478800"/>
              <a:gd name="connsiteY6" fmla="*/ 136800 h 478801"/>
              <a:gd name="connsiteX7" fmla="*/ 0 w 478800"/>
              <a:gd name="connsiteY7" fmla="*/ 136800 h 478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8800" h="478801">
                <a:moveTo>
                  <a:pt x="0" y="0"/>
                </a:moveTo>
                <a:lnTo>
                  <a:pt x="478800" y="0"/>
                </a:lnTo>
                <a:lnTo>
                  <a:pt x="478800" y="1"/>
                </a:lnTo>
                <a:lnTo>
                  <a:pt x="478800" y="136800"/>
                </a:lnTo>
                <a:lnTo>
                  <a:pt x="478800" y="478801"/>
                </a:lnTo>
                <a:lnTo>
                  <a:pt x="342000" y="478801"/>
                </a:lnTo>
                <a:lnTo>
                  <a:pt x="342000" y="136800"/>
                </a:lnTo>
                <a:lnTo>
                  <a:pt x="0" y="1368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9pPr>
          </a:lstStyle>
          <a:p>
            <a:pPr lvl="0"/>
            <a:r>
              <a:rPr lang="de-DE" noProof="0"/>
              <a:t>x</a:t>
            </a:r>
          </a:p>
        </p:txBody>
      </p:sp>
      <p:sp>
        <p:nvSpPr>
          <p:cNvPr id="17" name="Textplatzhalter 23">
            <a:extLst>
              <a:ext uri="{FF2B5EF4-FFF2-40B4-BE49-F238E27FC236}">
                <a16:creationId xmlns:a16="http://schemas.microsoft.com/office/drawing/2014/main" id="{C3243748-C8F2-4591-86E9-F0642381DE8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0" y="6379200"/>
            <a:ext cx="478800" cy="478800"/>
          </a:xfrm>
          <a:custGeom>
            <a:avLst/>
            <a:gdLst>
              <a:gd name="connsiteX0" fmla="*/ 0 w 478800"/>
              <a:gd name="connsiteY0" fmla="*/ 0 h 478800"/>
              <a:gd name="connsiteX1" fmla="*/ 136800 w 478800"/>
              <a:gd name="connsiteY1" fmla="*/ 0 h 478800"/>
              <a:gd name="connsiteX2" fmla="*/ 136800 w 478800"/>
              <a:gd name="connsiteY2" fmla="*/ 342000 h 478800"/>
              <a:gd name="connsiteX3" fmla="*/ 478800 w 478800"/>
              <a:gd name="connsiteY3" fmla="*/ 342000 h 478800"/>
              <a:gd name="connsiteX4" fmla="*/ 478800 w 478800"/>
              <a:gd name="connsiteY4" fmla="*/ 478800 h 478800"/>
              <a:gd name="connsiteX5" fmla="*/ 136800 w 478800"/>
              <a:gd name="connsiteY5" fmla="*/ 478800 h 478800"/>
              <a:gd name="connsiteX6" fmla="*/ 0 w 478800"/>
              <a:gd name="connsiteY6" fmla="*/ 478800 h 478800"/>
              <a:gd name="connsiteX7" fmla="*/ 0 w 478800"/>
              <a:gd name="connsiteY7" fmla="*/ 342000 h 47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78800" h="478800">
                <a:moveTo>
                  <a:pt x="0" y="0"/>
                </a:moveTo>
                <a:lnTo>
                  <a:pt x="136800" y="0"/>
                </a:lnTo>
                <a:lnTo>
                  <a:pt x="136800" y="342000"/>
                </a:lnTo>
                <a:lnTo>
                  <a:pt x="478800" y="342000"/>
                </a:lnTo>
                <a:lnTo>
                  <a:pt x="478800" y="478800"/>
                </a:lnTo>
                <a:lnTo>
                  <a:pt x="136800" y="478800"/>
                </a:lnTo>
                <a:lnTo>
                  <a:pt x="0" y="478800"/>
                </a:lnTo>
                <a:lnTo>
                  <a:pt x="0" y="342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9pPr>
          </a:lstStyle>
          <a:p>
            <a:pPr lvl="0"/>
            <a:r>
              <a:rPr lang="de-DE" noProof="0"/>
              <a:t>x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DDF7BD7-F036-4E53-8000-490FA223398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85999" y="485774"/>
            <a:ext cx="2259371" cy="129267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cap="none" baseline="0">
                <a:noFill/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cap="none" baseline="0">
                <a:noFill/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00" cap="none" baseline="0">
                <a:noFill/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00" cap="none" baseline="0">
                <a:noFill/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00" cap="none" baseline="0">
                <a:noFill/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00" cap="none" baseline="0">
                <a:noFill/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00" cap="none" baseline="0">
                <a:noFill/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00" cap="none" baseline="0">
                <a:noFill/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00" cap="none" baseline="0">
                <a:noFill/>
                <a:latin typeface="+mj-lt"/>
              </a:defRPr>
            </a:lvl9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672EDB9C-273A-4E52-99FD-55B522AF841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850387" y="4589259"/>
            <a:ext cx="5436000" cy="7200"/>
          </a:xfrm>
          <a:gradFill>
            <a:gsLst>
              <a:gs pos="53100">
                <a:schemeClr val="accent1"/>
              </a:gs>
              <a:gs pos="0">
                <a:schemeClr val="accent3"/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00" cap="none" baseline="0">
                <a:noFill/>
                <a:latin typeface="+mj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100" cap="none" baseline="0">
                <a:noFill/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00" cap="none" baseline="0">
                <a:noFill/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00" cap="none" baseline="0">
                <a:noFill/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00" cap="none" baseline="0">
                <a:noFill/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00" cap="none" baseline="0">
                <a:noFill/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00" cap="none" baseline="0">
                <a:noFill/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00" cap="none" baseline="0">
                <a:noFill/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00" cap="none" baseline="0">
                <a:noFill/>
                <a:latin typeface="+mj-lt"/>
              </a:defRPr>
            </a:lvl9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2269103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3C2629-0B14-49BF-8B37-D0C5955757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Folientitel durch Klicken bearbeiten (maximal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05AB1F5-91D2-45E9-932E-EF0DD6C84E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>
                <a:solidFill>
                  <a:schemeClr val="accent4"/>
                </a:solidFill>
              </a:rPr>
              <a:t>PTA – Vorstellung Inflectr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A9A051A-7A0E-43F8-B3C9-566CD07E48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Bildplatzhalter 20">
            <a:extLst>
              <a:ext uri="{FF2B5EF4-FFF2-40B4-BE49-F238E27FC236}">
                <a16:creationId xmlns:a16="http://schemas.microsoft.com/office/drawing/2014/main" id="{2E398CE1-33E8-4ACC-A127-0CF239DE6F55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 bwMode="gray">
          <a:xfrm>
            <a:off x="479376" y="1664804"/>
            <a:ext cx="2520000" cy="3204000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4D0CBCB8-4A89-4A1D-8394-D02AD392D2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377" y="5049180"/>
            <a:ext cx="2520000" cy="246221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Name Nachname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6D45E507-9959-493E-B924-72562E6CFE7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79377" y="5455778"/>
            <a:ext cx="252000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itel / Funktion bearbeite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1A043DB4-AA2B-42CB-88EA-9AA9B955F5C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79377" y="5841268"/>
            <a:ext cx="2520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E-Mail bearbeiten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A4D9EABE-7057-427F-9E03-AECB07CB1E2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79377" y="6058892"/>
            <a:ext cx="2520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elefonnummer bearbeiten</a:t>
            </a:r>
          </a:p>
        </p:txBody>
      </p:sp>
      <p:cxnSp>
        <p:nvCxnSpPr>
          <p:cNvPr id="19" name="Straight Connector 66">
            <a:extLst>
              <a:ext uri="{FF2B5EF4-FFF2-40B4-BE49-F238E27FC236}">
                <a16:creationId xmlns:a16="http://schemas.microsoft.com/office/drawing/2014/main" id="{9A313A16-DE05-4741-BF77-0B3E71E2AD7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5380276"/>
            <a:ext cx="19247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75370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3C2629-0B14-49BF-8B37-D0C5955757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Folientitel durch Klicken bearbeiten (maximal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05AB1F5-91D2-45E9-932E-EF0DD6C84E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>
                <a:solidFill>
                  <a:schemeClr val="accent4"/>
                </a:solidFill>
              </a:rPr>
              <a:t>PTA – Vorstellung Inflectr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A9A051A-7A0E-43F8-B3C9-566CD07E48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Bildplatzhalter 20">
            <a:extLst>
              <a:ext uri="{FF2B5EF4-FFF2-40B4-BE49-F238E27FC236}">
                <a16:creationId xmlns:a16="http://schemas.microsoft.com/office/drawing/2014/main" id="{2E398CE1-33E8-4ACC-A127-0CF239DE6F55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 bwMode="gray">
          <a:xfrm>
            <a:off x="479376" y="1664804"/>
            <a:ext cx="2520000" cy="3204000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4D0CBCB8-4A89-4A1D-8394-D02AD392D2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377" y="5049180"/>
            <a:ext cx="2520000" cy="246221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Name Nachname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6D45E507-9959-493E-B924-72562E6CFE7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79377" y="5455778"/>
            <a:ext cx="252000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itel / Funktion bearbeite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1A043DB4-AA2B-42CB-88EA-9AA9B955F5C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79377" y="5841268"/>
            <a:ext cx="2520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E-Mail bearbeiten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A4D9EABE-7057-427F-9E03-AECB07CB1E2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79377" y="6058892"/>
            <a:ext cx="2520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elefonnummer bearbeiten</a:t>
            </a:r>
          </a:p>
        </p:txBody>
      </p:sp>
      <p:cxnSp>
        <p:nvCxnSpPr>
          <p:cNvPr id="19" name="Straight Connector 66">
            <a:extLst>
              <a:ext uri="{FF2B5EF4-FFF2-40B4-BE49-F238E27FC236}">
                <a16:creationId xmlns:a16="http://schemas.microsoft.com/office/drawing/2014/main" id="{9A313A16-DE05-4741-BF77-0B3E71E2AD7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5380276"/>
            <a:ext cx="19247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Bildplatzhalter 20">
            <a:extLst>
              <a:ext uri="{FF2B5EF4-FFF2-40B4-BE49-F238E27FC236}">
                <a16:creationId xmlns:a16="http://schemas.microsoft.com/office/drawing/2014/main" id="{806CA53F-F395-4E43-A639-5549EE7BB9C6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 bwMode="gray">
          <a:xfrm>
            <a:off x="6276020" y="1664804"/>
            <a:ext cx="2520000" cy="3204000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cxnSp>
        <p:nvCxnSpPr>
          <p:cNvPr id="15" name="Straight Connector 66">
            <a:extLst>
              <a:ext uri="{FF2B5EF4-FFF2-40B4-BE49-F238E27FC236}">
                <a16:creationId xmlns:a16="http://schemas.microsoft.com/office/drawing/2014/main" id="{709D0124-3E81-4289-A8FD-3F9E9CBBFDA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76020" y="5380276"/>
            <a:ext cx="19247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59CAE3F6-C9FE-4F82-9385-42A90617AE6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6276020" y="5049180"/>
            <a:ext cx="2520000" cy="246221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Name Nachname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AD84B8D0-D55E-449D-9031-2AC10D414BF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76020" y="5455778"/>
            <a:ext cx="252000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itel / Funktion bearbeiten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FDA27116-30B8-4387-B155-88ECF04D70D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76020" y="5841268"/>
            <a:ext cx="2520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E-Mail bearbeit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2C68B923-EF23-47F5-B64B-8F3CC77E6A9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76020" y="6058892"/>
            <a:ext cx="2520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elefonnummer bearbeiten</a:t>
            </a:r>
          </a:p>
        </p:txBody>
      </p:sp>
    </p:spTree>
    <p:extLst>
      <p:ext uri="{BB962C8B-B14F-4D97-AF65-F5344CB8AC3E}">
        <p14:creationId xmlns:p14="http://schemas.microsoft.com/office/powerpoint/2010/main" val="16943458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3C2629-0B14-49BF-8B37-D0C5955757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Folientitel durch Klicken bearbeiten (maximal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05AB1F5-91D2-45E9-932E-EF0DD6C84E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>
                <a:solidFill>
                  <a:schemeClr val="accent4"/>
                </a:solidFill>
              </a:rPr>
              <a:t>PTA – Vorstellung Inflectr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A9A051A-7A0E-43F8-B3C9-566CD07E48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Bildplatzhalter 20">
            <a:extLst>
              <a:ext uri="{FF2B5EF4-FFF2-40B4-BE49-F238E27FC236}">
                <a16:creationId xmlns:a16="http://schemas.microsoft.com/office/drawing/2014/main" id="{2E398CE1-33E8-4ACC-A127-0CF239DE6F55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 bwMode="gray">
          <a:xfrm>
            <a:off x="479376" y="1664804"/>
            <a:ext cx="2520000" cy="3204000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4D0CBCB8-4A89-4A1D-8394-D02AD392D2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377" y="5049180"/>
            <a:ext cx="2520000" cy="246221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Name Nachname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6D45E507-9959-493E-B924-72562E6CFE7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79377" y="5455778"/>
            <a:ext cx="252000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itel / Funktion bearbeite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1A043DB4-AA2B-42CB-88EA-9AA9B955F5C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79377" y="5841268"/>
            <a:ext cx="2520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E-Mail bearbeiten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A4D9EABE-7057-427F-9E03-AECB07CB1E2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79377" y="6058892"/>
            <a:ext cx="2520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elefonnummer bearbeiten</a:t>
            </a:r>
          </a:p>
        </p:txBody>
      </p:sp>
      <p:cxnSp>
        <p:nvCxnSpPr>
          <p:cNvPr id="19" name="Straight Connector 66">
            <a:extLst>
              <a:ext uri="{FF2B5EF4-FFF2-40B4-BE49-F238E27FC236}">
                <a16:creationId xmlns:a16="http://schemas.microsoft.com/office/drawing/2014/main" id="{9A313A16-DE05-4741-BF77-0B3E71E2AD7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5380276"/>
            <a:ext cx="19247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Bildplatzhalter 20">
            <a:extLst>
              <a:ext uri="{FF2B5EF4-FFF2-40B4-BE49-F238E27FC236}">
                <a16:creationId xmlns:a16="http://schemas.microsoft.com/office/drawing/2014/main" id="{806CA53F-F395-4E43-A639-5549EE7BB9C6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 bwMode="gray">
          <a:xfrm>
            <a:off x="3395700" y="1664804"/>
            <a:ext cx="2520000" cy="3204000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cxnSp>
        <p:nvCxnSpPr>
          <p:cNvPr id="15" name="Straight Connector 66">
            <a:extLst>
              <a:ext uri="{FF2B5EF4-FFF2-40B4-BE49-F238E27FC236}">
                <a16:creationId xmlns:a16="http://schemas.microsoft.com/office/drawing/2014/main" id="{709D0124-3E81-4289-A8FD-3F9E9CBBFDA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95700" y="5380276"/>
            <a:ext cx="19247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59CAE3F6-C9FE-4F82-9385-42A90617AE6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395700" y="5049180"/>
            <a:ext cx="2520000" cy="246221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Name Nachname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AD84B8D0-D55E-449D-9031-2AC10D414BF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395700" y="5455778"/>
            <a:ext cx="252000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itel / Funktion bearbeiten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FDA27116-30B8-4387-B155-88ECF04D70D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395700" y="5841268"/>
            <a:ext cx="2520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E-Mail bearbeit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2C68B923-EF23-47F5-B64B-8F3CC77E6A9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3395700" y="6058892"/>
            <a:ext cx="2520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elefonnummer bearbeiten</a:t>
            </a:r>
          </a:p>
        </p:txBody>
      </p:sp>
      <p:sp>
        <p:nvSpPr>
          <p:cNvPr id="22" name="Bildplatzhalter 20">
            <a:extLst>
              <a:ext uri="{FF2B5EF4-FFF2-40B4-BE49-F238E27FC236}">
                <a16:creationId xmlns:a16="http://schemas.microsoft.com/office/drawing/2014/main" id="{F7782308-DE2F-4D8C-8D47-F4FA3444F3BE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 bwMode="gray">
          <a:xfrm>
            <a:off x="6276020" y="1664804"/>
            <a:ext cx="2520000" cy="3204000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cxnSp>
        <p:nvCxnSpPr>
          <p:cNvPr id="25" name="Straight Connector 66">
            <a:extLst>
              <a:ext uri="{FF2B5EF4-FFF2-40B4-BE49-F238E27FC236}">
                <a16:creationId xmlns:a16="http://schemas.microsoft.com/office/drawing/2014/main" id="{8865F8D5-742B-442A-ABC8-C5C352E1294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76020" y="5380276"/>
            <a:ext cx="19247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E44B5B5C-7E1A-434E-B290-E8A52B8029B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276020" y="5049180"/>
            <a:ext cx="2520000" cy="246221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Name Nachname</a:t>
            </a:r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B73A0C1B-7A0F-4321-9828-AFBC8BC9177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276020" y="5455778"/>
            <a:ext cx="252000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itel / Funktion bearbeiten</a:t>
            </a:r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01ABB8A2-A4DA-4E92-80AA-3221F5348A5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276020" y="5841268"/>
            <a:ext cx="2520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E-Mail bearbeiten</a:t>
            </a: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44D37F50-8D35-4903-B19A-C56BE9DB0D6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276020" y="6058892"/>
            <a:ext cx="2520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elefonnummer bearbeiten</a:t>
            </a:r>
          </a:p>
        </p:txBody>
      </p:sp>
    </p:spTree>
    <p:extLst>
      <p:ext uri="{BB962C8B-B14F-4D97-AF65-F5344CB8AC3E}">
        <p14:creationId xmlns:p14="http://schemas.microsoft.com/office/powerpoint/2010/main" val="16718634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3C2629-0B14-49BF-8B37-D0C5955757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Folientitel durch Klicken bearbeiten (maximal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05AB1F5-91D2-45E9-932E-EF0DD6C84E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>
                <a:solidFill>
                  <a:schemeClr val="accent4"/>
                </a:solidFill>
              </a:rPr>
              <a:t>PTA – Vorstellung Inflectr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A9A051A-7A0E-43F8-B3C9-566CD07E48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Bildplatzhalter 20">
            <a:extLst>
              <a:ext uri="{FF2B5EF4-FFF2-40B4-BE49-F238E27FC236}">
                <a16:creationId xmlns:a16="http://schemas.microsoft.com/office/drawing/2014/main" id="{2E398CE1-33E8-4ACC-A127-0CF239DE6F55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 bwMode="gray">
          <a:xfrm>
            <a:off x="479376" y="1664804"/>
            <a:ext cx="2520000" cy="3204000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4D0CBCB8-4A89-4A1D-8394-D02AD392D2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377" y="5049180"/>
            <a:ext cx="2520000" cy="246221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Name Nachname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6D45E507-9959-493E-B924-72562E6CFE7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79377" y="5455778"/>
            <a:ext cx="252000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itel / Funktion bearbeite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1A043DB4-AA2B-42CB-88EA-9AA9B955F5C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79377" y="5841268"/>
            <a:ext cx="2520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E-Mail bearbeiten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A4D9EABE-7057-427F-9E03-AECB07CB1E2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79377" y="6058892"/>
            <a:ext cx="2520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elefonnummer bearbeiten</a:t>
            </a:r>
          </a:p>
        </p:txBody>
      </p:sp>
      <p:cxnSp>
        <p:nvCxnSpPr>
          <p:cNvPr id="19" name="Straight Connector 66">
            <a:extLst>
              <a:ext uri="{FF2B5EF4-FFF2-40B4-BE49-F238E27FC236}">
                <a16:creationId xmlns:a16="http://schemas.microsoft.com/office/drawing/2014/main" id="{9A313A16-DE05-4741-BF77-0B3E71E2AD7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5380276"/>
            <a:ext cx="19247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Bildplatzhalter 20">
            <a:extLst>
              <a:ext uri="{FF2B5EF4-FFF2-40B4-BE49-F238E27FC236}">
                <a16:creationId xmlns:a16="http://schemas.microsoft.com/office/drawing/2014/main" id="{806CA53F-F395-4E43-A639-5549EE7BB9C6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 bwMode="gray">
          <a:xfrm>
            <a:off x="3395700" y="1664804"/>
            <a:ext cx="2520000" cy="3204000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cxnSp>
        <p:nvCxnSpPr>
          <p:cNvPr id="15" name="Straight Connector 66">
            <a:extLst>
              <a:ext uri="{FF2B5EF4-FFF2-40B4-BE49-F238E27FC236}">
                <a16:creationId xmlns:a16="http://schemas.microsoft.com/office/drawing/2014/main" id="{709D0124-3E81-4289-A8FD-3F9E9CBBFDA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395700" y="5380276"/>
            <a:ext cx="19247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59CAE3F6-C9FE-4F82-9385-42A90617AE6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395700" y="5049180"/>
            <a:ext cx="2520000" cy="246221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Name Nachname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id="{AD84B8D0-D55E-449D-9031-2AC10D414BF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395700" y="5455778"/>
            <a:ext cx="252000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itel / Funktion bearbeiten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id="{FDA27116-30B8-4387-B155-88ECF04D70D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395700" y="5841268"/>
            <a:ext cx="2520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E-Mail bearbeiten</a:t>
            </a:r>
          </a:p>
        </p:txBody>
      </p: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2C68B923-EF23-47F5-B64B-8F3CC77E6A9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3395700" y="6058892"/>
            <a:ext cx="2520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elefonnummer bearbeiten</a:t>
            </a:r>
          </a:p>
        </p:txBody>
      </p:sp>
      <p:sp>
        <p:nvSpPr>
          <p:cNvPr id="22" name="Bildplatzhalter 20">
            <a:extLst>
              <a:ext uri="{FF2B5EF4-FFF2-40B4-BE49-F238E27FC236}">
                <a16:creationId xmlns:a16="http://schemas.microsoft.com/office/drawing/2014/main" id="{F7782308-DE2F-4D8C-8D47-F4FA3444F3BE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 bwMode="gray">
          <a:xfrm>
            <a:off x="6276020" y="1664804"/>
            <a:ext cx="2520000" cy="3204000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cxnSp>
        <p:nvCxnSpPr>
          <p:cNvPr id="25" name="Straight Connector 66">
            <a:extLst>
              <a:ext uri="{FF2B5EF4-FFF2-40B4-BE49-F238E27FC236}">
                <a16:creationId xmlns:a16="http://schemas.microsoft.com/office/drawing/2014/main" id="{8865F8D5-742B-442A-ABC8-C5C352E1294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276020" y="5380276"/>
            <a:ext cx="19247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E44B5B5C-7E1A-434E-B290-E8A52B8029B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276020" y="5049180"/>
            <a:ext cx="2520000" cy="246221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Name Nachname</a:t>
            </a:r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B73A0C1B-7A0F-4321-9828-AFBC8BC9177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276020" y="5455778"/>
            <a:ext cx="252000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itel / Funktion bearbeiten</a:t>
            </a:r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01ABB8A2-A4DA-4E92-80AA-3221F5348A5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276020" y="5841268"/>
            <a:ext cx="2520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E-Mail bearbeiten</a:t>
            </a: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44D37F50-8D35-4903-B19A-C56BE9DB0D6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276020" y="6058892"/>
            <a:ext cx="2520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elefonnummer bearbeiten</a:t>
            </a:r>
          </a:p>
        </p:txBody>
      </p:sp>
      <p:sp>
        <p:nvSpPr>
          <p:cNvPr id="23" name="Bildplatzhalter 20">
            <a:extLst>
              <a:ext uri="{FF2B5EF4-FFF2-40B4-BE49-F238E27FC236}">
                <a16:creationId xmlns:a16="http://schemas.microsoft.com/office/drawing/2014/main" id="{F8FBFEA4-30D8-4BB7-8E43-64632DE998AA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 bwMode="gray">
          <a:xfrm>
            <a:off x="9192344" y="1664804"/>
            <a:ext cx="2520000" cy="3204000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cxnSp>
        <p:nvCxnSpPr>
          <p:cNvPr id="24" name="Straight Connector 66">
            <a:extLst>
              <a:ext uri="{FF2B5EF4-FFF2-40B4-BE49-F238E27FC236}">
                <a16:creationId xmlns:a16="http://schemas.microsoft.com/office/drawing/2014/main" id="{27DA4CDB-C2A5-44F5-AD28-47B34F216E8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192344" y="5380276"/>
            <a:ext cx="19247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2FBE27BB-FE5B-4D5B-B04B-90BB14539041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192344" y="5049180"/>
            <a:ext cx="2520000" cy="246221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Name Nachname</a:t>
            </a:r>
          </a:p>
        </p:txBody>
      </p:sp>
      <p:sp>
        <p:nvSpPr>
          <p:cNvPr id="31" name="Textplatzhalter 5">
            <a:extLst>
              <a:ext uri="{FF2B5EF4-FFF2-40B4-BE49-F238E27FC236}">
                <a16:creationId xmlns:a16="http://schemas.microsoft.com/office/drawing/2014/main" id="{E6C95EEB-9BDB-465A-9F69-C3E74BAE31A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192344" y="5455778"/>
            <a:ext cx="252000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itel / Funktion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756D8B9C-8782-4966-8AAD-4B5F512959EE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9192344" y="5841268"/>
            <a:ext cx="2520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E-Mail bearbeiten</a:t>
            </a:r>
          </a:p>
        </p:txBody>
      </p:sp>
      <p:sp>
        <p:nvSpPr>
          <p:cNvPr id="33" name="Textplatzhalter 5">
            <a:extLst>
              <a:ext uri="{FF2B5EF4-FFF2-40B4-BE49-F238E27FC236}">
                <a16:creationId xmlns:a16="http://schemas.microsoft.com/office/drawing/2014/main" id="{610CC0FC-C284-47C1-B2A8-0D8E3ABCC78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9192344" y="6058892"/>
            <a:ext cx="2520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elefonnummer bearbeiten</a:t>
            </a:r>
          </a:p>
        </p:txBody>
      </p:sp>
    </p:spTree>
    <p:extLst>
      <p:ext uri="{BB962C8B-B14F-4D97-AF65-F5344CB8AC3E}">
        <p14:creationId xmlns:p14="http://schemas.microsoft.com/office/powerpoint/2010/main" val="23226709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3C2629-0B14-49BF-8B37-D0C5955757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Folientitel durch Klicken bearbeiten (maximal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05AB1F5-91D2-45E9-932E-EF0DD6C84E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>
                <a:solidFill>
                  <a:schemeClr val="accent4"/>
                </a:solidFill>
              </a:rPr>
              <a:t>PTA – Vorstellung Inflectr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A9A051A-7A0E-43F8-B3C9-566CD07E48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Bildplatzhalter 20">
            <a:extLst>
              <a:ext uri="{FF2B5EF4-FFF2-40B4-BE49-F238E27FC236}">
                <a16:creationId xmlns:a16="http://schemas.microsoft.com/office/drawing/2014/main" id="{2E398CE1-33E8-4ACC-A127-0CF239DE6F55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 bwMode="gray">
          <a:xfrm>
            <a:off x="479376" y="1664804"/>
            <a:ext cx="1944000" cy="2376000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4D0CBCB8-4A89-4A1D-8394-D02AD392D2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376" y="4257092"/>
            <a:ext cx="1944000" cy="492443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 dirty="0"/>
              <a:t>Platzhalter</a:t>
            </a:r>
            <a:br>
              <a:rPr lang="de-DE" noProof="0" dirty="0"/>
            </a:br>
            <a:r>
              <a:rPr lang="de-DE" noProof="0" dirty="0"/>
              <a:t>Name Nachname</a:t>
            </a:r>
          </a:p>
        </p:txBody>
      </p:sp>
      <p:sp>
        <p:nvSpPr>
          <p:cNvPr id="12" name="Textplatzhalter 5">
            <a:extLst>
              <a:ext uri="{FF2B5EF4-FFF2-40B4-BE49-F238E27FC236}">
                <a16:creationId xmlns:a16="http://schemas.microsoft.com/office/drawing/2014/main" id="{6D45E507-9959-493E-B924-72562E6CFE7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79376" y="4909912"/>
            <a:ext cx="194400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itel / Funktion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1A043DB4-AA2B-42CB-88EA-9AA9B955F5C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79376" y="5295402"/>
            <a:ext cx="1944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E-Mail bearbeiten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A4D9EABE-7057-427F-9E03-AECB07CB1E2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79376" y="5513026"/>
            <a:ext cx="1944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elefonnummer bearbeiten</a:t>
            </a:r>
          </a:p>
        </p:txBody>
      </p:sp>
      <p:cxnSp>
        <p:nvCxnSpPr>
          <p:cNvPr id="19" name="Straight Connector 66">
            <a:extLst>
              <a:ext uri="{FF2B5EF4-FFF2-40B4-BE49-F238E27FC236}">
                <a16:creationId xmlns:a16="http://schemas.microsoft.com/office/drawing/2014/main" id="{9A313A16-DE05-4741-BF77-0B3E71E2AD7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4834410"/>
            <a:ext cx="1926000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Bildplatzhalter 20">
            <a:extLst>
              <a:ext uri="{FF2B5EF4-FFF2-40B4-BE49-F238E27FC236}">
                <a16:creationId xmlns:a16="http://schemas.microsoft.com/office/drawing/2014/main" id="{215700C4-E7AE-418C-B9F5-189118C330FB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 bwMode="gray">
          <a:xfrm>
            <a:off x="2801634" y="1664804"/>
            <a:ext cx="1944000" cy="2376000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cxnSp>
        <p:nvCxnSpPr>
          <p:cNvPr id="37" name="Straight Connector 66">
            <a:extLst>
              <a:ext uri="{FF2B5EF4-FFF2-40B4-BE49-F238E27FC236}">
                <a16:creationId xmlns:a16="http://schemas.microsoft.com/office/drawing/2014/main" id="{80B8181A-6421-40E4-BC29-E7890682F56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801634" y="4834410"/>
            <a:ext cx="1926000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51F7F9D1-2A75-41B8-8812-146EAC1904E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2801634" y="4257092"/>
            <a:ext cx="1944000" cy="492443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 dirty="0"/>
              <a:t>Platzhalter</a:t>
            </a:r>
            <a:br>
              <a:rPr lang="de-DE" noProof="0" dirty="0"/>
            </a:br>
            <a:r>
              <a:rPr lang="de-DE" noProof="0" dirty="0"/>
              <a:t>Name Nachname</a:t>
            </a:r>
          </a:p>
        </p:txBody>
      </p:sp>
      <p:sp>
        <p:nvSpPr>
          <p:cNvPr id="39" name="Textplatzhalter 5">
            <a:extLst>
              <a:ext uri="{FF2B5EF4-FFF2-40B4-BE49-F238E27FC236}">
                <a16:creationId xmlns:a16="http://schemas.microsoft.com/office/drawing/2014/main" id="{E1E85F1B-CA8D-4A2A-9501-F13B99CF7CD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2801634" y="4909912"/>
            <a:ext cx="194400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itel / Funktion</a:t>
            </a:r>
          </a:p>
        </p:txBody>
      </p:sp>
      <p:sp>
        <p:nvSpPr>
          <p:cNvPr id="40" name="Textplatzhalter 5">
            <a:extLst>
              <a:ext uri="{FF2B5EF4-FFF2-40B4-BE49-F238E27FC236}">
                <a16:creationId xmlns:a16="http://schemas.microsoft.com/office/drawing/2014/main" id="{CCFE86DA-1703-431B-992A-499350797C0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2801634" y="5295402"/>
            <a:ext cx="1944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E-Mail bearbeiten</a:t>
            </a:r>
          </a:p>
        </p:txBody>
      </p:sp>
      <p:sp>
        <p:nvSpPr>
          <p:cNvPr id="41" name="Textplatzhalter 5">
            <a:extLst>
              <a:ext uri="{FF2B5EF4-FFF2-40B4-BE49-F238E27FC236}">
                <a16:creationId xmlns:a16="http://schemas.microsoft.com/office/drawing/2014/main" id="{5F90484C-E0FC-42C5-B1B7-E0A2C61AC1D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2801634" y="5513026"/>
            <a:ext cx="1944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elefonnummer bearbeiten</a:t>
            </a:r>
          </a:p>
        </p:txBody>
      </p:sp>
      <p:sp>
        <p:nvSpPr>
          <p:cNvPr id="42" name="Bildplatzhalter 20">
            <a:extLst>
              <a:ext uri="{FF2B5EF4-FFF2-40B4-BE49-F238E27FC236}">
                <a16:creationId xmlns:a16="http://schemas.microsoft.com/office/drawing/2014/main" id="{87040A0E-6F98-429C-89C0-34D16C94DC13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 bwMode="gray">
          <a:xfrm>
            <a:off x="5123892" y="1664804"/>
            <a:ext cx="1944000" cy="2376000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cxnSp>
        <p:nvCxnSpPr>
          <p:cNvPr id="43" name="Straight Connector 66">
            <a:extLst>
              <a:ext uri="{FF2B5EF4-FFF2-40B4-BE49-F238E27FC236}">
                <a16:creationId xmlns:a16="http://schemas.microsoft.com/office/drawing/2014/main" id="{4094FE74-B015-44A6-BB2B-D4BF93F98D3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5123892" y="4834410"/>
            <a:ext cx="1926000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platzhalter 5">
            <a:extLst>
              <a:ext uri="{FF2B5EF4-FFF2-40B4-BE49-F238E27FC236}">
                <a16:creationId xmlns:a16="http://schemas.microsoft.com/office/drawing/2014/main" id="{2E1CEAFA-B8DE-4806-B059-B661BE6B602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5123892" y="4257092"/>
            <a:ext cx="1944000" cy="492443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 dirty="0"/>
              <a:t>Platzhalter</a:t>
            </a:r>
            <a:br>
              <a:rPr lang="de-DE" noProof="0" dirty="0"/>
            </a:br>
            <a:r>
              <a:rPr lang="de-DE" noProof="0" dirty="0"/>
              <a:t>Name Nachname</a:t>
            </a:r>
          </a:p>
        </p:txBody>
      </p:sp>
      <p:sp>
        <p:nvSpPr>
          <p:cNvPr id="45" name="Textplatzhalter 5">
            <a:extLst>
              <a:ext uri="{FF2B5EF4-FFF2-40B4-BE49-F238E27FC236}">
                <a16:creationId xmlns:a16="http://schemas.microsoft.com/office/drawing/2014/main" id="{752B408C-2BE6-4FB6-BB0A-6C08C537466D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5123892" y="4909912"/>
            <a:ext cx="194400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itel / Funktion</a:t>
            </a:r>
          </a:p>
        </p:txBody>
      </p:sp>
      <p:sp>
        <p:nvSpPr>
          <p:cNvPr id="46" name="Textplatzhalter 5">
            <a:extLst>
              <a:ext uri="{FF2B5EF4-FFF2-40B4-BE49-F238E27FC236}">
                <a16:creationId xmlns:a16="http://schemas.microsoft.com/office/drawing/2014/main" id="{7263303B-92BB-4E35-9E0C-B26DA7A8536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5123892" y="5295402"/>
            <a:ext cx="1944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E-Mail bearbeiten</a:t>
            </a:r>
          </a:p>
        </p:txBody>
      </p:sp>
      <p:sp>
        <p:nvSpPr>
          <p:cNvPr id="47" name="Textplatzhalter 5">
            <a:extLst>
              <a:ext uri="{FF2B5EF4-FFF2-40B4-BE49-F238E27FC236}">
                <a16:creationId xmlns:a16="http://schemas.microsoft.com/office/drawing/2014/main" id="{44C698B0-00D2-426E-92EE-AB959CF66CA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5123892" y="5513026"/>
            <a:ext cx="1944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elefonnummer bearbeiten</a:t>
            </a:r>
          </a:p>
        </p:txBody>
      </p:sp>
      <p:sp>
        <p:nvSpPr>
          <p:cNvPr id="48" name="Bildplatzhalter 20">
            <a:extLst>
              <a:ext uri="{FF2B5EF4-FFF2-40B4-BE49-F238E27FC236}">
                <a16:creationId xmlns:a16="http://schemas.microsoft.com/office/drawing/2014/main" id="{05D9741C-E584-4BDA-B02F-47B8BF6F05BD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 bwMode="gray">
          <a:xfrm>
            <a:off x="7446150" y="1664804"/>
            <a:ext cx="1944000" cy="2376000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cxnSp>
        <p:nvCxnSpPr>
          <p:cNvPr id="49" name="Straight Connector 66">
            <a:extLst>
              <a:ext uri="{FF2B5EF4-FFF2-40B4-BE49-F238E27FC236}">
                <a16:creationId xmlns:a16="http://schemas.microsoft.com/office/drawing/2014/main" id="{316CA2FC-6882-4C37-B4E6-27C5325DFD4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446150" y="4834410"/>
            <a:ext cx="1926000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platzhalter 5">
            <a:extLst>
              <a:ext uri="{FF2B5EF4-FFF2-40B4-BE49-F238E27FC236}">
                <a16:creationId xmlns:a16="http://schemas.microsoft.com/office/drawing/2014/main" id="{454F3167-6401-4644-B064-1B5B6AEDDEC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7446150" y="4257092"/>
            <a:ext cx="1944000" cy="492443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 dirty="0"/>
              <a:t>Platzhalter</a:t>
            </a:r>
            <a:br>
              <a:rPr lang="de-DE" noProof="0" dirty="0"/>
            </a:br>
            <a:r>
              <a:rPr lang="de-DE" noProof="0" dirty="0"/>
              <a:t>Name Nachname</a:t>
            </a:r>
          </a:p>
        </p:txBody>
      </p:sp>
      <p:sp>
        <p:nvSpPr>
          <p:cNvPr id="51" name="Textplatzhalter 5">
            <a:extLst>
              <a:ext uri="{FF2B5EF4-FFF2-40B4-BE49-F238E27FC236}">
                <a16:creationId xmlns:a16="http://schemas.microsoft.com/office/drawing/2014/main" id="{129B6CCF-A5D0-4083-8F05-A43639D27AF9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7446150" y="4909912"/>
            <a:ext cx="194400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itel / Funktion</a:t>
            </a:r>
          </a:p>
        </p:txBody>
      </p:sp>
      <p:sp>
        <p:nvSpPr>
          <p:cNvPr id="52" name="Textplatzhalter 5">
            <a:extLst>
              <a:ext uri="{FF2B5EF4-FFF2-40B4-BE49-F238E27FC236}">
                <a16:creationId xmlns:a16="http://schemas.microsoft.com/office/drawing/2014/main" id="{EA76751D-F402-4974-9647-44DCB4291EB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7446150" y="5295402"/>
            <a:ext cx="1944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E-Mail bearbeiten</a:t>
            </a:r>
          </a:p>
        </p:txBody>
      </p:sp>
      <p:sp>
        <p:nvSpPr>
          <p:cNvPr id="53" name="Textplatzhalter 5">
            <a:extLst>
              <a:ext uri="{FF2B5EF4-FFF2-40B4-BE49-F238E27FC236}">
                <a16:creationId xmlns:a16="http://schemas.microsoft.com/office/drawing/2014/main" id="{E50B2C60-FD51-4BC7-9B49-B9C86EB22A54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7446150" y="5513026"/>
            <a:ext cx="1944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elefonnummer bearbeiten</a:t>
            </a:r>
          </a:p>
        </p:txBody>
      </p:sp>
      <p:sp>
        <p:nvSpPr>
          <p:cNvPr id="54" name="Bildplatzhalter 20">
            <a:extLst>
              <a:ext uri="{FF2B5EF4-FFF2-40B4-BE49-F238E27FC236}">
                <a16:creationId xmlns:a16="http://schemas.microsoft.com/office/drawing/2014/main" id="{6E184013-E02E-4A56-BCC8-C30E7D8ECD3D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 bwMode="gray">
          <a:xfrm>
            <a:off x="9768408" y="1664804"/>
            <a:ext cx="1944000" cy="2376000"/>
          </a:xfrm>
          <a:solidFill>
            <a:schemeClr val="accent4"/>
          </a:solidFill>
        </p:spPr>
        <p:txBody>
          <a:bodyPr/>
          <a:lstStyle>
            <a:lvl1pPr>
              <a:spcBef>
                <a:spcPts val="0"/>
              </a:spcBef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de-DE" noProof="0"/>
          </a:p>
        </p:txBody>
      </p:sp>
      <p:cxnSp>
        <p:nvCxnSpPr>
          <p:cNvPr id="55" name="Straight Connector 66">
            <a:extLst>
              <a:ext uri="{FF2B5EF4-FFF2-40B4-BE49-F238E27FC236}">
                <a16:creationId xmlns:a16="http://schemas.microsoft.com/office/drawing/2014/main" id="{31310BF1-9AF3-41DD-B38C-1F242C7F45B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768408" y="4834410"/>
            <a:ext cx="1926000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platzhalter 5">
            <a:extLst>
              <a:ext uri="{FF2B5EF4-FFF2-40B4-BE49-F238E27FC236}">
                <a16:creationId xmlns:a16="http://schemas.microsoft.com/office/drawing/2014/main" id="{A8466E63-7961-42C2-9096-D0888BEDB19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9768408" y="4257092"/>
            <a:ext cx="1944000" cy="492443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1600" b="0" cap="all" baseline="0">
                <a:solidFill>
                  <a:schemeClr val="accent1"/>
                </a:solidFill>
                <a:latin typeface="+mj-lt"/>
              </a:defRPr>
            </a:lvl9pPr>
          </a:lstStyle>
          <a:p>
            <a:pPr lvl="0"/>
            <a:r>
              <a:rPr lang="de-DE" noProof="0" dirty="0"/>
              <a:t>Platzhalter</a:t>
            </a:r>
            <a:br>
              <a:rPr lang="de-DE" noProof="0" dirty="0"/>
            </a:br>
            <a:r>
              <a:rPr lang="de-DE" noProof="0" dirty="0"/>
              <a:t>Name Nachname</a:t>
            </a:r>
          </a:p>
        </p:txBody>
      </p:sp>
      <p:sp>
        <p:nvSpPr>
          <p:cNvPr id="57" name="Textplatzhalter 5">
            <a:extLst>
              <a:ext uri="{FF2B5EF4-FFF2-40B4-BE49-F238E27FC236}">
                <a16:creationId xmlns:a16="http://schemas.microsoft.com/office/drawing/2014/main" id="{BCE36433-6022-4EBF-A6C3-C320E8E14CD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9768408" y="4909912"/>
            <a:ext cx="1944000" cy="246221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6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itel / Funktion</a:t>
            </a:r>
          </a:p>
        </p:txBody>
      </p:sp>
      <p:sp>
        <p:nvSpPr>
          <p:cNvPr id="58" name="Textplatzhalter 5">
            <a:extLst>
              <a:ext uri="{FF2B5EF4-FFF2-40B4-BE49-F238E27FC236}">
                <a16:creationId xmlns:a16="http://schemas.microsoft.com/office/drawing/2014/main" id="{191BDD7D-5182-476B-BF00-9A51CE6622B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9768408" y="5295402"/>
            <a:ext cx="1944000" cy="184666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E-Mail bearbeiten</a:t>
            </a:r>
          </a:p>
        </p:txBody>
      </p:sp>
      <p:sp>
        <p:nvSpPr>
          <p:cNvPr id="59" name="Textplatzhalter 5">
            <a:extLst>
              <a:ext uri="{FF2B5EF4-FFF2-40B4-BE49-F238E27FC236}">
                <a16:creationId xmlns:a16="http://schemas.microsoft.com/office/drawing/2014/main" id="{92C3A69A-4B46-450A-B2BB-E787AD13F11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9768408" y="5513026"/>
            <a:ext cx="1944000" cy="18466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20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Telefonnummer bearbeiten</a:t>
            </a:r>
          </a:p>
        </p:txBody>
      </p:sp>
    </p:spTree>
    <p:extLst>
      <p:ext uri="{BB962C8B-B14F-4D97-AF65-F5344CB8AC3E}">
        <p14:creationId xmlns:p14="http://schemas.microsoft.com/office/powerpoint/2010/main" val="40254831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fik 31">
            <a:extLst>
              <a:ext uri="{FF2B5EF4-FFF2-40B4-BE49-F238E27FC236}">
                <a16:creationId xmlns:a16="http://schemas.microsoft.com/office/drawing/2014/main" id="{EE9A3718-356A-419A-AC95-916B11CCD7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107">
            <a:extLst>
              <a:ext uri="{FF2B5EF4-FFF2-40B4-BE49-F238E27FC236}">
                <a16:creationId xmlns:a16="http://schemas.microsoft.com/office/drawing/2014/main" id="{713B37A8-A08B-49CC-AC27-8DC7F6C80F8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6000" y="486000"/>
            <a:ext cx="2258886" cy="12924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D87E533-A568-4325-B413-D1F3FD658D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39416" y="3441700"/>
            <a:ext cx="5076000" cy="664797"/>
          </a:xfrm>
        </p:spPr>
        <p:txBody>
          <a:bodyPr anchor="t"/>
          <a:lstStyle>
            <a:lvl1pPr>
              <a:lnSpc>
                <a:spcPct val="90000"/>
              </a:lnSpc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Finale Botschaft / Fazit durch Klicken bearbeiten</a:t>
            </a:r>
          </a:p>
        </p:txBody>
      </p:sp>
      <p:cxnSp>
        <p:nvCxnSpPr>
          <p:cNvPr id="9" name="Straight Connector 66">
            <a:extLst>
              <a:ext uri="{FF2B5EF4-FFF2-40B4-BE49-F238E27FC236}">
                <a16:creationId xmlns:a16="http://schemas.microsoft.com/office/drawing/2014/main" id="{36F3B520-65B0-4F36-B960-204F2825787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9788" y="3263900"/>
            <a:ext cx="5076000" cy="0"/>
          </a:xfrm>
          <a:prstGeom prst="line">
            <a:avLst/>
          </a:prstGeom>
          <a:ln>
            <a:gradFill>
              <a:gsLst>
                <a:gs pos="53100">
                  <a:schemeClr val="accent1"/>
                </a:gs>
                <a:gs pos="0">
                  <a:schemeClr val="accent3"/>
                </a:gs>
                <a:gs pos="100000">
                  <a:schemeClr val="accent1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2E9C8A2-28C4-470F-BE00-F3B7B9015F22}"/>
              </a:ext>
            </a:extLst>
          </p:cNvPr>
          <p:cNvGrpSpPr/>
          <p:nvPr userDrawn="1"/>
        </p:nvGrpSpPr>
        <p:grpSpPr bwMode="gray">
          <a:xfrm>
            <a:off x="11713200" y="-1"/>
            <a:ext cx="478800" cy="478801"/>
            <a:chOff x="11713200" y="-1"/>
            <a:chExt cx="478800" cy="478801"/>
          </a:xfrm>
          <a:solidFill>
            <a:schemeClr val="accent1"/>
          </a:solidFill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02628330-D1AB-4B80-84B4-1D94FEA0A967}"/>
                </a:ext>
              </a:extLst>
            </p:cNvPr>
            <p:cNvSpPr/>
            <p:nvPr userDrawn="1"/>
          </p:nvSpPr>
          <p:spPr bwMode="gray">
            <a:xfrm>
              <a:off x="11713200" y="-1"/>
              <a:ext cx="478800" cy="136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B32A2E12-E131-4135-8C34-5CC855B4A96F}"/>
                </a:ext>
              </a:extLst>
            </p:cNvPr>
            <p:cNvSpPr/>
            <p:nvPr userDrawn="1"/>
          </p:nvSpPr>
          <p:spPr bwMode="gray">
            <a:xfrm>
              <a:off x="12055200" y="0"/>
              <a:ext cx="136800" cy="478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828D0B61-8A2C-4EC2-8121-C580CB1E3C4F}"/>
              </a:ext>
            </a:extLst>
          </p:cNvPr>
          <p:cNvGrpSpPr/>
          <p:nvPr userDrawn="1"/>
        </p:nvGrpSpPr>
        <p:grpSpPr bwMode="gray">
          <a:xfrm>
            <a:off x="0" y="6379200"/>
            <a:ext cx="478800" cy="478800"/>
            <a:chOff x="0" y="6379200"/>
            <a:chExt cx="478800" cy="478800"/>
          </a:xfrm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F63FEE94-004E-475F-98E6-0C27AA0AAB9A}"/>
                </a:ext>
              </a:extLst>
            </p:cNvPr>
            <p:cNvSpPr/>
            <p:nvPr userDrawn="1"/>
          </p:nvSpPr>
          <p:spPr bwMode="gray">
            <a:xfrm>
              <a:off x="0" y="6721200"/>
              <a:ext cx="478800" cy="136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8D13F1D6-9C52-4AA6-AAB6-0C8BDA6A6658}"/>
                </a:ext>
              </a:extLst>
            </p:cNvPr>
            <p:cNvSpPr/>
            <p:nvPr userDrawn="1"/>
          </p:nvSpPr>
          <p:spPr bwMode="gray">
            <a:xfrm>
              <a:off x="0" y="6379200"/>
              <a:ext cx="136800" cy="478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</p:spTree>
    <p:extLst>
      <p:ext uri="{BB962C8B-B14F-4D97-AF65-F5344CB8AC3E}">
        <p14:creationId xmlns:p14="http://schemas.microsoft.com/office/powerpoint/2010/main" val="3831056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ohne Bild">
    <p:bg bwMode="gray">
      <p:bgPr>
        <a:gradFill>
          <a:gsLst>
            <a:gs pos="62000">
              <a:schemeClr val="accent2"/>
            </a:gs>
            <a:gs pos="28000">
              <a:schemeClr val="accent1"/>
            </a:gs>
            <a:gs pos="100000">
              <a:schemeClr val="accent2">
                <a:lumMod val="50000"/>
              </a:schemeClr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EB153809-CE5C-4962-97F6-C99EBD4A40A5}"/>
              </a:ext>
            </a:extLst>
          </p:cNvPr>
          <p:cNvGrpSpPr/>
          <p:nvPr userDrawn="1"/>
        </p:nvGrpSpPr>
        <p:grpSpPr bwMode="gray">
          <a:xfrm>
            <a:off x="11713200" y="-1"/>
            <a:ext cx="478800" cy="478801"/>
            <a:chOff x="11713200" y="-1"/>
            <a:chExt cx="478800" cy="478801"/>
          </a:xfrm>
          <a:solidFill>
            <a:schemeClr val="accent1"/>
          </a:solidFill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A445A790-7FBD-4676-A0FD-3300CC337AD0}"/>
                </a:ext>
              </a:extLst>
            </p:cNvPr>
            <p:cNvSpPr/>
            <p:nvPr userDrawn="1"/>
          </p:nvSpPr>
          <p:spPr bwMode="gray">
            <a:xfrm>
              <a:off x="11713200" y="-1"/>
              <a:ext cx="478800" cy="136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15EC3EC7-9701-426E-8775-1AC4AA37274C}"/>
                </a:ext>
              </a:extLst>
            </p:cNvPr>
            <p:cNvSpPr/>
            <p:nvPr userDrawn="1"/>
          </p:nvSpPr>
          <p:spPr bwMode="gray">
            <a:xfrm>
              <a:off x="12055200" y="0"/>
              <a:ext cx="136800" cy="478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262A831-8A59-4A07-9370-600ECA32A907}"/>
              </a:ext>
            </a:extLst>
          </p:cNvPr>
          <p:cNvGrpSpPr/>
          <p:nvPr userDrawn="1"/>
        </p:nvGrpSpPr>
        <p:grpSpPr bwMode="gray">
          <a:xfrm>
            <a:off x="0" y="6379200"/>
            <a:ext cx="478800" cy="478800"/>
            <a:chOff x="0" y="6379200"/>
            <a:chExt cx="478800" cy="478800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9852F6FF-D962-474B-A702-A2843D970FDC}"/>
                </a:ext>
              </a:extLst>
            </p:cNvPr>
            <p:cNvSpPr/>
            <p:nvPr userDrawn="1"/>
          </p:nvSpPr>
          <p:spPr bwMode="gray">
            <a:xfrm>
              <a:off x="0" y="6721200"/>
              <a:ext cx="478800" cy="136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B0DE7587-4E92-49FC-A4AD-8881F2471EB6}"/>
                </a:ext>
              </a:extLst>
            </p:cNvPr>
            <p:cNvSpPr/>
            <p:nvPr userDrawn="1"/>
          </p:nvSpPr>
          <p:spPr bwMode="gray">
            <a:xfrm>
              <a:off x="0" y="6379200"/>
              <a:ext cx="136800" cy="478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E0EAA46B-A94E-44C8-9B47-497C0E926F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50387" y="3054944"/>
            <a:ext cx="10862188" cy="1403461"/>
          </a:xfrm>
        </p:spPr>
        <p:txBody>
          <a:bodyPr wrap="square" anchor="b">
            <a:sp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noProof="0" dirty="0"/>
              <a:t>Präsentationstitel durch Klicken bearbeiten</a:t>
            </a:r>
          </a:p>
        </p:txBody>
      </p:sp>
      <p:cxnSp>
        <p:nvCxnSpPr>
          <p:cNvPr id="25" name="Straight Connector 66">
            <a:extLst>
              <a:ext uri="{FF2B5EF4-FFF2-40B4-BE49-F238E27FC236}">
                <a16:creationId xmlns:a16="http://schemas.microsoft.com/office/drawing/2014/main" id="{4086AD63-2727-446B-9DE1-B4CB1115FDD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50387" y="4591640"/>
            <a:ext cx="5436000" cy="0"/>
          </a:xfrm>
          <a:prstGeom prst="line">
            <a:avLst/>
          </a:prstGeom>
          <a:ln>
            <a:gradFill>
              <a:gsLst>
                <a:gs pos="53100">
                  <a:schemeClr val="accent1"/>
                </a:gs>
                <a:gs pos="0">
                  <a:schemeClr val="accent3"/>
                </a:gs>
                <a:gs pos="100000">
                  <a:schemeClr val="accent1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1C225DA6-3CAB-4974-B562-FA685A471D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50386" y="5954191"/>
            <a:ext cx="10862188" cy="215444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Name Nachname, Ort, Datum durch Klicken bearbeit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C80597CC-6F44-4DBB-84E3-0462194EE4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850385" y="4757439"/>
            <a:ext cx="10862190" cy="30777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 dirty="0"/>
              <a:t>Untertitel durch Klicken bearbeiten</a:t>
            </a:r>
          </a:p>
        </p:txBody>
      </p:sp>
      <p:pic>
        <p:nvPicPr>
          <p:cNvPr id="33" name="Picture 7">
            <a:extLst>
              <a:ext uri="{FF2B5EF4-FFF2-40B4-BE49-F238E27FC236}">
                <a16:creationId xmlns:a16="http://schemas.microsoft.com/office/drawing/2014/main" id="{49E14322-BEE0-4702-A4EA-D30D968E24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86000" y="485775"/>
            <a:ext cx="2259371" cy="1292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84946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ku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 descr="Ein Bild, das Nacht enthält.&#10;&#10;Automatisch generierte Beschreibung">
            <a:extLst>
              <a:ext uri="{FF2B5EF4-FFF2-40B4-BE49-F238E27FC236}">
                <a16:creationId xmlns:a16="http://schemas.microsoft.com/office/drawing/2014/main" id="{9B0E4653-7FA1-4B59-80FB-0D6E1CB37A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811"/>
                    </a14:imgEffect>
                    <a14:imgEffect>
                      <a14:saturation sat="214000"/>
                    </a14:imgEffect>
                    <a14:imgEffect>
                      <a14:brightnessContrast bright="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" y="-2"/>
            <a:ext cx="12192003" cy="6858002"/>
          </a:xfrm>
          <a:prstGeom prst="rect">
            <a:avLst/>
          </a:prstGeom>
        </p:spPr>
      </p:pic>
      <p:sp>
        <p:nvSpPr>
          <p:cNvPr id="4" name="Rectangle 35">
            <a:extLst>
              <a:ext uri="{FF2B5EF4-FFF2-40B4-BE49-F238E27FC236}">
                <a16:creationId xmlns:a16="http://schemas.microsoft.com/office/drawing/2014/main" id="{98EED93D-E171-4566-82E4-7FE228CB2660}"/>
              </a:ext>
            </a:extLst>
          </p:cNvPr>
          <p:cNvSpPr/>
          <p:nvPr userDrawn="1"/>
        </p:nvSpPr>
        <p:spPr bwMode="gray">
          <a:xfrm>
            <a:off x="-2" y="0"/>
            <a:ext cx="7707088" cy="6857999"/>
          </a:xfrm>
          <a:prstGeom prst="rect">
            <a:avLst/>
          </a:prstGeom>
          <a:gradFill>
            <a:gsLst>
              <a:gs pos="0">
                <a:srgbClr val="002458">
                  <a:alpha val="0"/>
                </a:srgbClr>
              </a:gs>
              <a:gs pos="52000">
                <a:srgbClr val="020F22">
                  <a:alpha val="72000"/>
                </a:srgb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16D5A0-52DF-43D3-AC62-53C778F66B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Agenda Platzhalter durch Klicken bearbeiten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A83FBF94-27B8-4FD4-A057-F2B72B0C0FB6}"/>
              </a:ext>
            </a:extLst>
          </p:cNvPr>
          <p:cNvGrpSpPr/>
          <p:nvPr userDrawn="1"/>
        </p:nvGrpSpPr>
        <p:grpSpPr bwMode="gray">
          <a:xfrm>
            <a:off x="11713200" y="-1"/>
            <a:ext cx="478800" cy="478801"/>
            <a:chOff x="11713200" y="-1"/>
            <a:chExt cx="478800" cy="478801"/>
          </a:xfrm>
          <a:solidFill>
            <a:schemeClr val="accent1"/>
          </a:solidFill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D5C42D7-1F35-4679-824C-97EB46DB5466}"/>
                </a:ext>
              </a:extLst>
            </p:cNvPr>
            <p:cNvSpPr/>
            <p:nvPr userDrawn="1"/>
          </p:nvSpPr>
          <p:spPr bwMode="gray">
            <a:xfrm>
              <a:off x="11713200" y="-1"/>
              <a:ext cx="478800" cy="136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3C3704E5-51C7-425F-8B78-09F4B055DBBF}"/>
                </a:ext>
              </a:extLst>
            </p:cNvPr>
            <p:cNvSpPr/>
            <p:nvPr userDrawn="1"/>
          </p:nvSpPr>
          <p:spPr bwMode="gray">
            <a:xfrm>
              <a:off x="12055200" y="0"/>
              <a:ext cx="136800" cy="478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BF9ECF18-28EB-45FA-837E-2108D7D45459}"/>
              </a:ext>
            </a:extLst>
          </p:cNvPr>
          <p:cNvGrpSpPr/>
          <p:nvPr userDrawn="1"/>
        </p:nvGrpSpPr>
        <p:grpSpPr bwMode="gray">
          <a:xfrm>
            <a:off x="0" y="6379200"/>
            <a:ext cx="478800" cy="478800"/>
            <a:chOff x="0" y="6379200"/>
            <a:chExt cx="478800" cy="478800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B3BF8B1-3804-4BA1-AD9B-DC59627B51AF}"/>
                </a:ext>
              </a:extLst>
            </p:cNvPr>
            <p:cNvSpPr/>
            <p:nvPr userDrawn="1"/>
          </p:nvSpPr>
          <p:spPr bwMode="gray">
            <a:xfrm>
              <a:off x="0" y="6721200"/>
              <a:ext cx="478800" cy="136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F9C47EC5-6595-4479-A284-A9DD7FDF6BD2}"/>
                </a:ext>
              </a:extLst>
            </p:cNvPr>
            <p:cNvSpPr/>
            <p:nvPr userDrawn="1"/>
          </p:nvSpPr>
          <p:spPr bwMode="gray">
            <a:xfrm>
              <a:off x="0" y="6379200"/>
              <a:ext cx="136800" cy="478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91A263C9-242B-4553-88B3-D1330DDB82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375" y="1556792"/>
            <a:ext cx="540000" cy="492443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0X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80357E16-C961-4505-ABBD-0D5600B449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201047" y="1664513"/>
            <a:ext cx="7596000" cy="276999"/>
          </a:xfrm>
        </p:spPr>
        <p:txBody>
          <a:bodyPr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Agendapunkt durch Klicken bearbeiten</a:t>
            </a:r>
          </a:p>
        </p:txBody>
      </p:sp>
      <p:sp>
        <p:nvSpPr>
          <p:cNvPr id="52" name="Textplatzhalter 5">
            <a:extLst>
              <a:ext uri="{FF2B5EF4-FFF2-40B4-BE49-F238E27FC236}">
                <a16:creationId xmlns:a16="http://schemas.microsoft.com/office/drawing/2014/main" id="{FC01CA8E-C821-4F5D-95AD-4BDEED4B431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375" y="2396885"/>
            <a:ext cx="540000" cy="492443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0X</a:t>
            </a:r>
          </a:p>
        </p:txBody>
      </p:sp>
      <p:sp>
        <p:nvSpPr>
          <p:cNvPr id="53" name="Textplatzhalter 5">
            <a:extLst>
              <a:ext uri="{FF2B5EF4-FFF2-40B4-BE49-F238E27FC236}">
                <a16:creationId xmlns:a16="http://schemas.microsoft.com/office/drawing/2014/main" id="{62360BA8-7CFB-4A09-927D-B97CF81F7FE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01047" y="2504606"/>
            <a:ext cx="7596000" cy="276999"/>
          </a:xfrm>
        </p:spPr>
        <p:txBody>
          <a:bodyPr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Agendapunkt durch Klicken bearbeiten</a:t>
            </a:r>
          </a:p>
        </p:txBody>
      </p:sp>
      <p:sp>
        <p:nvSpPr>
          <p:cNvPr id="54" name="Textplatzhalter 5">
            <a:extLst>
              <a:ext uri="{FF2B5EF4-FFF2-40B4-BE49-F238E27FC236}">
                <a16:creationId xmlns:a16="http://schemas.microsoft.com/office/drawing/2014/main" id="{67543274-43FB-463B-8FBC-39B5B075C4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79375" y="3236978"/>
            <a:ext cx="540000" cy="492443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0X</a:t>
            </a:r>
          </a:p>
        </p:txBody>
      </p:sp>
      <p:sp>
        <p:nvSpPr>
          <p:cNvPr id="55" name="Textplatzhalter 5">
            <a:extLst>
              <a:ext uri="{FF2B5EF4-FFF2-40B4-BE49-F238E27FC236}">
                <a16:creationId xmlns:a16="http://schemas.microsoft.com/office/drawing/2014/main" id="{FB0D2793-493D-49A3-984F-04955DFCD07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201047" y="3344699"/>
            <a:ext cx="7596000" cy="276999"/>
          </a:xfrm>
        </p:spPr>
        <p:txBody>
          <a:bodyPr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Agendapunkt durch Klicken bearbeiten</a:t>
            </a:r>
          </a:p>
        </p:txBody>
      </p:sp>
      <p:sp>
        <p:nvSpPr>
          <p:cNvPr id="56" name="Textplatzhalter 5">
            <a:extLst>
              <a:ext uri="{FF2B5EF4-FFF2-40B4-BE49-F238E27FC236}">
                <a16:creationId xmlns:a16="http://schemas.microsoft.com/office/drawing/2014/main" id="{9B0D2E4E-63C6-4128-812D-E085CC58898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79375" y="4077072"/>
            <a:ext cx="540000" cy="492443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3200" b="1" cap="none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0X</a:t>
            </a:r>
          </a:p>
        </p:txBody>
      </p:sp>
      <p:sp>
        <p:nvSpPr>
          <p:cNvPr id="57" name="Textplatzhalter 5">
            <a:extLst>
              <a:ext uri="{FF2B5EF4-FFF2-40B4-BE49-F238E27FC236}">
                <a16:creationId xmlns:a16="http://schemas.microsoft.com/office/drawing/2014/main" id="{0799A12B-A2E4-4F86-9DEA-61FAEAA1BA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201047" y="4184794"/>
            <a:ext cx="7596000" cy="276999"/>
          </a:xfrm>
        </p:spPr>
        <p:txBody>
          <a:bodyPr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800" b="0" cap="none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Agendapunkt durch Klicken bearbeiten</a:t>
            </a:r>
          </a:p>
        </p:txBody>
      </p:sp>
      <p:sp>
        <p:nvSpPr>
          <p:cNvPr id="58" name="Textplatzhalter 5">
            <a:extLst>
              <a:ext uri="{FF2B5EF4-FFF2-40B4-BE49-F238E27FC236}">
                <a16:creationId xmlns:a16="http://schemas.microsoft.com/office/drawing/2014/main" id="{6854F34E-097A-412C-8359-DB8313E95D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201047" y="2219459"/>
            <a:ext cx="4536000" cy="7200"/>
          </a:xfrm>
          <a:gradFill>
            <a:gsLst>
              <a:gs pos="53100">
                <a:schemeClr val="accent1"/>
              </a:gs>
              <a:gs pos="0">
                <a:schemeClr val="accent3"/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</p:spPr>
        <p:txBody>
          <a:bodyPr/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9pPr>
          </a:lstStyle>
          <a:p>
            <a:pPr lvl="0"/>
            <a:r>
              <a:rPr lang="de-DE" noProof="0"/>
              <a:t>x</a:t>
            </a:r>
          </a:p>
        </p:txBody>
      </p:sp>
      <p:sp>
        <p:nvSpPr>
          <p:cNvPr id="59" name="Textplatzhalter 5">
            <a:extLst>
              <a:ext uri="{FF2B5EF4-FFF2-40B4-BE49-F238E27FC236}">
                <a16:creationId xmlns:a16="http://schemas.microsoft.com/office/drawing/2014/main" id="{04036AA6-FF3B-478D-807C-C569BA9DA73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201047" y="3059552"/>
            <a:ext cx="4536000" cy="7200"/>
          </a:xfrm>
          <a:gradFill>
            <a:gsLst>
              <a:gs pos="53100">
                <a:schemeClr val="accent1"/>
              </a:gs>
              <a:gs pos="0">
                <a:schemeClr val="accent3"/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</p:spPr>
        <p:txBody>
          <a:bodyPr/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9pPr>
          </a:lstStyle>
          <a:p>
            <a:pPr lvl="0"/>
            <a:r>
              <a:rPr lang="de-DE" noProof="0"/>
              <a:t>x</a:t>
            </a:r>
          </a:p>
        </p:txBody>
      </p:sp>
      <p:sp>
        <p:nvSpPr>
          <p:cNvPr id="60" name="Textplatzhalter 5">
            <a:extLst>
              <a:ext uri="{FF2B5EF4-FFF2-40B4-BE49-F238E27FC236}">
                <a16:creationId xmlns:a16="http://schemas.microsoft.com/office/drawing/2014/main" id="{92F0BBB7-965C-4542-A8C3-EF67B3DE44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201047" y="3899645"/>
            <a:ext cx="4536000" cy="7200"/>
          </a:xfrm>
          <a:gradFill>
            <a:gsLst>
              <a:gs pos="53100">
                <a:schemeClr val="accent1"/>
              </a:gs>
              <a:gs pos="0">
                <a:schemeClr val="accent3"/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</p:spPr>
        <p:txBody>
          <a:bodyPr/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9pPr>
          </a:lstStyle>
          <a:p>
            <a:pPr lvl="0"/>
            <a:r>
              <a:rPr lang="de-DE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159246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lang)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Nacht enthält.&#10;&#10;Automatisch generierte Beschreibung">
            <a:extLst>
              <a:ext uri="{FF2B5EF4-FFF2-40B4-BE49-F238E27FC236}">
                <a16:creationId xmlns:a16="http://schemas.microsoft.com/office/drawing/2014/main" id="{8CFBFE54-B985-4147-8B4C-D3A97354AB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811"/>
                    </a14:imgEffect>
                    <a14:imgEffect>
                      <a14:saturation sat="214000"/>
                    </a14:imgEffect>
                    <a14:imgEffect>
                      <a14:brightnessContrast bright="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" y="-2"/>
            <a:ext cx="12192003" cy="6858002"/>
          </a:xfrm>
          <a:prstGeom prst="rect">
            <a:avLst/>
          </a:prstGeom>
        </p:spPr>
      </p:pic>
      <p:sp>
        <p:nvSpPr>
          <p:cNvPr id="4" name="Rectangle 35">
            <a:extLst>
              <a:ext uri="{FF2B5EF4-FFF2-40B4-BE49-F238E27FC236}">
                <a16:creationId xmlns:a16="http://schemas.microsoft.com/office/drawing/2014/main" id="{A2B5839E-2D76-48D2-B382-9BF2EEE1920B}"/>
              </a:ext>
            </a:extLst>
          </p:cNvPr>
          <p:cNvSpPr/>
          <p:nvPr userDrawn="1"/>
        </p:nvSpPr>
        <p:spPr bwMode="gray">
          <a:xfrm>
            <a:off x="-2" y="0"/>
            <a:ext cx="7707088" cy="6857999"/>
          </a:xfrm>
          <a:prstGeom prst="rect">
            <a:avLst/>
          </a:prstGeom>
          <a:gradFill>
            <a:gsLst>
              <a:gs pos="0">
                <a:srgbClr val="002458">
                  <a:alpha val="0"/>
                </a:srgbClr>
              </a:gs>
              <a:gs pos="52000">
                <a:srgbClr val="020F22">
                  <a:alpha val="72000"/>
                </a:srgb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816D5A0-52DF-43D3-AC62-53C778F66B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Agenda Platzhalter durch Klicken bearbeiten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A83FBF94-27B8-4FD4-A057-F2B72B0C0FB6}"/>
              </a:ext>
            </a:extLst>
          </p:cNvPr>
          <p:cNvGrpSpPr/>
          <p:nvPr userDrawn="1"/>
        </p:nvGrpSpPr>
        <p:grpSpPr bwMode="gray">
          <a:xfrm>
            <a:off x="11713200" y="-1"/>
            <a:ext cx="478800" cy="478801"/>
            <a:chOff x="11713200" y="-1"/>
            <a:chExt cx="478800" cy="478801"/>
          </a:xfrm>
          <a:solidFill>
            <a:schemeClr val="accent1"/>
          </a:solidFill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D5C42D7-1F35-4679-824C-97EB46DB5466}"/>
                </a:ext>
              </a:extLst>
            </p:cNvPr>
            <p:cNvSpPr/>
            <p:nvPr userDrawn="1"/>
          </p:nvSpPr>
          <p:spPr bwMode="gray">
            <a:xfrm>
              <a:off x="11713200" y="-1"/>
              <a:ext cx="478800" cy="136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3C3704E5-51C7-425F-8B78-09F4B055DBBF}"/>
                </a:ext>
              </a:extLst>
            </p:cNvPr>
            <p:cNvSpPr/>
            <p:nvPr userDrawn="1"/>
          </p:nvSpPr>
          <p:spPr bwMode="gray">
            <a:xfrm>
              <a:off x="12055200" y="0"/>
              <a:ext cx="136800" cy="478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BF9ECF18-28EB-45FA-837E-2108D7D45459}"/>
              </a:ext>
            </a:extLst>
          </p:cNvPr>
          <p:cNvGrpSpPr/>
          <p:nvPr userDrawn="1"/>
        </p:nvGrpSpPr>
        <p:grpSpPr bwMode="gray">
          <a:xfrm>
            <a:off x="0" y="6379200"/>
            <a:ext cx="478800" cy="478800"/>
            <a:chOff x="0" y="6379200"/>
            <a:chExt cx="478800" cy="478800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B3BF8B1-3804-4BA1-AD9B-DC59627B51AF}"/>
                </a:ext>
              </a:extLst>
            </p:cNvPr>
            <p:cNvSpPr/>
            <p:nvPr userDrawn="1"/>
          </p:nvSpPr>
          <p:spPr bwMode="gray">
            <a:xfrm>
              <a:off x="0" y="6721200"/>
              <a:ext cx="478800" cy="136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F9C47EC5-6595-4479-A284-A9DD7FDF6BD2}"/>
                </a:ext>
              </a:extLst>
            </p:cNvPr>
            <p:cNvSpPr/>
            <p:nvPr userDrawn="1"/>
          </p:nvSpPr>
          <p:spPr bwMode="gray">
            <a:xfrm>
              <a:off x="0" y="6379200"/>
              <a:ext cx="136800" cy="478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sp>
        <p:nvSpPr>
          <p:cNvPr id="21" name="Textplatzhalter 5">
            <a:extLst>
              <a:ext uri="{FF2B5EF4-FFF2-40B4-BE49-F238E27FC236}">
                <a16:creationId xmlns:a16="http://schemas.microsoft.com/office/drawing/2014/main" id="{91A263C9-242B-4553-88B3-D1330DDB82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79375" y="1566317"/>
            <a:ext cx="504000" cy="430887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0X</a:t>
            </a:r>
          </a:p>
        </p:txBody>
      </p:sp>
      <p:sp>
        <p:nvSpPr>
          <p:cNvPr id="22" name="Textplatzhalter 5">
            <a:extLst>
              <a:ext uri="{FF2B5EF4-FFF2-40B4-BE49-F238E27FC236}">
                <a16:creationId xmlns:a16="http://schemas.microsoft.com/office/drawing/2014/main" id="{80357E16-C961-4505-ABBD-0D5600B449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201047" y="1674038"/>
            <a:ext cx="7596000" cy="215444"/>
          </a:xfrm>
        </p:spPr>
        <p:txBody>
          <a:bodyPr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Agendapunkt durch Klicken bearbeiten</a:t>
            </a:r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4AB35FB4-3289-4DD0-BB66-DBB830F6B1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79375" y="2199125"/>
            <a:ext cx="504000" cy="430887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0X</a:t>
            </a: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7846B26F-62C9-4E4C-BBAB-30F2B04676F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201047" y="2306846"/>
            <a:ext cx="7596000" cy="215444"/>
          </a:xfrm>
        </p:spPr>
        <p:txBody>
          <a:bodyPr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Agendapunkt durch Klicken bearbeiten</a:t>
            </a:r>
          </a:p>
        </p:txBody>
      </p:sp>
      <p:sp>
        <p:nvSpPr>
          <p:cNvPr id="25" name="Textplatzhalter 5">
            <a:extLst>
              <a:ext uri="{FF2B5EF4-FFF2-40B4-BE49-F238E27FC236}">
                <a16:creationId xmlns:a16="http://schemas.microsoft.com/office/drawing/2014/main" id="{9D5AB20B-049F-47AE-B3CB-7D0FAC8F26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79375" y="2831933"/>
            <a:ext cx="504000" cy="430887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0X</a:t>
            </a: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9130C102-D0C5-48A7-B80C-7B9DA9781E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201047" y="2939654"/>
            <a:ext cx="7596000" cy="215444"/>
          </a:xfrm>
        </p:spPr>
        <p:txBody>
          <a:bodyPr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Agendapunkt durch Klicken bearbeiten</a:t>
            </a:r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5DAC7477-B837-480B-92A3-AFBC2F7F02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79375" y="3464741"/>
            <a:ext cx="504000" cy="430887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0X</a:t>
            </a:r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85FA5480-DCB8-428E-A306-F1869304832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201047" y="3572462"/>
            <a:ext cx="7596000" cy="215444"/>
          </a:xfrm>
        </p:spPr>
        <p:txBody>
          <a:bodyPr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Agendapunkt durch Klicken bearbeiten</a:t>
            </a: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D5F72854-98FC-4DBE-941F-B20A8BE8090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79375" y="4097549"/>
            <a:ext cx="504000" cy="430887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0X</a:t>
            </a:r>
          </a:p>
        </p:txBody>
      </p:sp>
      <p:sp>
        <p:nvSpPr>
          <p:cNvPr id="31" name="Textplatzhalter 5">
            <a:extLst>
              <a:ext uri="{FF2B5EF4-FFF2-40B4-BE49-F238E27FC236}">
                <a16:creationId xmlns:a16="http://schemas.microsoft.com/office/drawing/2014/main" id="{EDCFBD1B-BAF9-4596-A886-71466E04C0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1201047" y="4205270"/>
            <a:ext cx="7596000" cy="215444"/>
          </a:xfrm>
        </p:spPr>
        <p:txBody>
          <a:bodyPr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Agendapunkt durch Klicken bearbeiten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7A8553A0-ECAA-4D5F-8667-E9DA5C4735C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9375" y="4730357"/>
            <a:ext cx="504000" cy="430887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0X</a:t>
            </a:r>
          </a:p>
        </p:txBody>
      </p:sp>
      <p:sp>
        <p:nvSpPr>
          <p:cNvPr id="33" name="Textplatzhalter 5">
            <a:extLst>
              <a:ext uri="{FF2B5EF4-FFF2-40B4-BE49-F238E27FC236}">
                <a16:creationId xmlns:a16="http://schemas.microsoft.com/office/drawing/2014/main" id="{6867766C-6E92-472D-8167-9F86FB09419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201047" y="4838078"/>
            <a:ext cx="7596000" cy="215444"/>
          </a:xfrm>
        </p:spPr>
        <p:txBody>
          <a:bodyPr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Agendapunkt durch Klicken bearbeiten</a:t>
            </a:r>
          </a:p>
        </p:txBody>
      </p:sp>
      <p:sp>
        <p:nvSpPr>
          <p:cNvPr id="34" name="Textplatzhalter 5">
            <a:extLst>
              <a:ext uri="{FF2B5EF4-FFF2-40B4-BE49-F238E27FC236}">
                <a16:creationId xmlns:a16="http://schemas.microsoft.com/office/drawing/2014/main" id="{5AAC9982-B3B6-495D-AC2E-53AC7DB64AA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79375" y="5363165"/>
            <a:ext cx="504000" cy="430887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0X</a:t>
            </a:r>
          </a:p>
        </p:txBody>
      </p:sp>
      <p:sp>
        <p:nvSpPr>
          <p:cNvPr id="35" name="Textplatzhalter 5">
            <a:extLst>
              <a:ext uri="{FF2B5EF4-FFF2-40B4-BE49-F238E27FC236}">
                <a16:creationId xmlns:a16="http://schemas.microsoft.com/office/drawing/2014/main" id="{C9B24646-CD19-4EFD-B4C5-F094D8796C3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201047" y="5470886"/>
            <a:ext cx="7596000" cy="215444"/>
          </a:xfrm>
        </p:spPr>
        <p:txBody>
          <a:bodyPr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Agendapunkt durch Klicken bearbeiten</a:t>
            </a:r>
          </a:p>
        </p:txBody>
      </p:sp>
      <p:sp>
        <p:nvSpPr>
          <p:cNvPr id="36" name="Textplatzhalter 5">
            <a:extLst>
              <a:ext uri="{FF2B5EF4-FFF2-40B4-BE49-F238E27FC236}">
                <a16:creationId xmlns:a16="http://schemas.microsoft.com/office/drawing/2014/main" id="{0B10FC84-48D9-4808-BE5E-864094E8D84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79375" y="5995970"/>
            <a:ext cx="504000" cy="430887"/>
          </a:xfrm>
        </p:spPr>
        <p:txBody>
          <a:bodyPr wrap="square"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2800" b="1" cap="none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/>
              <a:t>0X</a:t>
            </a:r>
          </a:p>
        </p:txBody>
      </p:sp>
      <p:sp>
        <p:nvSpPr>
          <p:cNvPr id="37" name="Textplatzhalter 5">
            <a:extLst>
              <a:ext uri="{FF2B5EF4-FFF2-40B4-BE49-F238E27FC236}">
                <a16:creationId xmlns:a16="http://schemas.microsoft.com/office/drawing/2014/main" id="{A807F63B-7B11-43C3-AFDA-2DE5C9257F4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201047" y="6103691"/>
            <a:ext cx="7596000" cy="215444"/>
          </a:xfrm>
        </p:spPr>
        <p:txBody>
          <a:bodyPr anchor="ctr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400" b="0" cap="none" baseline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 noProof="0"/>
              <a:t>Agendapunkt durch Klicken bearbeiten</a:t>
            </a:r>
          </a:p>
        </p:txBody>
      </p:sp>
      <p:sp>
        <p:nvSpPr>
          <p:cNvPr id="38" name="Textplatzhalter 5">
            <a:extLst>
              <a:ext uri="{FF2B5EF4-FFF2-40B4-BE49-F238E27FC236}">
                <a16:creationId xmlns:a16="http://schemas.microsoft.com/office/drawing/2014/main" id="{B7DBD9E9-2700-41C3-AF56-33328BCE940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201047" y="2094564"/>
            <a:ext cx="4536000" cy="7200"/>
          </a:xfrm>
          <a:gradFill>
            <a:gsLst>
              <a:gs pos="53100">
                <a:schemeClr val="accent1"/>
              </a:gs>
              <a:gs pos="0">
                <a:schemeClr val="accent3"/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</p:spPr>
        <p:txBody>
          <a:bodyPr/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9pPr>
          </a:lstStyle>
          <a:p>
            <a:pPr lvl="0"/>
            <a:r>
              <a:rPr lang="de-DE" noProof="0"/>
              <a:t>x</a:t>
            </a:r>
          </a:p>
        </p:txBody>
      </p:sp>
      <p:sp>
        <p:nvSpPr>
          <p:cNvPr id="40" name="Textplatzhalter 5">
            <a:extLst>
              <a:ext uri="{FF2B5EF4-FFF2-40B4-BE49-F238E27FC236}">
                <a16:creationId xmlns:a16="http://schemas.microsoft.com/office/drawing/2014/main" id="{7FF853F5-C455-423A-A25D-74F2559D59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201047" y="2727372"/>
            <a:ext cx="4536000" cy="7200"/>
          </a:xfrm>
          <a:gradFill>
            <a:gsLst>
              <a:gs pos="53100">
                <a:schemeClr val="accent1"/>
              </a:gs>
              <a:gs pos="0">
                <a:schemeClr val="accent3"/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</p:spPr>
        <p:txBody>
          <a:bodyPr/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9pPr>
          </a:lstStyle>
          <a:p>
            <a:pPr lvl="0"/>
            <a:r>
              <a:rPr lang="de-DE" noProof="0"/>
              <a:t>x</a:t>
            </a:r>
          </a:p>
        </p:txBody>
      </p:sp>
      <p:sp>
        <p:nvSpPr>
          <p:cNvPr id="41" name="Textplatzhalter 5">
            <a:extLst>
              <a:ext uri="{FF2B5EF4-FFF2-40B4-BE49-F238E27FC236}">
                <a16:creationId xmlns:a16="http://schemas.microsoft.com/office/drawing/2014/main" id="{C2A540ED-3BC1-4CA0-A8E5-0B2A72E9D3B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201047" y="3360180"/>
            <a:ext cx="4536000" cy="7200"/>
          </a:xfrm>
          <a:gradFill>
            <a:gsLst>
              <a:gs pos="53100">
                <a:schemeClr val="accent1"/>
              </a:gs>
              <a:gs pos="0">
                <a:schemeClr val="accent3"/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</p:spPr>
        <p:txBody>
          <a:bodyPr/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9pPr>
          </a:lstStyle>
          <a:p>
            <a:pPr lvl="0"/>
            <a:r>
              <a:rPr lang="de-DE" noProof="0"/>
              <a:t>x</a:t>
            </a:r>
          </a:p>
        </p:txBody>
      </p:sp>
      <p:sp>
        <p:nvSpPr>
          <p:cNvPr id="42" name="Textplatzhalter 5">
            <a:extLst>
              <a:ext uri="{FF2B5EF4-FFF2-40B4-BE49-F238E27FC236}">
                <a16:creationId xmlns:a16="http://schemas.microsoft.com/office/drawing/2014/main" id="{9FD7346B-AF9B-4366-A0EF-AAA221638B5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1201047" y="3992988"/>
            <a:ext cx="4536000" cy="7200"/>
          </a:xfrm>
          <a:gradFill>
            <a:gsLst>
              <a:gs pos="53100">
                <a:schemeClr val="accent1"/>
              </a:gs>
              <a:gs pos="0">
                <a:schemeClr val="accent3"/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</p:spPr>
        <p:txBody>
          <a:bodyPr/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9pPr>
          </a:lstStyle>
          <a:p>
            <a:pPr lvl="0"/>
            <a:r>
              <a:rPr lang="de-DE" noProof="0"/>
              <a:t>x</a:t>
            </a:r>
          </a:p>
        </p:txBody>
      </p:sp>
      <p:sp>
        <p:nvSpPr>
          <p:cNvPr id="43" name="Textplatzhalter 5">
            <a:extLst>
              <a:ext uri="{FF2B5EF4-FFF2-40B4-BE49-F238E27FC236}">
                <a16:creationId xmlns:a16="http://schemas.microsoft.com/office/drawing/2014/main" id="{7BD739DF-42C0-4D8C-BD79-C67FACFDAF9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1201047" y="4625796"/>
            <a:ext cx="4536000" cy="7200"/>
          </a:xfrm>
          <a:gradFill>
            <a:gsLst>
              <a:gs pos="53100">
                <a:schemeClr val="accent1"/>
              </a:gs>
              <a:gs pos="0">
                <a:schemeClr val="accent3"/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</p:spPr>
        <p:txBody>
          <a:bodyPr/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9pPr>
          </a:lstStyle>
          <a:p>
            <a:pPr lvl="0"/>
            <a:r>
              <a:rPr lang="de-DE" noProof="0"/>
              <a:t>x</a:t>
            </a:r>
          </a:p>
        </p:txBody>
      </p:sp>
      <p:sp>
        <p:nvSpPr>
          <p:cNvPr id="44" name="Textplatzhalter 5">
            <a:extLst>
              <a:ext uri="{FF2B5EF4-FFF2-40B4-BE49-F238E27FC236}">
                <a16:creationId xmlns:a16="http://schemas.microsoft.com/office/drawing/2014/main" id="{FC252F94-6401-43FD-8610-158C6231BAB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201047" y="5258604"/>
            <a:ext cx="4536000" cy="7200"/>
          </a:xfrm>
          <a:gradFill>
            <a:gsLst>
              <a:gs pos="53100">
                <a:schemeClr val="accent1"/>
              </a:gs>
              <a:gs pos="0">
                <a:schemeClr val="accent3"/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</p:spPr>
        <p:txBody>
          <a:bodyPr/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9pPr>
          </a:lstStyle>
          <a:p>
            <a:pPr lvl="0"/>
            <a:r>
              <a:rPr lang="de-DE" noProof="0"/>
              <a:t>x</a:t>
            </a:r>
          </a:p>
        </p:txBody>
      </p:sp>
      <p:sp>
        <p:nvSpPr>
          <p:cNvPr id="45" name="Textplatzhalter 5">
            <a:extLst>
              <a:ext uri="{FF2B5EF4-FFF2-40B4-BE49-F238E27FC236}">
                <a16:creationId xmlns:a16="http://schemas.microsoft.com/office/drawing/2014/main" id="{953A1ACE-667E-4DA7-943C-2784E79C21B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201047" y="5891412"/>
            <a:ext cx="4536000" cy="7200"/>
          </a:xfrm>
          <a:gradFill>
            <a:gsLst>
              <a:gs pos="53100">
                <a:schemeClr val="accent1"/>
              </a:gs>
              <a:gs pos="0">
                <a:schemeClr val="accent3"/>
              </a:gs>
              <a:gs pos="100000">
                <a:schemeClr val="accent1">
                  <a:alpha val="0"/>
                </a:schemeClr>
              </a:gs>
            </a:gsLst>
            <a:lin ang="0" scaled="0"/>
          </a:gradFill>
        </p:spPr>
        <p:txBody>
          <a:bodyPr/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100" b="0" cap="none" baseline="0">
                <a:noFill/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5pPr>
            <a:lvl6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6pPr>
            <a:lvl7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7pPr>
            <a:lvl8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8pPr>
            <a:lvl9pPr marL="0" indent="0">
              <a:spcBef>
                <a:spcPts val="0"/>
              </a:spcBef>
              <a:buNone/>
              <a:defRPr sz="100" b="0" cap="none" baseline="0">
                <a:noFill/>
                <a:latin typeface="+mn-lt"/>
              </a:defRPr>
            </a:lvl9pPr>
          </a:lstStyle>
          <a:p>
            <a:pPr lvl="0"/>
            <a:r>
              <a:rPr lang="de-DE" noProof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40045577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foli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Tisch enthält.&#10;&#10;Automatisch generierte Beschreibung">
            <a:extLst>
              <a:ext uri="{FF2B5EF4-FFF2-40B4-BE49-F238E27FC236}">
                <a16:creationId xmlns:a16="http://schemas.microsoft.com/office/drawing/2014/main" id="{E1BDAEB6-72C7-43C7-9C19-A00A6DB989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8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9A2F965-DE9F-4226-ACBE-127CCC964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844551" y="4770467"/>
            <a:ext cx="7951787" cy="467820"/>
          </a:xfrm>
        </p:spPr>
        <p:txBody>
          <a:bodyPr anchor="t"/>
          <a:lstStyle>
            <a:lvl1pPr>
              <a:defRPr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 noProof="0" dirty="0"/>
              <a:t>Kapitelnamen durch Klicken bearbeiten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2F06411F-B9EE-46AA-8423-C98C7B3EE71F}"/>
              </a:ext>
            </a:extLst>
          </p:cNvPr>
          <p:cNvGrpSpPr/>
          <p:nvPr userDrawn="1"/>
        </p:nvGrpSpPr>
        <p:grpSpPr bwMode="gray">
          <a:xfrm>
            <a:off x="11713200" y="-1"/>
            <a:ext cx="478800" cy="478801"/>
            <a:chOff x="11713200" y="-1"/>
            <a:chExt cx="478800" cy="478801"/>
          </a:xfrm>
          <a:solidFill>
            <a:schemeClr val="accent1"/>
          </a:solidFill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3F2CEF49-503A-45DA-8C68-19BD6C193D4B}"/>
                </a:ext>
              </a:extLst>
            </p:cNvPr>
            <p:cNvSpPr/>
            <p:nvPr userDrawn="1"/>
          </p:nvSpPr>
          <p:spPr bwMode="gray">
            <a:xfrm>
              <a:off x="11713200" y="-1"/>
              <a:ext cx="478800" cy="136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3311DD85-8FC4-4D66-A30D-C2717E2590DF}"/>
                </a:ext>
              </a:extLst>
            </p:cNvPr>
            <p:cNvSpPr/>
            <p:nvPr userDrawn="1"/>
          </p:nvSpPr>
          <p:spPr bwMode="gray">
            <a:xfrm>
              <a:off x="12055200" y="0"/>
              <a:ext cx="136800" cy="478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730A23C3-CF36-4BA6-AFE9-E47BA6132FAD}"/>
              </a:ext>
            </a:extLst>
          </p:cNvPr>
          <p:cNvGrpSpPr/>
          <p:nvPr userDrawn="1"/>
        </p:nvGrpSpPr>
        <p:grpSpPr bwMode="gray">
          <a:xfrm>
            <a:off x="0" y="6379200"/>
            <a:ext cx="478800" cy="478800"/>
            <a:chOff x="0" y="6379200"/>
            <a:chExt cx="478800" cy="478800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85DD60CD-6E8A-4AC0-A0E2-CCB5AF454C97}"/>
                </a:ext>
              </a:extLst>
            </p:cNvPr>
            <p:cNvSpPr/>
            <p:nvPr userDrawn="1"/>
          </p:nvSpPr>
          <p:spPr bwMode="gray">
            <a:xfrm>
              <a:off x="0" y="6721200"/>
              <a:ext cx="478800" cy="136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1CC3716E-DC9E-4864-80FB-3350299F0689}"/>
                </a:ext>
              </a:extLst>
            </p:cNvPr>
            <p:cNvSpPr/>
            <p:nvPr userDrawn="1"/>
          </p:nvSpPr>
          <p:spPr bwMode="gray">
            <a:xfrm>
              <a:off x="0" y="6379200"/>
              <a:ext cx="136800" cy="478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/>
            </a:p>
          </p:txBody>
        </p:sp>
      </p:grp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E74E28D2-3A4F-4860-97E9-C9A2FCB264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44550" y="2741839"/>
            <a:ext cx="1584000" cy="1354217"/>
          </a:xfrm>
        </p:spPr>
        <p:txBody>
          <a:bodyPr wrap="square" anchor="b">
            <a:spAutoFit/>
          </a:bodyPr>
          <a:lstStyle>
            <a:lvl1pPr marL="0" indent="0">
              <a:spcBef>
                <a:spcPts val="0"/>
              </a:spcBef>
              <a:buFont typeface="Segoe UI Light" panose="020B0604020202020204" pitchFamily="34" charset="0"/>
              <a:buNone/>
              <a:defRPr sz="8800" b="1" cap="none" baseline="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 typeface="Segoe UI Light" panose="020B0604020202020204" pitchFamily="34" charset="0"/>
              <a:buNone/>
              <a:defRPr sz="8800" b="1" cap="none" baseline="0">
                <a:solidFill>
                  <a:schemeClr val="bg1"/>
                </a:solidFill>
                <a:latin typeface="+mj-lt"/>
              </a:defRPr>
            </a:lvl2pPr>
            <a:lvl3pPr marL="0" indent="0">
              <a:spcBef>
                <a:spcPts val="0"/>
              </a:spcBef>
              <a:buNone/>
              <a:defRPr sz="8800" b="1" cap="none" baseline="0">
                <a:solidFill>
                  <a:schemeClr val="bg1"/>
                </a:solidFill>
                <a:latin typeface="+mj-lt"/>
              </a:defRPr>
            </a:lvl3pPr>
            <a:lvl4pPr marL="0" indent="0">
              <a:spcBef>
                <a:spcPts val="0"/>
              </a:spcBef>
              <a:buNone/>
              <a:defRPr sz="8800" b="1" cap="none" baseline="0">
                <a:solidFill>
                  <a:schemeClr val="bg1"/>
                </a:solidFill>
                <a:latin typeface="+mj-lt"/>
              </a:defRPr>
            </a:lvl4pPr>
            <a:lvl5pPr marL="0" indent="0">
              <a:spcBef>
                <a:spcPts val="0"/>
              </a:spcBef>
              <a:buNone/>
              <a:defRPr sz="8800" b="1" cap="none" baseline="0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0"/>
              </a:spcBef>
              <a:buNone/>
              <a:defRPr sz="8800" b="1" cap="none" baseline="0">
                <a:solidFill>
                  <a:schemeClr val="bg1"/>
                </a:solidFill>
                <a:latin typeface="+mj-lt"/>
              </a:defRPr>
            </a:lvl6pPr>
            <a:lvl7pPr marL="0" indent="0">
              <a:spcBef>
                <a:spcPts val="0"/>
              </a:spcBef>
              <a:buNone/>
              <a:defRPr sz="8800" b="1" cap="none" baseline="0">
                <a:solidFill>
                  <a:schemeClr val="bg1"/>
                </a:solidFill>
                <a:latin typeface="+mj-lt"/>
              </a:defRPr>
            </a:lvl7pPr>
            <a:lvl8pPr marL="0" indent="0">
              <a:spcBef>
                <a:spcPts val="0"/>
              </a:spcBef>
              <a:buNone/>
              <a:defRPr sz="8800" b="1" cap="none" baseline="0">
                <a:solidFill>
                  <a:schemeClr val="bg1"/>
                </a:solidFill>
                <a:latin typeface="+mj-lt"/>
              </a:defRPr>
            </a:lvl8pPr>
            <a:lvl9pPr marL="0" indent="0">
              <a:spcBef>
                <a:spcPts val="0"/>
              </a:spcBef>
              <a:buNone/>
              <a:defRPr sz="8800" b="1" cap="none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 noProof="0" dirty="0"/>
              <a:t>0X</a:t>
            </a:r>
          </a:p>
        </p:txBody>
      </p:sp>
      <p:cxnSp>
        <p:nvCxnSpPr>
          <p:cNvPr id="18" name="Straight Connector 66">
            <a:extLst>
              <a:ext uri="{FF2B5EF4-FFF2-40B4-BE49-F238E27FC236}">
                <a16:creationId xmlns:a16="http://schemas.microsoft.com/office/drawing/2014/main" id="{FC9CAA1F-A1D3-43A1-B298-F43425D19BD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9416" y="4340902"/>
            <a:ext cx="5256000" cy="0"/>
          </a:xfrm>
          <a:prstGeom prst="line">
            <a:avLst/>
          </a:prstGeom>
          <a:ln>
            <a:gradFill>
              <a:gsLst>
                <a:gs pos="53100">
                  <a:schemeClr val="accent1"/>
                </a:gs>
                <a:gs pos="0">
                  <a:schemeClr val="accent3"/>
                </a:gs>
                <a:gs pos="100000">
                  <a:schemeClr val="accent1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8631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5F69EB-4EA7-4953-9C03-3060D924C7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Folientitel durch Klicken bearbeiten (maximal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9CBE55-A567-41E3-9C5C-7D030E3239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>
                <a:solidFill>
                  <a:schemeClr val="accent4"/>
                </a:solidFill>
              </a:rPr>
              <a:t>PTA – Vorstellung Inflectr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96D90A-53C2-4455-9763-3E48449EAD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5" name="Straight Connector 66">
            <a:extLst>
              <a:ext uri="{FF2B5EF4-FFF2-40B4-BE49-F238E27FC236}">
                <a16:creationId xmlns:a16="http://schemas.microsoft.com/office/drawing/2014/main" id="{F0A4A80F-B9CA-4DEA-9097-18CE3DD9764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1537452"/>
            <a:ext cx="5436000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50167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5F69EB-4EA7-4953-9C03-3060D924C7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Folientitel durch Klicken bearbeiten (maximal zweizeilig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09CBE55-A567-41E3-9C5C-7D030E3239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de-DE" noProof="0">
                <a:solidFill>
                  <a:schemeClr val="accent4"/>
                </a:solidFill>
              </a:rPr>
              <a:t>PTA – Vorstellung Inflectra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96D90A-53C2-4455-9763-3E48449EAD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DF58692B-9CFC-42D8-9B64-0B547ADAD28E}" type="slidenum">
              <a:rPr lang="de-DE" noProof="0" smtClean="0"/>
              <a:pPr/>
              <a:t>‹Nr.›</a:t>
            </a:fld>
            <a:endParaRPr lang="de-DE" noProof="0"/>
          </a:p>
        </p:txBody>
      </p:sp>
      <p:cxnSp>
        <p:nvCxnSpPr>
          <p:cNvPr id="5" name="Straight Connector 66">
            <a:extLst>
              <a:ext uri="{FF2B5EF4-FFF2-40B4-BE49-F238E27FC236}">
                <a16:creationId xmlns:a16="http://schemas.microsoft.com/office/drawing/2014/main" id="{F0A4A80F-B9CA-4DEA-9097-18CE3DD9764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376" y="1537452"/>
            <a:ext cx="5436000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C5E2CC3-5C04-468D-BC2D-0AE37B0D8C9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0000" y="1664804"/>
            <a:ext cx="11232000" cy="4716000"/>
          </a:xfrm>
        </p:spPr>
        <p:txBody>
          <a:bodyPr/>
          <a:lstStyle/>
          <a:p>
            <a:pPr lvl="0"/>
            <a:r>
              <a:rPr lang="de-DE" noProof="0"/>
              <a:t>Text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092336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A760BF6-7C19-4DA5-A347-76B378F7B7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2537410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39" imgW="347" imgH="348" progId="TCLayout.ActiveDocument.1">
                  <p:embed/>
                </p:oleObj>
              </mc:Choice>
              <mc:Fallback>
                <p:oleObj name="think-cell Slide" r:id="rId39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A760BF6-7C19-4DA5-A347-76B378F7B7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722344E-27AA-4857-9108-70C7B931179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901" y="849054"/>
            <a:ext cx="11231473" cy="46782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de-DE" noProof="0" dirty="0"/>
              <a:t>Folientitel durch Klicken bearbeiten (maximal zweizeilig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450371-BFF5-4FDB-8946-F7B8F277D8EA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9375" y="1664804"/>
            <a:ext cx="11232000" cy="471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B90EFE6-4F2D-4E67-9A9B-619C06576A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21607" y="6479414"/>
            <a:ext cx="11088000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4"/>
                </a:solidFill>
              </a:defRPr>
            </a:lvl1pPr>
          </a:lstStyle>
          <a:p>
            <a:r>
              <a:rPr lang="de-DE" noProof="0" dirty="0">
                <a:solidFill>
                  <a:schemeClr val="accent4"/>
                </a:solidFill>
              </a:rPr>
              <a:t>PTA – Vorstellung </a:t>
            </a:r>
            <a:r>
              <a:rPr lang="de-DE" noProof="0" dirty="0" err="1">
                <a:solidFill>
                  <a:schemeClr val="accent4"/>
                </a:solidFill>
              </a:rPr>
              <a:t>Inflectra</a:t>
            </a:r>
            <a:endParaRPr lang="de-DE" noProof="0" dirty="0">
              <a:solidFill>
                <a:schemeClr val="accent4"/>
              </a:solidFill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75A09ED-F518-43E8-BC40-B28A6F953B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99800" y="6480951"/>
            <a:ext cx="216000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accent4"/>
                </a:solidFill>
              </a:defRPr>
            </a:lvl1pPr>
          </a:lstStyle>
          <a:p>
            <a:pPr algn="ctr"/>
            <a:fld id="{DF58692B-9CFC-42D8-9B64-0B547ADAD28E}" type="slidenum">
              <a:rPr lang="de-DE" smtClean="0"/>
              <a:pPr algn="ctr"/>
              <a:t>‹Nr.›</a:t>
            </a:fld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4C18BBBD-7B8D-4EE3-BF50-AE52D3415E64}"/>
              </a:ext>
            </a:extLst>
          </p:cNvPr>
          <p:cNvGrpSpPr/>
          <p:nvPr userDrawn="1"/>
        </p:nvGrpSpPr>
        <p:grpSpPr bwMode="gray">
          <a:xfrm>
            <a:off x="11713200" y="-1"/>
            <a:ext cx="478800" cy="478801"/>
            <a:chOff x="11713200" y="-1"/>
            <a:chExt cx="478800" cy="478801"/>
          </a:xfrm>
          <a:solidFill>
            <a:schemeClr val="accent1"/>
          </a:solidFill>
        </p:grpSpPr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2031D41F-F693-45C6-8AF2-CF456103E812}"/>
                </a:ext>
              </a:extLst>
            </p:cNvPr>
            <p:cNvSpPr/>
            <p:nvPr userDrawn="1"/>
          </p:nvSpPr>
          <p:spPr bwMode="gray">
            <a:xfrm>
              <a:off x="11713200" y="-1"/>
              <a:ext cx="478800" cy="136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 dirty="0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DBD52EA4-D8EA-487E-9176-1FA5F936609C}"/>
                </a:ext>
              </a:extLst>
            </p:cNvPr>
            <p:cNvSpPr/>
            <p:nvPr userDrawn="1"/>
          </p:nvSpPr>
          <p:spPr bwMode="gray">
            <a:xfrm>
              <a:off x="12055200" y="0"/>
              <a:ext cx="136800" cy="4788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 dirty="0"/>
            </a:p>
          </p:txBody>
        </p:sp>
      </p:grp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7FCE4B59-7826-481C-B4D5-2BEC568F7B29}"/>
              </a:ext>
            </a:extLst>
          </p:cNvPr>
          <p:cNvGrpSpPr/>
          <p:nvPr userDrawn="1"/>
        </p:nvGrpSpPr>
        <p:grpSpPr bwMode="gray">
          <a:xfrm>
            <a:off x="0" y="6379200"/>
            <a:ext cx="478800" cy="478800"/>
            <a:chOff x="0" y="6379200"/>
            <a:chExt cx="478800" cy="478800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45CCE825-A2F1-43AE-8079-1964806D2774}"/>
                </a:ext>
              </a:extLst>
            </p:cNvPr>
            <p:cNvSpPr/>
            <p:nvPr userDrawn="1"/>
          </p:nvSpPr>
          <p:spPr bwMode="gray">
            <a:xfrm>
              <a:off x="0" y="6721200"/>
              <a:ext cx="478800" cy="136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 dirty="0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A8132054-C319-4556-B868-B23D52EDBD8A}"/>
                </a:ext>
              </a:extLst>
            </p:cNvPr>
            <p:cNvSpPr/>
            <p:nvPr userDrawn="1"/>
          </p:nvSpPr>
          <p:spPr bwMode="gray">
            <a:xfrm>
              <a:off x="0" y="6379200"/>
              <a:ext cx="136800" cy="478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8827781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5" r:id="rId2"/>
    <p:sldLayoutId id="2147483684" r:id="rId3"/>
    <p:sldLayoutId id="2147483651" r:id="rId4"/>
    <p:sldLayoutId id="2147483652" r:id="rId5"/>
    <p:sldLayoutId id="2147483653" r:id="rId6"/>
    <p:sldLayoutId id="2147483654" r:id="rId7"/>
    <p:sldLayoutId id="2147483683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3660" r:id="rId14"/>
    <p:sldLayoutId id="2147483661" r:id="rId15"/>
    <p:sldLayoutId id="2147483665" r:id="rId16"/>
    <p:sldLayoutId id="2147483664" r:id="rId17"/>
    <p:sldLayoutId id="2147483662" r:id="rId18"/>
    <p:sldLayoutId id="2147483666" r:id="rId19"/>
    <p:sldLayoutId id="2147483667" r:id="rId20"/>
    <p:sldLayoutId id="2147483668" r:id="rId21"/>
    <p:sldLayoutId id="2147483669" r:id="rId22"/>
    <p:sldLayoutId id="2147483670" r:id="rId23"/>
    <p:sldLayoutId id="2147483671" r:id="rId24"/>
    <p:sldLayoutId id="2147483672" r:id="rId25"/>
    <p:sldLayoutId id="2147483673" r:id="rId26"/>
    <p:sldLayoutId id="2147483674" r:id="rId27"/>
    <p:sldLayoutId id="2147483675" r:id="rId28"/>
    <p:sldLayoutId id="2147483676" r:id="rId29"/>
    <p:sldLayoutId id="2147483677" r:id="rId30"/>
    <p:sldLayoutId id="2147483678" r:id="rId31"/>
    <p:sldLayoutId id="2147483679" r:id="rId32"/>
    <p:sldLayoutId id="2147483680" r:id="rId33"/>
    <p:sldLayoutId id="2147483681" r:id="rId34"/>
    <p:sldLayoutId id="2147483682" r:id="rId35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Segoe UI Light" panose="020B0604020202020204" pitchFamily="34" charset="0"/>
        <a:buNone/>
        <a:defRPr sz="1800" kern="1200" cap="none" baseline="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600"/>
        </a:spcBef>
        <a:buFont typeface="Segoe UI Light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252000" algn="l" defTabSz="914400" rtl="0" eaLnBrk="1" latinLnBrk="0" hangingPunct="1">
        <a:lnSpc>
          <a:spcPct val="100000"/>
        </a:lnSpc>
        <a:spcBef>
          <a:spcPts val="400"/>
        </a:spcBef>
        <a:buFont typeface="Segoe UI Light" panose="020B0502040204020203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252000" algn="l" defTabSz="914400" rtl="0" eaLnBrk="1" latinLnBrk="0" hangingPunct="1">
        <a:lnSpc>
          <a:spcPct val="100000"/>
        </a:lnSpc>
        <a:spcBef>
          <a:spcPts val="300"/>
        </a:spcBef>
        <a:buFont typeface="Segoe UI Light" panose="020B0502040204020203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252000" algn="l" defTabSz="914400" rtl="0" eaLnBrk="1" latinLnBrk="0" hangingPunct="1">
        <a:lnSpc>
          <a:spcPct val="100000"/>
        </a:lnSpc>
        <a:spcBef>
          <a:spcPts val="300"/>
        </a:spcBef>
        <a:buFont typeface="Segoe UI Light" panose="020B0502040204020203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720000" indent="-252000" algn="l" defTabSz="914400" rtl="0" eaLnBrk="1" latinLnBrk="0" hangingPunct="1">
        <a:lnSpc>
          <a:spcPct val="100000"/>
        </a:lnSpc>
        <a:spcBef>
          <a:spcPts val="300"/>
        </a:spcBef>
        <a:buFont typeface="Segoe UI Light" panose="020B0502040204020203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720000" indent="-252000" algn="l" defTabSz="914400" rtl="0" eaLnBrk="1" latinLnBrk="0" hangingPunct="1">
        <a:lnSpc>
          <a:spcPct val="100000"/>
        </a:lnSpc>
        <a:spcBef>
          <a:spcPts val="300"/>
        </a:spcBef>
        <a:buFont typeface="Segoe UI Light" panose="020B0502040204020203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720000" indent="-252000" algn="l" defTabSz="914400" rtl="0" eaLnBrk="1" latinLnBrk="0" hangingPunct="1">
        <a:lnSpc>
          <a:spcPct val="100000"/>
        </a:lnSpc>
        <a:spcBef>
          <a:spcPts val="300"/>
        </a:spcBef>
        <a:buFont typeface="Segoe UI Light" panose="020B0502040204020203" pitchFamily="34" charset="0"/>
        <a:buChar char="−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 userDrawn="1">
          <p15:clr>
            <a:srgbClr val="F26B43"/>
          </p15:clr>
        </p15:guide>
        <p15:guide id="2" orient="horz" pos="1049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pos="3727" userDrawn="1">
          <p15:clr>
            <a:srgbClr val="F26B43"/>
          </p15:clr>
        </p15:guide>
        <p15:guide id="5" pos="3953" userDrawn="1">
          <p15:clr>
            <a:srgbClr val="F26B43"/>
          </p15:clr>
        </p15:guide>
        <p15:guide id="6" pos="1890" userDrawn="1">
          <p15:clr>
            <a:srgbClr val="F26B43"/>
          </p15:clr>
        </p15:guide>
        <p15:guide id="7" pos="2139" userDrawn="1">
          <p15:clr>
            <a:srgbClr val="F26B43"/>
          </p15:clr>
        </p15:guide>
        <p15:guide id="8" pos="5541" userDrawn="1">
          <p15:clr>
            <a:srgbClr val="F26B43"/>
          </p15:clr>
        </p15:guide>
        <p15:guide id="9" pos="5790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9.xml"/><Relationship Id="rId7" Type="http://schemas.openxmlformats.org/officeDocument/2006/relationships/hyperlink" Target="https://www.inflectra.com/SpiraTest/Downloads.aspx" TargetMode="Externa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0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10" Type="http://schemas.openxmlformats.org/officeDocument/2006/relationships/image" Target="../media/image23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jpeg"/><Relationship Id="rId18" Type="http://schemas.openxmlformats.org/officeDocument/2006/relationships/image" Target="../media/image35.png"/><Relationship Id="rId3" Type="http://schemas.openxmlformats.org/officeDocument/2006/relationships/slideLayout" Target="../slideLayouts/slideLayout9.xml"/><Relationship Id="rId21" Type="http://schemas.openxmlformats.org/officeDocument/2006/relationships/image" Target="../media/image38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17" Type="http://schemas.openxmlformats.org/officeDocument/2006/relationships/image" Target="../media/image34.png"/><Relationship Id="rId2" Type="http://schemas.openxmlformats.org/officeDocument/2006/relationships/tags" Target="../tags/tag16.xml"/><Relationship Id="rId16" Type="http://schemas.openxmlformats.org/officeDocument/2006/relationships/image" Target="../media/image33.jpg"/><Relationship Id="rId20" Type="http://schemas.openxmlformats.org/officeDocument/2006/relationships/image" Target="../media/image37.png"/><Relationship Id="rId1" Type="http://schemas.openxmlformats.org/officeDocument/2006/relationships/vmlDrawing" Target="../drawings/vmlDrawing15.vml"/><Relationship Id="rId6" Type="http://schemas.openxmlformats.org/officeDocument/2006/relationships/hyperlink" Target="https://www.inflectra.com/Company/Customers.aspx" TargetMode="External"/><Relationship Id="rId11" Type="http://schemas.openxmlformats.org/officeDocument/2006/relationships/image" Target="../media/image28.png"/><Relationship Id="rId5" Type="http://schemas.openxmlformats.org/officeDocument/2006/relationships/image" Target="../media/image1.emf"/><Relationship Id="rId15" Type="http://schemas.openxmlformats.org/officeDocument/2006/relationships/image" Target="../media/image32.png"/><Relationship Id="rId10" Type="http://schemas.openxmlformats.org/officeDocument/2006/relationships/image" Target="../media/image27.png"/><Relationship Id="rId19" Type="http://schemas.openxmlformats.org/officeDocument/2006/relationships/image" Target="../media/image36.pn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26.png"/><Relationship Id="rId14" Type="http://schemas.openxmlformats.org/officeDocument/2006/relationships/image" Target="../media/image31.png"/><Relationship Id="rId22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1.sv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hyperlink" Target="https://www.pta.de/leistungen/beratung/qualitaetssicherung/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4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3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hyperlink" Target="https://www.inflectra.com/products/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hyperlink" Target="https://www.inflectra.com/SpiraTeam/ProductComparison.aspx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27BC293-BFCD-40EF-9790-025948FEC2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6778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27BC293-BFCD-40EF-9790-025948FEC2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Bildplatzhalter 18" descr="Ein Bild, das Fisch enthält.&#10;&#10;Automatisch generierte Beschreibung">
            <a:extLst>
              <a:ext uri="{FF2B5EF4-FFF2-40B4-BE49-F238E27FC236}">
                <a16:creationId xmlns:a16="http://schemas.microsoft.com/office/drawing/2014/main" id="{5909C313-08F0-4DE6-A9EE-E20F81977D16}"/>
              </a:ext>
            </a:extLst>
          </p:cNvPr>
          <p:cNvPicPr>
            <a:picLocks noGrp="1" noChangeAspect="1"/>
          </p:cNvPicPr>
          <p:nvPr>
            <p:ph type="pic" sz="quarter" idx="34"/>
          </p:nvPr>
        </p:nvPicPr>
        <p:blipFill rotWithShape="1">
          <a:blip r:embed="rId6"/>
          <a:srcRect l="5" r="5"/>
          <a:stretch/>
        </p:blipFill>
        <p:spPr/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E1B1064-74E2-4517-AA10-86263A375A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0387" y="3756674"/>
            <a:ext cx="6696000" cy="701731"/>
          </a:xfrm>
        </p:spPr>
        <p:txBody>
          <a:bodyPr vert="horz"/>
          <a:lstStyle/>
          <a:p>
            <a:r>
              <a:rPr lang="de-DE"/>
              <a:t>Vorstellung Inflectra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2902DBF-A3C1-4EC1-8C3E-9CD21AF7C4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PTA Programmier-Technische Arbeiten GmbH, Mannheim, </a:t>
            </a:r>
            <a:r>
              <a:rPr lang="de-DE"/>
              <a:t>den 12.11.2021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78DB10-6893-4409-9032-4098ECCD71F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E318A5A-8701-4D85-B6DC-C0BE5840B39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EB50CC2-DF64-4B59-8357-941495E788E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A5142CF-B075-4B62-AD44-D1B587F47FE4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13707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2A6EE41-C26A-441D-89C8-02BFC982CBF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2471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2A6EE41-C26A-441D-89C8-02BFC982CB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Rechteck 10">
            <a:extLst>
              <a:ext uri="{FF2B5EF4-FFF2-40B4-BE49-F238E27FC236}">
                <a16:creationId xmlns:a16="http://schemas.microsoft.com/office/drawing/2014/main" id="{33122AF8-25F1-4AB9-B9B6-0C5952D2EB3D}"/>
              </a:ext>
            </a:extLst>
          </p:cNvPr>
          <p:cNvSpPr>
            <a:spLocks noChangeAspect="1"/>
          </p:cNvSpPr>
          <p:nvPr/>
        </p:nvSpPr>
        <p:spPr>
          <a:xfrm>
            <a:off x="6276119" y="3046570"/>
            <a:ext cx="600807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/>
          </a:p>
        </p:txBody>
      </p:sp>
      <p:sp>
        <p:nvSpPr>
          <p:cNvPr id="61" name="Rechteck 10">
            <a:extLst>
              <a:ext uri="{FF2B5EF4-FFF2-40B4-BE49-F238E27FC236}">
                <a16:creationId xmlns:a16="http://schemas.microsoft.com/office/drawing/2014/main" id="{F0427F53-3118-423F-996F-AA5D9F1CB7CD}"/>
              </a:ext>
            </a:extLst>
          </p:cNvPr>
          <p:cNvSpPr>
            <a:spLocks noChangeAspect="1"/>
          </p:cNvSpPr>
          <p:nvPr/>
        </p:nvSpPr>
        <p:spPr>
          <a:xfrm>
            <a:off x="6276119" y="3941258"/>
            <a:ext cx="600807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/>
          </a:p>
        </p:txBody>
      </p:sp>
      <p:sp>
        <p:nvSpPr>
          <p:cNvPr id="62" name="Rechteck 10">
            <a:extLst>
              <a:ext uri="{FF2B5EF4-FFF2-40B4-BE49-F238E27FC236}">
                <a16:creationId xmlns:a16="http://schemas.microsoft.com/office/drawing/2014/main" id="{D13536D0-EE48-4662-8431-323522E2CC54}"/>
              </a:ext>
            </a:extLst>
          </p:cNvPr>
          <p:cNvSpPr>
            <a:spLocks noChangeAspect="1"/>
          </p:cNvSpPr>
          <p:nvPr/>
        </p:nvSpPr>
        <p:spPr>
          <a:xfrm>
            <a:off x="6276119" y="4835946"/>
            <a:ext cx="600807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/>
          </a:p>
        </p:txBody>
      </p:sp>
      <p:sp>
        <p:nvSpPr>
          <p:cNvPr id="63" name="Rechteck 10">
            <a:extLst>
              <a:ext uri="{FF2B5EF4-FFF2-40B4-BE49-F238E27FC236}">
                <a16:creationId xmlns:a16="http://schemas.microsoft.com/office/drawing/2014/main" id="{CAA33694-347F-4784-8661-6F9932008703}"/>
              </a:ext>
            </a:extLst>
          </p:cNvPr>
          <p:cNvSpPr>
            <a:spLocks noChangeAspect="1"/>
          </p:cNvSpPr>
          <p:nvPr/>
        </p:nvSpPr>
        <p:spPr>
          <a:xfrm>
            <a:off x="6276119" y="5730632"/>
            <a:ext cx="600807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/>
          </a:p>
        </p:txBody>
      </p:sp>
      <p:sp>
        <p:nvSpPr>
          <p:cNvPr id="64" name="Rechteck 10">
            <a:extLst>
              <a:ext uri="{FF2B5EF4-FFF2-40B4-BE49-F238E27FC236}">
                <a16:creationId xmlns:a16="http://schemas.microsoft.com/office/drawing/2014/main" id="{9C24B5FF-77E4-4234-8087-9621AB3B3292}"/>
              </a:ext>
            </a:extLst>
          </p:cNvPr>
          <p:cNvSpPr>
            <a:spLocks noChangeAspect="1"/>
          </p:cNvSpPr>
          <p:nvPr/>
        </p:nvSpPr>
        <p:spPr>
          <a:xfrm>
            <a:off x="6276119" y="2151882"/>
            <a:ext cx="600807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/>
          </a:p>
        </p:txBody>
      </p:sp>
      <p:sp>
        <p:nvSpPr>
          <p:cNvPr id="49" name="Rechteck 10">
            <a:extLst>
              <a:ext uri="{FF2B5EF4-FFF2-40B4-BE49-F238E27FC236}">
                <a16:creationId xmlns:a16="http://schemas.microsoft.com/office/drawing/2014/main" id="{1695713A-9042-4993-8ECC-D532ABF21660}"/>
              </a:ext>
            </a:extLst>
          </p:cNvPr>
          <p:cNvSpPr>
            <a:spLocks noChangeAspect="1"/>
          </p:cNvSpPr>
          <p:nvPr/>
        </p:nvSpPr>
        <p:spPr>
          <a:xfrm>
            <a:off x="479425" y="3046570"/>
            <a:ext cx="600807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/>
          </a:p>
        </p:txBody>
      </p:sp>
      <p:sp>
        <p:nvSpPr>
          <p:cNvPr id="50" name="Rechteck 10">
            <a:extLst>
              <a:ext uri="{FF2B5EF4-FFF2-40B4-BE49-F238E27FC236}">
                <a16:creationId xmlns:a16="http://schemas.microsoft.com/office/drawing/2014/main" id="{115DB08F-F95F-4EF3-89AF-7A4E471DED4E}"/>
              </a:ext>
            </a:extLst>
          </p:cNvPr>
          <p:cNvSpPr>
            <a:spLocks noChangeAspect="1"/>
          </p:cNvSpPr>
          <p:nvPr/>
        </p:nvSpPr>
        <p:spPr>
          <a:xfrm>
            <a:off x="479425" y="3941258"/>
            <a:ext cx="600807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/>
          </a:p>
        </p:txBody>
      </p:sp>
      <p:sp>
        <p:nvSpPr>
          <p:cNvPr id="51" name="Rechteck 10">
            <a:extLst>
              <a:ext uri="{FF2B5EF4-FFF2-40B4-BE49-F238E27FC236}">
                <a16:creationId xmlns:a16="http://schemas.microsoft.com/office/drawing/2014/main" id="{FEBD43CF-AD60-4BCA-A64F-1E8F7F4B662A}"/>
              </a:ext>
            </a:extLst>
          </p:cNvPr>
          <p:cNvSpPr>
            <a:spLocks noChangeAspect="1"/>
          </p:cNvSpPr>
          <p:nvPr/>
        </p:nvSpPr>
        <p:spPr>
          <a:xfrm>
            <a:off x="479425" y="4835946"/>
            <a:ext cx="600807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/>
          </a:p>
        </p:txBody>
      </p:sp>
      <p:sp>
        <p:nvSpPr>
          <p:cNvPr id="52" name="Rechteck 10">
            <a:extLst>
              <a:ext uri="{FF2B5EF4-FFF2-40B4-BE49-F238E27FC236}">
                <a16:creationId xmlns:a16="http://schemas.microsoft.com/office/drawing/2014/main" id="{24D66D3E-0573-464E-B899-4F521572CF24}"/>
              </a:ext>
            </a:extLst>
          </p:cNvPr>
          <p:cNvSpPr>
            <a:spLocks noChangeAspect="1"/>
          </p:cNvSpPr>
          <p:nvPr/>
        </p:nvSpPr>
        <p:spPr>
          <a:xfrm>
            <a:off x="479425" y="5730632"/>
            <a:ext cx="600807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/>
          </a:p>
        </p:txBody>
      </p:sp>
      <p:sp>
        <p:nvSpPr>
          <p:cNvPr id="35" name="Rechteck 10">
            <a:extLst>
              <a:ext uri="{FF2B5EF4-FFF2-40B4-BE49-F238E27FC236}">
                <a16:creationId xmlns:a16="http://schemas.microsoft.com/office/drawing/2014/main" id="{F50FA203-553B-4DD1-A4EE-76DEC214CB79}"/>
              </a:ext>
            </a:extLst>
          </p:cNvPr>
          <p:cNvSpPr>
            <a:spLocks noChangeAspect="1"/>
          </p:cNvSpPr>
          <p:nvPr/>
        </p:nvSpPr>
        <p:spPr>
          <a:xfrm>
            <a:off x="479425" y="2151882"/>
            <a:ext cx="600807" cy="5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97E29E2-7E98-4C99-90AA-241235C586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01" y="849054"/>
            <a:ext cx="11231473" cy="467820"/>
          </a:xfrm>
        </p:spPr>
        <p:txBody>
          <a:bodyPr vert="horz"/>
          <a:lstStyle/>
          <a:p>
            <a:r>
              <a:rPr lang="de-DE" dirty="0"/>
              <a:t>Auswahl wichtiger Funktione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E7B4B5-E60E-4C7D-B88A-C353B4EED4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 dirty="0">
                <a:solidFill>
                  <a:schemeClr val="accent4"/>
                </a:solidFill>
              </a:rPr>
              <a:t>PTA – Vorstellung </a:t>
            </a:r>
            <a:r>
              <a:rPr lang="de-DE" noProof="0" dirty="0" err="1">
                <a:solidFill>
                  <a:schemeClr val="accent4"/>
                </a:solidFill>
              </a:rPr>
              <a:t>Inflectra</a:t>
            </a:r>
            <a:endParaRPr lang="de-DE" noProof="0" dirty="0">
              <a:solidFill>
                <a:schemeClr val="accent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98D16D-0D62-49D6-A2C6-8C230B76E9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F58692B-9CFC-42D8-9B64-0B547ADAD28E}" type="slidenum">
              <a:rPr lang="de-DE" noProof="0" smtClean="0"/>
              <a:pPr/>
              <a:t>10</a:t>
            </a:fld>
            <a:endParaRPr lang="de-DE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8316DF-9856-4AF6-9D33-406D66B007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0000" y="1664804"/>
            <a:ext cx="11232000" cy="278296"/>
          </a:xfrm>
        </p:spPr>
        <p:txBody>
          <a:bodyPr/>
          <a:lstStyle/>
          <a:p>
            <a:r>
              <a:rPr lang="de-DE"/>
              <a:t>Übersicht</a:t>
            </a:r>
            <a:endParaRPr lang="de-DE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22A7AF4-9D23-482F-9CAB-6EAF20207F37}"/>
              </a:ext>
            </a:extLst>
          </p:cNvPr>
          <p:cNvSpPr txBox="1">
            <a:spLocks/>
          </p:cNvSpPr>
          <p:nvPr/>
        </p:nvSpPr>
        <p:spPr bwMode="gray">
          <a:xfrm>
            <a:off x="1253739" y="3046570"/>
            <a:ext cx="4662874" cy="54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b="1" dirty="0">
                <a:latin typeface="Segoe UI" panose="020B0502040204020203" pitchFamily="34" charset="0"/>
                <a:cs typeface="Segoe UI" panose="020B0502040204020203" pitchFamily="34" charset="0"/>
              </a:rPr>
              <a:t>Traceability</a:t>
            </a:r>
            <a:r>
              <a:rPr lang="de-DE" dirty="0"/>
              <a:t> von den Anforderungen über die Tests bis zu den Releases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C84588A6-18E0-4B1C-82CB-A4D847DF288F}"/>
              </a:ext>
            </a:extLst>
          </p:cNvPr>
          <p:cNvSpPr txBox="1">
            <a:spLocks/>
          </p:cNvSpPr>
          <p:nvPr/>
        </p:nvSpPr>
        <p:spPr bwMode="gray">
          <a:xfrm>
            <a:off x="7048500" y="3046570"/>
            <a:ext cx="4662874" cy="54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Intuitive und übersichtliche Informations-darstellung</a:t>
            </a:r>
          </a:p>
        </p:txBody>
      </p:sp>
      <p:sp>
        <p:nvSpPr>
          <p:cNvPr id="23" name="Graphic 296">
            <a:extLst>
              <a:ext uri="{FF2B5EF4-FFF2-40B4-BE49-F238E27FC236}">
                <a16:creationId xmlns:a16="http://schemas.microsoft.com/office/drawing/2014/main" id="{412D2F68-F17A-4E68-81AA-415D86D9FA02}"/>
              </a:ext>
            </a:extLst>
          </p:cNvPr>
          <p:cNvSpPr>
            <a:spLocks noChangeAspect="1"/>
          </p:cNvSpPr>
          <p:nvPr/>
        </p:nvSpPr>
        <p:spPr>
          <a:xfrm>
            <a:off x="601902" y="3138644"/>
            <a:ext cx="355852" cy="355852"/>
          </a:xfrm>
          <a:custGeom>
            <a:avLst/>
            <a:gdLst>
              <a:gd name="connsiteX0" fmla="*/ 4843463 w 4877038"/>
              <a:gd name="connsiteY0" fmla="*/ 4587240 h 4877038"/>
              <a:gd name="connsiteX1" fmla="*/ 3614738 w 4877038"/>
              <a:gd name="connsiteY1" fmla="*/ 3358515 h 4877038"/>
              <a:gd name="connsiteX2" fmla="*/ 3533775 w 4877038"/>
              <a:gd name="connsiteY2" fmla="*/ 3325178 h 4877038"/>
              <a:gd name="connsiteX3" fmla="*/ 3435668 w 4877038"/>
              <a:gd name="connsiteY3" fmla="*/ 3325178 h 4877038"/>
              <a:gd name="connsiteX4" fmla="*/ 3962400 w 4877038"/>
              <a:gd name="connsiteY4" fmla="*/ 1981200 h 4877038"/>
              <a:gd name="connsiteX5" fmla="*/ 1981200 w 4877038"/>
              <a:gd name="connsiteY5" fmla="*/ 0 h 4877038"/>
              <a:gd name="connsiteX6" fmla="*/ 0 w 4877038"/>
              <a:gd name="connsiteY6" fmla="*/ 1981200 h 4877038"/>
              <a:gd name="connsiteX7" fmla="*/ 1981200 w 4877038"/>
              <a:gd name="connsiteY7" fmla="*/ 3962400 h 4877038"/>
              <a:gd name="connsiteX8" fmla="*/ 3325178 w 4877038"/>
              <a:gd name="connsiteY8" fmla="*/ 3436620 h 4877038"/>
              <a:gd name="connsiteX9" fmla="*/ 3325178 w 4877038"/>
              <a:gd name="connsiteY9" fmla="*/ 3533775 h 4877038"/>
              <a:gd name="connsiteX10" fmla="*/ 3358515 w 4877038"/>
              <a:gd name="connsiteY10" fmla="*/ 3614738 h 4877038"/>
              <a:gd name="connsiteX11" fmla="*/ 4587240 w 4877038"/>
              <a:gd name="connsiteY11" fmla="*/ 4843463 h 4877038"/>
              <a:gd name="connsiteX12" fmla="*/ 4749165 w 4877038"/>
              <a:gd name="connsiteY12" fmla="*/ 4843463 h 4877038"/>
              <a:gd name="connsiteX13" fmla="*/ 4843463 w 4877038"/>
              <a:gd name="connsiteY13" fmla="*/ 4749165 h 4877038"/>
              <a:gd name="connsiteX14" fmla="*/ 4843463 w 4877038"/>
              <a:gd name="connsiteY14" fmla="*/ 4587240 h 4877038"/>
              <a:gd name="connsiteX15" fmla="*/ 1981200 w 4877038"/>
              <a:gd name="connsiteY15" fmla="*/ 3657600 h 4877038"/>
              <a:gd name="connsiteX16" fmla="*/ 304800 w 4877038"/>
              <a:gd name="connsiteY16" fmla="*/ 1981200 h 4877038"/>
              <a:gd name="connsiteX17" fmla="*/ 1981200 w 4877038"/>
              <a:gd name="connsiteY17" fmla="*/ 304800 h 4877038"/>
              <a:gd name="connsiteX18" fmla="*/ 3657600 w 4877038"/>
              <a:gd name="connsiteY18" fmla="*/ 1981200 h 4877038"/>
              <a:gd name="connsiteX19" fmla="*/ 1981200 w 4877038"/>
              <a:gd name="connsiteY19" fmla="*/ 3657600 h 4877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877038" h="4877038">
                <a:moveTo>
                  <a:pt x="4843463" y="4587240"/>
                </a:moveTo>
                <a:lnTo>
                  <a:pt x="3614738" y="3358515"/>
                </a:lnTo>
                <a:cubicBezTo>
                  <a:pt x="3592830" y="3336608"/>
                  <a:pt x="3564255" y="3325178"/>
                  <a:pt x="3533775" y="3325178"/>
                </a:cubicBezTo>
                <a:lnTo>
                  <a:pt x="3435668" y="3325178"/>
                </a:lnTo>
                <a:cubicBezTo>
                  <a:pt x="3762375" y="2971800"/>
                  <a:pt x="3962400" y="2500313"/>
                  <a:pt x="3962400" y="1981200"/>
                </a:cubicBezTo>
                <a:cubicBezTo>
                  <a:pt x="3962400" y="886778"/>
                  <a:pt x="3075623" y="0"/>
                  <a:pt x="1981200" y="0"/>
                </a:cubicBezTo>
                <a:cubicBezTo>
                  <a:pt x="886778" y="0"/>
                  <a:pt x="0" y="886778"/>
                  <a:pt x="0" y="1981200"/>
                </a:cubicBezTo>
                <a:cubicBezTo>
                  <a:pt x="0" y="3075623"/>
                  <a:pt x="886778" y="3962400"/>
                  <a:pt x="1981200" y="3962400"/>
                </a:cubicBezTo>
                <a:cubicBezTo>
                  <a:pt x="2500313" y="3962400"/>
                  <a:pt x="2971800" y="3762375"/>
                  <a:pt x="3325178" y="3436620"/>
                </a:cubicBezTo>
                <a:lnTo>
                  <a:pt x="3325178" y="3533775"/>
                </a:lnTo>
                <a:cubicBezTo>
                  <a:pt x="3325178" y="3564255"/>
                  <a:pt x="3337560" y="3592830"/>
                  <a:pt x="3358515" y="3614738"/>
                </a:cubicBezTo>
                <a:lnTo>
                  <a:pt x="4587240" y="4843463"/>
                </a:lnTo>
                <a:cubicBezTo>
                  <a:pt x="4632008" y="4888230"/>
                  <a:pt x="4704398" y="4888230"/>
                  <a:pt x="4749165" y="4843463"/>
                </a:cubicBezTo>
                <a:lnTo>
                  <a:pt x="4843463" y="4749165"/>
                </a:lnTo>
                <a:cubicBezTo>
                  <a:pt x="4888230" y="4704398"/>
                  <a:pt x="4888230" y="4632008"/>
                  <a:pt x="4843463" y="4587240"/>
                </a:cubicBezTo>
                <a:close/>
                <a:moveTo>
                  <a:pt x="1981200" y="3657600"/>
                </a:moveTo>
                <a:cubicBezTo>
                  <a:pt x="1054418" y="3657600"/>
                  <a:pt x="304800" y="2907983"/>
                  <a:pt x="304800" y="1981200"/>
                </a:cubicBezTo>
                <a:cubicBezTo>
                  <a:pt x="304800" y="1054418"/>
                  <a:pt x="1054418" y="304800"/>
                  <a:pt x="1981200" y="304800"/>
                </a:cubicBezTo>
                <a:cubicBezTo>
                  <a:pt x="2907983" y="304800"/>
                  <a:pt x="3657600" y="1054418"/>
                  <a:pt x="3657600" y="1981200"/>
                </a:cubicBezTo>
                <a:cubicBezTo>
                  <a:pt x="3657600" y="2907983"/>
                  <a:pt x="2907983" y="3657600"/>
                  <a:pt x="1981200" y="365760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5960BA3-BCE5-4471-AE6E-691F355F55B6}"/>
              </a:ext>
            </a:extLst>
          </p:cNvPr>
          <p:cNvSpPr txBox="1">
            <a:spLocks/>
          </p:cNvSpPr>
          <p:nvPr/>
        </p:nvSpPr>
        <p:spPr bwMode="gray">
          <a:xfrm>
            <a:off x="1253739" y="4835946"/>
            <a:ext cx="4662874" cy="54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Integriertes System für das </a:t>
            </a:r>
            <a:r>
              <a:rPr lang="de-DE" b="1" dirty="0">
                <a:latin typeface="Segoe UI" panose="020B0502040204020203" pitchFamily="34" charset="0"/>
                <a:cs typeface="Segoe UI" panose="020B0502040204020203" pitchFamily="34" charset="0"/>
              </a:rPr>
              <a:t>Dokumenten-managemen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9956EC2-2B04-4A34-9CDF-31C6E2BADAAC}"/>
              </a:ext>
            </a:extLst>
          </p:cNvPr>
          <p:cNvSpPr txBox="1">
            <a:spLocks/>
          </p:cNvSpPr>
          <p:nvPr/>
        </p:nvSpPr>
        <p:spPr bwMode="gray">
          <a:xfrm>
            <a:off x="7048500" y="4835946"/>
            <a:ext cx="4662874" cy="54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b="1" dirty="0">
                <a:latin typeface="Segoe UI" panose="020B0502040204020203" pitchFamily="34" charset="0"/>
                <a:cs typeface="Segoe UI" panose="020B0502040204020203" pitchFamily="34" charset="0"/>
              </a:rPr>
              <a:t>Benachrichtigungen</a:t>
            </a:r>
            <a:r>
              <a:rPr lang="de-DE" dirty="0"/>
              <a:t> durch Emails und integrierte Chatfunktionen</a:t>
            </a:r>
          </a:p>
        </p:txBody>
      </p:sp>
      <p:sp>
        <p:nvSpPr>
          <p:cNvPr id="36" name="Graphic 527">
            <a:extLst>
              <a:ext uri="{FF2B5EF4-FFF2-40B4-BE49-F238E27FC236}">
                <a16:creationId xmlns:a16="http://schemas.microsoft.com/office/drawing/2014/main" id="{617ED117-012D-4719-B3A8-F77988637D99}"/>
              </a:ext>
            </a:extLst>
          </p:cNvPr>
          <p:cNvSpPr>
            <a:spLocks noChangeAspect="1"/>
          </p:cNvSpPr>
          <p:nvPr/>
        </p:nvSpPr>
        <p:spPr>
          <a:xfrm>
            <a:off x="624659" y="4928610"/>
            <a:ext cx="310339" cy="354673"/>
          </a:xfrm>
          <a:custGeom>
            <a:avLst/>
            <a:gdLst>
              <a:gd name="connsiteX0" fmla="*/ 3390900 w 4267200"/>
              <a:gd name="connsiteY0" fmla="*/ 1524000 h 4876800"/>
              <a:gd name="connsiteX1" fmla="*/ 1790700 w 4267200"/>
              <a:gd name="connsiteY1" fmla="*/ 1524000 h 4876800"/>
              <a:gd name="connsiteX2" fmla="*/ 1676400 w 4267200"/>
              <a:gd name="connsiteY2" fmla="*/ 1409700 h 4876800"/>
              <a:gd name="connsiteX3" fmla="*/ 1676400 w 4267200"/>
              <a:gd name="connsiteY3" fmla="*/ 1333500 h 4876800"/>
              <a:gd name="connsiteX4" fmla="*/ 1790700 w 4267200"/>
              <a:gd name="connsiteY4" fmla="*/ 1219200 h 4876800"/>
              <a:gd name="connsiteX5" fmla="*/ 3390900 w 4267200"/>
              <a:gd name="connsiteY5" fmla="*/ 1219200 h 4876800"/>
              <a:gd name="connsiteX6" fmla="*/ 3505200 w 4267200"/>
              <a:gd name="connsiteY6" fmla="*/ 1333500 h 4876800"/>
              <a:gd name="connsiteX7" fmla="*/ 3505200 w 4267200"/>
              <a:gd name="connsiteY7" fmla="*/ 1409700 h 4876800"/>
              <a:gd name="connsiteX8" fmla="*/ 3390900 w 4267200"/>
              <a:gd name="connsiteY8" fmla="*/ 1524000 h 4876800"/>
              <a:gd name="connsiteX9" fmla="*/ 3505200 w 4267200"/>
              <a:gd name="connsiteY9" fmla="*/ 2019300 h 4876800"/>
              <a:gd name="connsiteX10" fmla="*/ 3505200 w 4267200"/>
              <a:gd name="connsiteY10" fmla="*/ 1943100 h 4876800"/>
              <a:gd name="connsiteX11" fmla="*/ 3390900 w 4267200"/>
              <a:gd name="connsiteY11" fmla="*/ 1828800 h 4876800"/>
              <a:gd name="connsiteX12" fmla="*/ 1790700 w 4267200"/>
              <a:gd name="connsiteY12" fmla="*/ 1828800 h 4876800"/>
              <a:gd name="connsiteX13" fmla="*/ 1676400 w 4267200"/>
              <a:gd name="connsiteY13" fmla="*/ 1943100 h 4876800"/>
              <a:gd name="connsiteX14" fmla="*/ 1676400 w 4267200"/>
              <a:gd name="connsiteY14" fmla="*/ 2019300 h 4876800"/>
              <a:gd name="connsiteX15" fmla="*/ 1790700 w 4267200"/>
              <a:gd name="connsiteY15" fmla="*/ 2133600 h 4876800"/>
              <a:gd name="connsiteX16" fmla="*/ 3390900 w 4267200"/>
              <a:gd name="connsiteY16" fmla="*/ 2133600 h 4876800"/>
              <a:gd name="connsiteX17" fmla="*/ 3505200 w 4267200"/>
              <a:gd name="connsiteY17" fmla="*/ 2019300 h 4876800"/>
              <a:gd name="connsiteX18" fmla="*/ 4121468 w 4267200"/>
              <a:gd name="connsiteY18" fmla="*/ 4572000 h 4876800"/>
              <a:gd name="connsiteX19" fmla="*/ 4152900 w 4267200"/>
              <a:gd name="connsiteY19" fmla="*/ 4572000 h 4876800"/>
              <a:gd name="connsiteX20" fmla="*/ 4267200 w 4267200"/>
              <a:gd name="connsiteY20" fmla="*/ 4686300 h 4876800"/>
              <a:gd name="connsiteX21" fmla="*/ 4267200 w 4267200"/>
              <a:gd name="connsiteY21" fmla="*/ 4762500 h 4876800"/>
              <a:gd name="connsiteX22" fmla="*/ 4152900 w 4267200"/>
              <a:gd name="connsiteY22" fmla="*/ 4876800 h 4876800"/>
              <a:gd name="connsiteX23" fmla="*/ 762000 w 4267200"/>
              <a:gd name="connsiteY23" fmla="*/ 4876800 h 4876800"/>
              <a:gd name="connsiteX24" fmla="*/ 0 w 4267200"/>
              <a:gd name="connsiteY24" fmla="*/ 4114800 h 4876800"/>
              <a:gd name="connsiteX25" fmla="*/ 0 w 4267200"/>
              <a:gd name="connsiteY25" fmla="*/ 762000 h 4876800"/>
              <a:gd name="connsiteX26" fmla="*/ 762000 w 4267200"/>
              <a:gd name="connsiteY26" fmla="*/ 0 h 4876800"/>
              <a:gd name="connsiteX27" fmla="*/ 4038600 w 4267200"/>
              <a:gd name="connsiteY27" fmla="*/ 0 h 4876800"/>
              <a:gd name="connsiteX28" fmla="*/ 4267200 w 4267200"/>
              <a:gd name="connsiteY28" fmla="*/ 228600 h 4876800"/>
              <a:gd name="connsiteX29" fmla="*/ 4267200 w 4267200"/>
              <a:gd name="connsiteY29" fmla="*/ 3733800 h 4876800"/>
              <a:gd name="connsiteX30" fmla="*/ 4125278 w 4267200"/>
              <a:gd name="connsiteY30" fmla="*/ 3945255 h 4876800"/>
              <a:gd name="connsiteX31" fmla="*/ 4121468 w 4267200"/>
              <a:gd name="connsiteY31" fmla="*/ 4572000 h 4876800"/>
              <a:gd name="connsiteX32" fmla="*/ 1219200 w 4267200"/>
              <a:gd name="connsiteY32" fmla="*/ 3657600 h 4876800"/>
              <a:gd name="connsiteX33" fmla="*/ 3962400 w 4267200"/>
              <a:gd name="connsiteY33" fmla="*/ 3657600 h 4876800"/>
              <a:gd name="connsiteX34" fmla="*/ 3962400 w 4267200"/>
              <a:gd name="connsiteY34" fmla="*/ 304800 h 4876800"/>
              <a:gd name="connsiteX35" fmla="*/ 1219200 w 4267200"/>
              <a:gd name="connsiteY35" fmla="*/ 304800 h 4876800"/>
              <a:gd name="connsiteX36" fmla="*/ 1219200 w 4267200"/>
              <a:gd name="connsiteY36" fmla="*/ 3657600 h 4876800"/>
              <a:gd name="connsiteX37" fmla="*/ 304800 w 4267200"/>
              <a:gd name="connsiteY37" fmla="*/ 3810000 h 4876800"/>
              <a:gd name="connsiteX38" fmla="*/ 762000 w 4267200"/>
              <a:gd name="connsiteY38" fmla="*/ 3657600 h 4876800"/>
              <a:gd name="connsiteX39" fmla="*/ 914400 w 4267200"/>
              <a:gd name="connsiteY39" fmla="*/ 3657600 h 4876800"/>
              <a:gd name="connsiteX40" fmla="*/ 914400 w 4267200"/>
              <a:gd name="connsiteY40" fmla="*/ 304800 h 4876800"/>
              <a:gd name="connsiteX41" fmla="*/ 762000 w 4267200"/>
              <a:gd name="connsiteY41" fmla="*/ 304800 h 4876800"/>
              <a:gd name="connsiteX42" fmla="*/ 304800 w 4267200"/>
              <a:gd name="connsiteY42" fmla="*/ 762000 h 4876800"/>
              <a:gd name="connsiteX43" fmla="*/ 304800 w 4267200"/>
              <a:gd name="connsiteY43" fmla="*/ 3810000 h 4876800"/>
              <a:gd name="connsiteX44" fmla="*/ 3850958 w 4267200"/>
              <a:gd name="connsiteY44" fmla="*/ 4572000 h 4876800"/>
              <a:gd name="connsiteX45" fmla="*/ 3850958 w 4267200"/>
              <a:gd name="connsiteY45" fmla="*/ 3962400 h 4876800"/>
              <a:gd name="connsiteX46" fmla="*/ 762000 w 4267200"/>
              <a:gd name="connsiteY46" fmla="*/ 3962400 h 4876800"/>
              <a:gd name="connsiteX47" fmla="*/ 762000 w 4267200"/>
              <a:gd name="connsiteY47" fmla="*/ 4572000 h 4876800"/>
              <a:gd name="connsiteX48" fmla="*/ 3850958 w 4267200"/>
              <a:gd name="connsiteY48" fmla="*/ 457200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267200" h="4876800">
                <a:moveTo>
                  <a:pt x="3390900" y="1524000"/>
                </a:moveTo>
                <a:lnTo>
                  <a:pt x="1790700" y="1524000"/>
                </a:lnTo>
                <a:cubicBezTo>
                  <a:pt x="1727835" y="1524000"/>
                  <a:pt x="1676400" y="1472565"/>
                  <a:pt x="1676400" y="1409700"/>
                </a:cubicBezTo>
                <a:lnTo>
                  <a:pt x="1676400" y="1333500"/>
                </a:lnTo>
                <a:cubicBezTo>
                  <a:pt x="1676400" y="1270635"/>
                  <a:pt x="1727835" y="1219200"/>
                  <a:pt x="1790700" y="1219200"/>
                </a:cubicBezTo>
                <a:lnTo>
                  <a:pt x="3390900" y="1219200"/>
                </a:lnTo>
                <a:cubicBezTo>
                  <a:pt x="3453765" y="1219200"/>
                  <a:pt x="3505200" y="1270635"/>
                  <a:pt x="3505200" y="1333500"/>
                </a:cubicBezTo>
                <a:lnTo>
                  <a:pt x="3505200" y="1409700"/>
                </a:lnTo>
                <a:cubicBezTo>
                  <a:pt x="3505200" y="1472565"/>
                  <a:pt x="3453765" y="1524000"/>
                  <a:pt x="3390900" y="1524000"/>
                </a:cubicBezTo>
                <a:close/>
                <a:moveTo>
                  <a:pt x="3505200" y="2019300"/>
                </a:moveTo>
                <a:lnTo>
                  <a:pt x="3505200" y="1943100"/>
                </a:lnTo>
                <a:cubicBezTo>
                  <a:pt x="3505200" y="1880235"/>
                  <a:pt x="3453765" y="1828800"/>
                  <a:pt x="3390900" y="1828800"/>
                </a:cubicBezTo>
                <a:lnTo>
                  <a:pt x="1790700" y="1828800"/>
                </a:lnTo>
                <a:cubicBezTo>
                  <a:pt x="1727835" y="1828800"/>
                  <a:pt x="1676400" y="1880235"/>
                  <a:pt x="1676400" y="1943100"/>
                </a:cubicBezTo>
                <a:lnTo>
                  <a:pt x="1676400" y="2019300"/>
                </a:lnTo>
                <a:cubicBezTo>
                  <a:pt x="1676400" y="2082165"/>
                  <a:pt x="1727835" y="2133600"/>
                  <a:pt x="1790700" y="2133600"/>
                </a:cubicBezTo>
                <a:lnTo>
                  <a:pt x="3390900" y="2133600"/>
                </a:lnTo>
                <a:cubicBezTo>
                  <a:pt x="3453765" y="2133600"/>
                  <a:pt x="3505200" y="2082165"/>
                  <a:pt x="3505200" y="2019300"/>
                </a:cubicBezTo>
                <a:close/>
                <a:moveTo>
                  <a:pt x="4121468" y="4572000"/>
                </a:moveTo>
                <a:lnTo>
                  <a:pt x="4152900" y="4572000"/>
                </a:lnTo>
                <a:cubicBezTo>
                  <a:pt x="4215765" y="4572000"/>
                  <a:pt x="4267200" y="4623435"/>
                  <a:pt x="4267200" y="4686300"/>
                </a:cubicBezTo>
                <a:lnTo>
                  <a:pt x="4267200" y="4762500"/>
                </a:lnTo>
                <a:cubicBezTo>
                  <a:pt x="4267200" y="4825365"/>
                  <a:pt x="4215765" y="4876800"/>
                  <a:pt x="4152900" y="4876800"/>
                </a:cubicBezTo>
                <a:lnTo>
                  <a:pt x="762000" y="4876800"/>
                </a:lnTo>
                <a:cubicBezTo>
                  <a:pt x="340995" y="4876800"/>
                  <a:pt x="0" y="4535805"/>
                  <a:pt x="0" y="4114800"/>
                </a:cubicBezTo>
                <a:lnTo>
                  <a:pt x="0" y="762000"/>
                </a:lnTo>
                <a:cubicBezTo>
                  <a:pt x="0" y="340995"/>
                  <a:pt x="340995" y="0"/>
                  <a:pt x="762000" y="0"/>
                </a:cubicBezTo>
                <a:lnTo>
                  <a:pt x="4038600" y="0"/>
                </a:lnTo>
                <a:cubicBezTo>
                  <a:pt x="4165283" y="0"/>
                  <a:pt x="4267200" y="101918"/>
                  <a:pt x="4267200" y="228600"/>
                </a:cubicBezTo>
                <a:lnTo>
                  <a:pt x="4267200" y="3733800"/>
                </a:lnTo>
                <a:cubicBezTo>
                  <a:pt x="4267200" y="3829050"/>
                  <a:pt x="4208145" y="3910965"/>
                  <a:pt x="4125278" y="3945255"/>
                </a:cubicBezTo>
                <a:cubicBezTo>
                  <a:pt x="4090988" y="4098608"/>
                  <a:pt x="4083368" y="4379595"/>
                  <a:pt x="4121468" y="4572000"/>
                </a:cubicBezTo>
                <a:close/>
                <a:moveTo>
                  <a:pt x="1219200" y="3657600"/>
                </a:moveTo>
                <a:lnTo>
                  <a:pt x="3962400" y="3657600"/>
                </a:lnTo>
                <a:lnTo>
                  <a:pt x="3962400" y="304800"/>
                </a:lnTo>
                <a:lnTo>
                  <a:pt x="1219200" y="304800"/>
                </a:lnTo>
                <a:lnTo>
                  <a:pt x="1219200" y="3657600"/>
                </a:lnTo>
                <a:close/>
                <a:moveTo>
                  <a:pt x="304800" y="3810000"/>
                </a:moveTo>
                <a:cubicBezTo>
                  <a:pt x="432435" y="3714750"/>
                  <a:pt x="590550" y="3657600"/>
                  <a:pt x="762000" y="3657600"/>
                </a:cubicBezTo>
                <a:lnTo>
                  <a:pt x="914400" y="3657600"/>
                </a:lnTo>
                <a:lnTo>
                  <a:pt x="914400" y="304800"/>
                </a:lnTo>
                <a:lnTo>
                  <a:pt x="762000" y="304800"/>
                </a:lnTo>
                <a:cubicBezTo>
                  <a:pt x="509588" y="304800"/>
                  <a:pt x="304800" y="509588"/>
                  <a:pt x="304800" y="762000"/>
                </a:cubicBezTo>
                <a:lnTo>
                  <a:pt x="304800" y="3810000"/>
                </a:lnTo>
                <a:close/>
                <a:moveTo>
                  <a:pt x="3850958" y="4572000"/>
                </a:moveTo>
                <a:cubicBezTo>
                  <a:pt x="3821430" y="4377690"/>
                  <a:pt x="3823335" y="4141470"/>
                  <a:pt x="3850958" y="3962400"/>
                </a:cubicBezTo>
                <a:lnTo>
                  <a:pt x="762000" y="3962400"/>
                </a:lnTo>
                <a:cubicBezTo>
                  <a:pt x="152400" y="3962400"/>
                  <a:pt x="152400" y="4572000"/>
                  <a:pt x="762000" y="4572000"/>
                </a:cubicBezTo>
                <a:lnTo>
                  <a:pt x="3850958" y="4572000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252ECC1-D0A7-407B-B361-3C69CB0BA9B4}"/>
              </a:ext>
            </a:extLst>
          </p:cNvPr>
          <p:cNvSpPr txBox="1">
            <a:spLocks/>
          </p:cNvSpPr>
          <p:nvPr/>
        </p:nvSpPr>
        <p:spPr bwMode="gray">
          <a:xfrm>
            <a:off x="1253739" y="2151882"/>
            <a:ext cx="4662874" cy="54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Umfangreiche und konfigurierbare </a:t>
            </a:r>
            <a:r>
              <a:rPr lang="de-DE" b="1" dirty="0">
                <a:latin typeface="Segoe UI" panose="020B0502040204020203" pitchFamily="34" charset="0"/>
                <a:cs typeface="Segoe UI" panose="020B0502040204020203" pitchFamily="34" charset="0"/>
              </a:rPr>
              <a:t>Berichte</a:t>
            </a:r>
            <a:br>
              <a:rPr lang="de-DE" b="1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de-DE" b="1" dirty="0">
                <a:latin typeface="Segoe UI" panose="020B0502040204020203" pitchFamily="34" charset="0"/>
                <a:cs typeface="Segoe UI" panose="020B0502040204020203" pitchFamily="34" charset="0"/>
              </a:rPr>
              <a:t>und Dashboard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E7CF076F-B651-4739-9B24-AA97F9CF1C9F}"/>
              </a:ext>
            </a:extLst>
          </p:cNvPr>
          <p:cNvSpPr txBox="1">
            <a:spLocks/>
          </p:cNvSpPr>
          <p:nvPr/>
        </p:nvSpPr>
        <p:spPr bwMode="gray">
          <a:xfrm>
            <a:off x="7048500" y="2151882"/>
            <a:ext cx="4662874" cy="54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Umfangreiches </a:t>
            </a:r>
            <a:r>
              <a:rPr lang="de-DE" b="1" dirty="0">
                <a:latin typeface="Segoe UI" panose="020B0502040204020203" pitchFamily="34" charset="0"/>
                <a:cs typeface="Segoe UI" panose="020B0502040204020203" pitchFamily="34" charset="0"/>
              </a:rPr>
              <a:t>Projekt- und Ressourcen-management</a:t>
            </a:r>
          </a:p>
        </p:txBody>
      </p:sp>
      <p:sp>
        <p:nvSpPr>
          <p:cNvPr id="18" name="Graphic 647">
            <a:extLst>
              <a:ext uri="{FF2B5EF4-FFF2-40B4-BE49-F238E27FC236}">
                <a16:creationId xmlns:a16="http://schemas.microsoft.com/office/drawing/2014/main" id="{5E6782E0-22CC-496E-B5CE-97B8A581C708}"/>
              </a:ext>
            </a:extLst>
          </p:cNvPr>
          <p:cNvSpPr>
            <a:spLocks noChangeAspect="1"/>
          </p:cNvSpPr>
          <p:nvPr/>
        </p:nvSpPr>
        <p:spPr>
          <a:xfrm>
            <a:off x="578418" y="2270824"/>
            <a:ext cx="402821" cy="302116"/>
          </a:xfrm>
          <a:custGeom>
            <a:avLst/>
            <a:gdLst>
              <a:gd name="connsiteX0" fmla="*/ 4800600 w 4876800"/>
              <a:gd name="connsiteY0" fmla="*/ 3352800 h 3657600"/>
              <a:gd name="connsiteX1" fmla="*/ 304800 w 4876800"/>
              <a:gd name="connsiteY1" fmla="*/ 3352800 h 3657600"/>
              <a:gd name="connsiteX2" fmla="*/ 304800 w 4876800"/>
              <a:gd name="connsiteY2" fmla="*/ 76200 h 3657600"/>
              <a:gd name="connsiteX3" fmla="*/ 228600 w 4876800"/>
              <a:gd name="connsiteY3" fmla="*/ 0 h 3657600"/>
              <a:gd name="connsiteX4" fmla="*/ 76200 w 4876800"/>
              <a:gd name="connsiteY4" fmla="*/ 0 h 3657600"/>
              <a:gd name="connsiteX5" fmla="*/ 0 w 4876800"/>
              <a:gd name="connsiteY5" fmla="*/ 76200 h 3657600"/>
              <a:gd name="connsiteX6" fmla="*/ 0 w 4876800"/>
              <a:gd name="connsiteY6" fmla="*/ 3505200 h 3657600"/>
              <a:gd name="connsiteX7" fmla="*/ 152400 w 4876800"/>
              <a:gd name="connsiteY7" fmla="*/ 3657600 h 3657600"/>
              <a:gd name="connsiteX8" fmla="*/ 4800600 w 4876800"/>
              <a:gd name="connsiteY8" fmla="*/ 3657600 h 3657600"/>
              <a:gd name="connsiteX9" fmla="*/ 4876800 w 4876800"/>
              <a:gd name="connsiteY9" fmla="*/ 3581400 h 3657600"/>
              <a:gd name="connsiteX10" fmla="*/ 4876800 w 4876800"/>
              <a:gd name="connsiteY10" fmla="*/ 3429000 h 3657600"/>
              <a:gd name="connsiteX11" fmla="*/ 4800600 w 4876800"/>
              <a:gd name="connsiteY11" fmla="*/ 3352800 h 3657600"/>
              <a:gd name="connsiteX12" fmla="*/ 936688 w 4876800"/>
              <a:gd name="connsiteY12" fmla="*/ 1895761 h 3657600"/>
              <a:gd name="connsiteX13" fmla="*/ 936688 w 4876800"/>
              <a:gd name="connsiteY13" fmla="*/ 2003489 h 3657600"/>
              <a:gd name="connsiteX14" fmla="*/ 1044416 w 4876800"/>
              <a:gd name="connsiteY14" fmla="*/ 2111216 h 3657600"/>
              <a:gd name="connsiteX15" fmla="*/ 1152144 w 4876800"/>
              <a:gd name="connsiteY15" fmla="*/ 2111216 h 3657600"/>
              <a:gd name="connsiteX16" fmla="*/ 1844516 w 4876800"/>
              <a:gd name="connsiteY16" fmla="*/ 1425321 h 3657600"/>
              <a:gd name="connsiteX17" fmla="*/ 2651189 w 4876800"/>
              <a:gd name="connsiteY17" fmla="*/ 2231993 h 3657600"/>
              <a:gd name="connsiteX18" fmla="*/ 2866739 w 4876800"/>
              <a:gd name="connsiteY18" fmla="*/ 2231993 h 3657600"/>
              <a:gd name="connsiteX19" fmla="*/ 3757613 w 4876800"/>
              <a:gd name="connsiteY19" fmla="*/ 1341120 h 3657600"/>
              <a:gd name="connsiteX20" fmla="*/ 4177094 w 4876800"/>
              <a:gd name="connsiteY20" fmla="*/ 1760601 h 3657600"/>
              <a:gd name="connsiteX21" fmla="*/ 4339019 w 4876800"/>
              <a:gd name="connsiteY21" fmla="*/ 1828800 h 3657600"/>
              <a:gd name="connsiteX22" fmla="*/ 4572000 w 4876800"/>
              <a:gd name="connsiteY22" fmla="*/ 1596962 h 3657600"/>
              <a:gd name="connsiteX23" fmla="*/ 4572000 w 4876800"/>
              <a:gd name="connsiteY23" fmla="*/ 459010 h 3657600"/>
              <a:gd name="connsiteX24" fmla="*/ 4417790 w 4876800"/>
              <a:gd name="connsiteY24" fmla="*/ 304800 h 3657600"/>
              <a:gd name="connsiteX25" fmla="*/ 3279839 w 4876800"/>
              <a:gd name="connsiteY25" fmla="*/ 304800 h 3657600"/>
              <a:gd name="connsiteX26" fmla="*/ 3116295 w 4876800"/>
              <a:gd name="connsiteY26" fmla="*/ 699707 h 3657600"/>
              <a:gd name="connsiteX27" fmla="*/ 3542157 w 4876800"/>
              <a:gd name="connsiteY27" fmla="*/ 1125569 h 3657600"/>
              <a:gd name="connsiteX28" fmla="*/ 2759012 w 4876800"/>
              <a:gd name="connsiteY28" fmla="*/ 1908715 h 3657600"/>
              <a:gd name="connsiteX29" fmla="*/ 1952911 w 4876800"/>
              <a:gd name="connsiteY29" fmla="*/ 1102614 h 3657600"/>
              <a:gd name="connsiteX30" fmla="*/ 1737932 w 4876800"/>
              <a:gd name="connsiteY30" fmla="*/ 1102138 h 3657600"/>
              <a:gd name="connsiteX31" fmla="*/ 936688 w 4876800"/>
              <a:gd name="connsiteY31" fmla="*/ 1895761 h 3657600"/>
              <a:gd name="connsiteX32" fmla="*/ 3457194 w 4876800"/>
              <a:gd name="connsiteY32" fmla="*/ 609600 h 3657600"/>
              <a:gd name="connsiteX33" fmla="*/ 4267200 w 4876800"/>
              <a:gd name="connsiteY33" fmla="*/ 609600 h 3657600"/>
              <a:gd name="connsiteX34" fmla="*/ 4267200 w 4876800"/>
              <a:gd name="connsiteY34" fmla="*/ 1419606 h 3657600"/>
              <a:gd name="connsiteX35" fmla="*/ 3457194 w 4876800"/>
              <a:gd name="connsiteY35" fmla="*/ 609600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4876800" h="3657600">
                <a:moveTo>
                  <a:pt x="4800600" y="3352800"/>
                </a:moveTo>
                <a:lnTo>
                  <a:pt x="304800" y="3352800"/>
                </a:lnTo>
                <a:lnTo>
                  <a:pt x="304800" y="76200"/>
                </a:lnTo>
                <a:cubicBezTo>
                  <a:pt x="304800" y="34100"/>
                  <a:pt x="270701" y="0"/>
                  <a:pt x="228600" y="0"/>
                </a:cubicBezTo>
                <a:lnTo>
                  <a:pt x="76200" y="0"/>
                </a:lnTo>
                <a:cubicBezTo>
                  <a:pt x="34100" y="0"/>
                  <a:pt x="0" y="34100"/>
                  <a:pt x="0" y="76200"/>
                </a:cubicBezTo>
                <a:lnTo>
                  <a:pt x="0" y="3505200"/>
                </a:lnTo>
                <a:cubicBezTo>
                  <a:pt x="0" y="3589401"/>
                  <a:pt x="68199" y="3657600"/>
                  <a:pt x="152400" y="3657600"/>
                </a:cubicBezTo>
                <a:lnTo>
                  <a:pt x="4800600" y="3657600"/>
                </a:lnTo>
                <a:cubicBezTo>
                  <a:pt x="4842701" y="3657600"/>
                  <a:pt x="4876800" y="3623501"/>
                  <a:pt x="4876800" y="3581400"/>
                </a:cubicBezTo>
                <a:lnTo>
                  <a:pt x="4876800" y="3429000"/>
                </a:lnTo>
                <a:cubicBezTo>
                  <a:pt x="4876800" y="3386899"/>
                  <a:pt x="4842701" y="3352800"/>
                  <a:pt x="4800600" y="3352800"/>
                </a:cubicBezTo>
                <a:close/>
                <a:moveTo>
                  <a:pt x="936688" y="1895761"/>
                </a:moveTo>
                <a:cubicBezTo>
                  <a:pt x="906971" y="1925479"/>
                  <a:pt x="906971" y="1973771"/>
                  <a:pt x="936688" y="2003489"/>
                </a:cubicBezTo>
                <a:lnTo>
                  <a:pt x="1044416" y="2111216"/>
                </a:lnTo>
                <a:cubicBezTo>
                  <a:pt x="1074134" y="2140934"/>
                  <a:pt x="1122426" y="2140934"/>
                  <a:pt x="1152144" y="2111216"/>
                </a:cubicBezTo>
                <a:lnTo>
                  <a:pt x="1844516" y="1425321"/>
                </a:lnTo>
                <a:lnTo>
                  <a:pt x="2651189" y="2231993"/>
                </a:lnTo>
                <a:cubicBezTo>
                  <a:pt x="2710720" y="2291524"/>
                  <a:pt x="2807208" y="2291524"/>
                  <a:pt x="2866739" y="2231993"/>
                </a:cubicBezTo>
                <a:lnTo>
                  <a:pt x="3757613" y="1341120"/>
                </a:lnTo>
                <a:lnTo>
                  <a:pt x="4177094" y="1760601"/>
                </a:lnTo>
                <a:cubicBezTo>
                  <a:pt x="4224242" y="1807750"/>
                  <a:pt x="4282155" y="1828800"/>
                  <a:pt x="4339019" y="1828800"/>
                </a:cubicBezTo>
                <a:cubicBezTo>
                  <a:pt x="4457891" y="1828800"/>
                  <a:pt x="4572000" y="1736408"/>
                  <a:pt x="4572000" y="1596962"/>
                </a:cubicBezTo>
                <a:lnTo>
                  <a:pt x="4572000" y="459010"/>
                </a:lnTo>
                <a:cubicBezTo>
                  <a:pt x="4572000" y="373856"/>
                  <a:pt x="4502944" y="304800"/>
                  <a:pt x="4417790" y="304800"/>
                </a:cubicBezTo>
                <a:lnTo>
                  <a:pt x="3279839" y="304800"/>
                </a:lnTo>
                <a:cubicBezTo>
                  <a:pt x="3073718" y="304800"/>
                  <a:pt x="2970562" y="553974"/>
                  <a:pt x="3116295" y="699707"/>
                </a:cubicBezTo>
                <a:lnTo>
                  <a:pt x="3542157" y="1125569"/>
                </a:lnTo>
                <a:lnTo>
                  <a:pt x="2759012" y="1908715"/>
                </a:lnTo>
                <a:lnTo>
                  <a:pt x="1952911" y="1102614"/>
                </a:lnTo>
                <a:cubicBezTo>
                  <a:pt x="1893570" y="1043273"/>
                  <a:pt x="1797463" y="1043083"/>
                  <a:pt x="1737932" y="1102138"/>
                </a:cubicBezTo>
                <a:lnTo>
                  <a:pt x="936688" y="1895761"/>
                </a:lnTo>
                <a:close/>
                <a:moveTo>
                  <a:pt x="3457194" y="609600"/>
                </a:moveTo>
                <a:lnTo>
                  <a:pt x="4267200" y="609600"/>
                </a:lnTo>
                <a:lnTo>
                  <a:pt x="4267200" y="1419606"/>
                </a:lnTo>
                <a:lnTo>
                  <a:pt x="3457194" y="609600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38" name="Graphic 521">
            <a:extLst>
              <a:ext uri="{FF2B5EF4-FFF2-40B4-BE49-F238E27FC236}">
                <a16:creationId xmlns:a16="http://schemas.microsoft.com/office/drawing/2014/main" id="{B3410343-2531-474D-8AA7-619DAC7E38AB}"/>
              </a:ext>
            </a:extLst>
          </p:cNvPr>
          <p:cNvSpPr>
            <a:spLocks noChangeAspect="1"/>
          </p:cNvSpPr>
          <p:nvPr/>
        </p:nvSpPr>
        <p:spPr>
          <a:xfrm>
            <a:off x="6346546" y="2260899"/>
            <a:ext cx="459952" cy="321966"/>
          </a:xfrm>
          <a:custGeom>
            <a:avLst/>
            <a:gdLst>
              <a:gd name="connsiteX0" fmla="*/ 5181600 w 6096000"/>
              <a:gd name="connsiteY0" fmla="*/ 1828800 h 4267200"/>
              <a:gd name="connsiteX1" fmla="*/ 5943600 w 6096000"/>
              <a:gd name="connsiteY1" fmla="*/ 1066800 h 4267200"/>
              <a:gd name="connsiteX2" fmla="*/ 5181600 w 6096000"/>
              <a:gd name="connsiteY2" fmla="*/ 304800 h 4267200"/>
              <a:gd name="connsiteX3" fmla="*/ 4419600 w 6096000"/>
              <a:gd name="connsiteY3" fmla="*/ 1066800 h 4267200"/>
              <a:gd name="connsiteX4" fmla="*/ 5181600 w 6096000"/>
              <a:gd name="connsiteY4" fmla="*/ 1828800 h 4267200"/>
              <a:gd name="connsiteX5" fmla="*/ 5181600 w 6096000"/>
              <a:gd name="connsiteY5" fmla="*/ 609600 h 4267200"/>
              <a:gd name="connsiteX6" fmla="*/ 5638800 w 6096000"/>
              <a:gd name="connsiteY6" fmla="*/ 1066800 h 4267200"/>
              <a:gd name="connsiteX7" fmla="*/ 5181600 w 6096000"/>
              <a:gd name="connsiteY7" fmla="*/ 1524000 h 4267200"/>
              <a:gd name="connsiteX8" fmla="*/ 4724400 w 6096000"/>
              <a:gd name="connsiteY8" fmla="*/ 1066800 h 4267200"/>
              <a:gd name="connsiteX9" fmla="*/ 5181600 w 6096000"/>
              <a:gd name="connsiteY9" fmla="*/ 609600 h 4267200"/>
              <a:gd name="connsiteX10" fmla="*/ 3048000 w 6096000"/>
              <a:gd name="connsiteY10" fmla="*/ 2133600 h 4267200"/>
              <a:gd name="connsiteX11" fmla="*/ 4114800 w 6096000"/>
              <a:gd name="connsiteY11" fmla="*/ 1066800 h 4267200"/>
              <a:gd name="connsiteX12" fmla="*/ 3048000 w 6096000"/>
              <a:gd name="connsiteY12" fmla="*/ 0 h 4267200"/>
              <a:gd name="connsiteX13" fmla="*/ 1981200 w 6096000"/>
              <a:gd name="connsiteY13" fmla="*/ 1066800 h 4267200"/>
              <a:gd name="connsiteX14" fmla="*/ 3048000 w 6096000"/>
              <a:gd name="connsiteY14" fmla="*/ 2133600 h 4267200"/>
              <a:gd name="connsiteX15" fmla="*/ 3048000 w 6096000"/>
              <a:gd name="connsiteY15" fmla="*/ 304800 h 4267200"/>
              <a:gd name="connsiteX16" fmla="*/ 3810000 w 6096000"/>
              <a:gd name="connsiteY16" fmla="*/ 1066800 h 4267200"/>
              <a:gd name="connsiteX17" fmla="*/ 3048000 w 6096000"/>
              <a:gd name="connsiteY17" fmla="*/ 1828800 h 4267200"/>
              <a:gd name="connsiteX18" fmla="*/ 2286000 w 6096000"/>
              <a:gd name="connsiteY18" fmla="*/ 1066800 h 4267200"/>
              <a:gd name="connsiteX19" fmla="*/ 3048000 w 6096000"/>
              <a:gd name="connsiteY19" fmla="*/ 304800 h 4267200"/>
              <a:gd name="connsiteX20" fmla="*/ 5372100 w 6096000"/>
              <a:gd name="connsiteY20" fmla="*/ 2133600 h 4267200"/>
              <a:gd name="connsiteX21" fmla="*/ 4991100 w 6096000"/>
              <a:gd name="connsiteY21" fmla="*/ 2133600 h 4267200"/>
              <a:gd name="connsiteX22" fmla="*/ 4599623 w 6096000"/>
              <a:gd name="connsiteY22" fmla="*/ 2256473 h 4267200"/>
              <a:gd name="connsiteX23" fmla="*/ 4841558 w 6096000"/>
              <a:gd name="connsiteY23" fmla="*/ 2469833 h 4267200"/>
              <a:gd name="connsiteX24" fmla="*/ 4991100 w 6096000"/>
              <a:gd name="connsiteY24" fmla="*/ 2438400 h 4267200"/>
              <a:gd name="connsiteX25" fmla="*/ 5372100 w 6096000"/>
              <a:gd name="connsiteY25" fmla="*/ 2438400 h 4267200"/>
              <a:gd name="connsiteX26" fmla="*/ 5791200 w 6096000"/>
              <a:gd name="connsiteY26" fmla="*/ 2895600 h 4267200"/>
              <a:gd name="connsiteX27" fmla="*/ 5943600 w 6096000"/>
              <a:gd name="connsiteY27" fmla="*/ 3048000 h 4267200"/>
              <a:gd name="connsiteX28" fmla="*/ 6096000 w 6096000"/>
              <a:gd name="connsiteY28" fmla="*/ 2895600 h 4267200"/>
              <a:gd name="connsiteX29" fmla="*/ 5372100 w 6096000"/>
              <a:gd name="connsiteY29" fmla="*/ 2133600 h 4267200"/>
              <a:gd name="connsiteX30" fmla="*/ 914400 w 6096000"/>
              <a:gd name="connsiteY30" fmla="*/ 1828800 h 4267200"/>
              <a:gd name="connsiteX31" fmla="*/ 1676400 w 6096000"/>
              <a:gd name="connsiteY31" fmla="*/ 1066800 h 4267200"/>
              <a:gd name="connsiteX32" fmla="*/ 914400 w 6096000"/>
              <a:gd name="connsiteY32" fmla="*/ 304800 h 4267200"/>
              <a:gd name="connsiteX33" fmla="*/ 152400 w 6096000"/>
              <a:gd name="connsiteY33" fmla="*/ 1066800 h 4267200"/>
              <a:gd name="connsiteX34" fmla="*/ 914400 w 6096000"/>
              <a:gd name="connsiteY34" fmla="*/ 1828800 h 4267200"/>
              <a:gd name="connsiteX35" fmla="*/ 914400 w 6096000"/>
              <a:gd name="connsiteY35" fmla="*/ 609600 h 4267200"/>
              <a:gd name="connsiteX36" fmla="*/ 1371600 w 6096000"/>
              <a:gd name="connsiteY36" fmla="*/ 1066800 h 4267200"/>
              <a:gd name="connsiteX37" fmla="*/ 914400 w 6096000"/>
              <a:gd name="connsiteY37" fmla="*/ 1524000 h 4267200"/>
              <a:gd name="connsiteX38" fmla="*/ 457200 w 6096000"/>
              <a:gd name="connsiteY38" fmla="*/ 1066800 h 4267200"/>
              <a:gd name="connsiteX39" fmla="*/ 914400 w 6096000"/>
              <a:gd name="connsiteY39" fmla="*/ 609600 h 4267200"/>
              <a:gd name="connsiteX40" fmla="*/ 3810953 w 6096000"/>
              <a:gd name="connsiteY40" fmla="*/ 2324100 h 4267200"/>
              <a:gd name="connsiteX41" fmla="*/ 3048000 w 6096000"/>
              <a:gd name="connsiteY41" fmla="*/ 2438400 h 4267200"/>
              <a:gd name="connsiteX42" fmla="*/ 2285048 w 6096000"/>
              <a:gd name="connsiteY42" fmla="*/ 2324100 h 4267200"/>
              <a:gd name="connsiteX43" fmla="*/ 1405890 w 6096000"/>
              <a:gd name="connsiteY43" fmla="*/ 2770823 h 4267200"/>
              <a:gd name="connsiteX44" fmla="*/ 1219200 w 6096000"/>
              <a:gd name="connsiteY44" fmla="*/ 3383280 h 4267200"/>
              <a:gd name="connsiteX45" fmla="*/ 1219200 w 6096000"/>
              <a:gd name="connsiteY45" fmla="*/ 3810000 h 4267200"/>
              <a:gd name="connsiteX46" fmla="*/ 1676400 w 6096000"/>
              <a:gd name="connsiteY46" fmla="*/ 4267200 h 4267200"/>
              <a:gd name="connsiteX47" fmla="*/ 4419600 w 6096000"/>
              <a:gd name="connsiteY47" fmla="*/ 4267200 h 4267200"/>
              <a:gd name="connsiteX48" fmla="*/ 4876800 w 6096000"/>
              <a:gd name="connsiteY48" fmla="*/ 3810000 h 4267200"/>
              <a:gd name="connsiteX49" fmla="*/ 4876800 w 6096000"/>
              <a:gd name="connsiteY49" fmla="*/ 3383280 h 4267200"/>
              <a:gd name="connsiteX50" fmla="*/ 4690110 w 6096000"/>
              <a:gd name="connsiteY50" fmla="*/ 2770823 h 4267200"/>
              <a:gd name="connsiteX51" fmla="*/ 3810953 w 6096000"/>
              <a:gd name="connsiteY51" fmla="*/ 2324100 h 4267200"/>
              <a:gd name="connsiteX52" fmla="*/ 4572000 w 6096000"/>
              <a:gd name="connsiteY52" fmla="*/ 3810000 h 4267200"/>
              <a:gd name="connsiteX53" fmla="*/ 4419600 w 6096000"/>
              <a:gd name="connsiteY53" fmla="*/ 3962400 h 4267200"/>
              <a:gd name="connsiteX54" fmla="*/ 1676400 w 6096000"/>
              <a:gd name="connsiteY54" fmla="*/ 3962400 h 4267200"/>
              <a:gd name="connsiteX55" fmla="*/ 1524000 w 6096000"/>
              <a:gd name="connsiteY55" fmla="*/ 3810000 h 4267200"/>
              <a:gd name="connsiteX56" fmla="*/ 1524000 w 6096000"/>
              <a:gd name="connsiteY56" fmla="*/ 3383280 h 4267200"/>
              <a:gd name="connsiteX57" fmla="*/ 1658303 w 6096000"/>
              <a:gd name="connsiteY57" fmla="*/ 2941320 h 4267200"/>
              <a:gd name="connsiteX58" fmla="*/ 2284095 w 6096000"/>
              <a:gd name="connsiteY58" fmla="*/ 2628900 h 4267200"/>
              <a:gd name="connsiteX59" fmla="*/ 3048000 w 6096000"/>
              <a:gd name="connsiteY59" fmla="*/ 2743200 h 4267200"/>
              <a:gd name="connsiteX60" fmla="*/ 3810953 w 6096000"/>
              <a:gd name="connsiteY60" fmla="*/ 2628900 h 4267200"/>
              <a:gd name="connsiteX61" fmla="*/ 4436745 w 6096000"/>
              <a:gd name="connsiteY61" fmla="*/ 2941320 h 4267200"/>
              <a:gd name="connsiteX62" fmla="*/ 4571048 w 6096000"/>
              <a:gd name="connsiteY62" fmla="*/ 3383280 h 4267200"/>
              <a:gd name="connsiteX63" fmla="*/ 4571048 w 6096000"/>
              <a:gd name="connsiteY63" fmla="*/ 3810000 h 4267200"/>
              <a:gd name="connsiteX64" fmla="*/ 1496378 w 6096000"/>
              <a:gd name="connsiteY64" fmla="*/ 2256473 h 4267200"/>
              <a:gd name="connsiteX65" fmla="*/ 1104900 w 6096000"/>
              <a:gd name="connsiteY65" fmla="*/ 2133600 h 4267200"/>
              <a:gd name="connsiteX66" fmla="*/ 723900 w 6096000"/>
              <a:gd name="connsiteY66" fmla="*/ 2133600 h 4267200"/>
              <a:gd name="connsiteX67" fmla="*/ 0 w 6096000"/>
              <a:gd name="connsiteY67" fmla="*/ 2895600 h 4267200"/>
              <a:gd name="connsiteX68" fmla="*/ 152400 w 6096000"/>
              <a:gd name="connsiteY68" fmla="*/ 3048000 h 4267200"/>
              <a:gd name="connsiteX69" fmla="*/ 304800 w 6096000"/>
              <a:gd name="connsiteY69" fmla="*/ 2895600 h 4267200"/>
              <a:gd name="connsiteX70" fmla="*/ 723900 w 6096000"/>
              <a:gd name="connsiteY70" fmla="*/ 2438400 h 4267200"/>
              <a:gd name="connsiteX71" fmla="*/ 1104900 w 6096000"/>
              <a:gd name="connsiteY71" fmla="*/ 2438400 h 4267200"/>
              <a:gd name="connsiteX72" fmla="*/ 1254443 w 6096000"/>
              <a:gd name="connsiteY72" fmla="*/ 2469833 h 4267200"/>
              <a:gd name="connsiteX73" fmla="*/ 1496378 w 6096000"/>
              <a:gd name="connsiteY73" fmla="*/ 2256473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6096000" h="4267200">
                <a:moveTo>
                  <a:pt x="5181600" y="1828800"/>
                </a:moveTo>
                <a:cubicBezTo>
                  <a:pt x="5602605" y="1828800"/>
                  <a:pt x="5943600" y="1487805"/>
                  <a:pt x="5943600" y="1066800"/>
                </a:cubicBezTo>
                <a:cubicBezTo>
                  <a:pt x="5943600" y="645795"/>
                  <a:pt x="5602605" y="304800"/>
                  <a:pt x="5181600" y="304800"/>
                </a:cubicBezTo>
                <a:cubicBezTo>
                  <a:pt x="4760595" y="304800"/>
                  <a:pt x="4419600" y="645795"/>
                  <a:pt x="4419600" y="1066800"/>
                </a:cubicBezTo>
                <a:cubicBezTo>
                  <a:pt x="4419600" y="1487805"/>
                  <a:pt x="4760595" y="1828800"/>
                  <a:pt x="5181600" y="1828800"/>
                </a:cubicBezTo>
                <a:close/>
                <a:moveTo>
                  <a:pt x="5181600" y="609600"/>
                </a:moveTo>
                <a:cubicBezTo>
                  <a:pt x="5434013" y="609600"/>
                  <a:pt x="5638800" y="814388"/>
                  <a:pt x="5638800" y="1066800"/>
                </a:cubicBezTo>
                <a:cubicBezTo>
                  <a:pt x="5638800" y="1319213"/>
                  <a:pt x="5434013" y="1524000"/>
                  <a:pt x="5181600" y="1524000"/>
                </a:cubicBezTo>
                <a:cubicBezTo>
                  <a:pt x="4929188" y="1524000"/>
                  <a:pt x="4724400" y="1319213"/>
                  <a:pt x="4724400" y="1066800"/>
                </a:cubicBezTo>
                <a:cubicBezTo>
                  <a:pt x="4724400" y="814388"/>
                  <a:pt x="4929188" y="609600"/>
                  <a:pt x="5181600" y="609600"/>
                </a:cubicBezTo>
                <a:close/>
                <a:moveTo>
                  <a:pt x="3048000" y="2133600"/>
                </a:moveTo>
                <a:cubicBezTo>
                  <a:pt x="3637598" y="2133600"/>
                  <a:pt x="4114800" y="1656398"/>
                  <a:pt x="4114800" y="1066800"/>
                </a:cubicBezTo>
                <a:cubicBezTo>
                  <a:pt x="4114800" y="477203"/>
                  <a:pt x="3637598" y="0"/>
                  <a:pt x="3048000" y="0"/>
                </a:cubicBezTo>
                <a:cubicBezTo>
                  <a:pt x="2458403" y="0"/>
                  <a:pt x="1981200" y="477203"/>
                  <a:pt x="1981200" y="1066800"/>
                </a:cubicBezTo>
                <a:cubicBezTo>
                  <a:pt x="1981200" y="1656398"/>
                  <a:pt x="2458403" y="2133600"/>
                  <a:pt x="3048000" y="2133600"/>
                </a:cubicBezTo>
                <a:close/>
                <a:moveTo>
                  <a:pt x="3048000" y="304800"/>
                </a:moveTo>
                <a:cubicBezTo>
                  <a:pt x="3468053" y="304800"/>
                  <a:pt x="3810000" y="646748"/>
                  <a:pt x="3810000" y="1066800"/>
                </a:cubicBezTo>
                <a:cubicBezTo>
                  <a:pt x="3810000" y="1486853"/>
                  <a:pt x="3468053" y="1828800"/>
                  <a:pt x="3048000" y="1828800"/>
                </a:cubicBezTo>
                <a:cubicBezTo>
                  <a:pt x="2627948" y="1828800"/>
                  <a:pt x="2286000" y="1486853"/>
                  <a:pt x="2286000" y="1066800"/>
                </a:cubicBezTo>
                <a:cubicBezTo>
                  <a:pt x="2286000" y="646748"/>
                  <a:pt x="2627948" y="304800"/>
                  <a:pt x="3048000" y="304800"/>
                </a:cubicBezTo>
                <a:close/>
                <a:moveTo>
                  <a:pt x="5372100" y="2133600"/>
                </a:moveTo>
                <a:lnTo>
                  <a:pt x="4991100" y="2133600"/>
                </a:lnTo>
                <a:cubicBezTo>
                  <a:pt x="4846320" y="2133600"/>
                  <a:pt x="4712018" y="2179320"/>
                  <a:pt x="4599623" y="2256473"/>
                </a:cubicBezTo>
                <a:cubicBezTo>
                  <a:pt x="4689158" y="2317433"/>
                  <a:pt x="4770120" y="2388870"/>
                  <a:pt x="4841558" y="2469833"/>
                </a:cubicBezTo>
                <a:cubicBezTo>
                  <a:pt x="4888230" y="2449830"/>
                  <a:pt x="4938713" y="2438400"/>
                  <a:pt x="4991100" y="2438400"/>
                </a:cubicBezTo>
                <a:lnTo>
                  <a:pt x="5372100" y="2438400"/>
                </a:lnTo>
                <a:cubicBezTo>
                  <a:pt x="5602605" y="2438400"/>
                  <a:pt x="5791200" y="2643188"/>
                  <a:pt x="5791200" y="2895600"/>
                </a:cubicBezTo>
                <a:cubicBezTo>
                  <a:pt x="5791200" y="2979420"/>
                  <a:pt x="5859780" y="3048000"/>
                  <a:pt x="5943600" y="3048000"/>
                </a:cubicBezTo>
                <a:cubicBezTo>
                  <a:pt x="6027420" y="3048000"/>
                  <a:pt x="6096000" y="2979420"/>
                  <a:pt x="6096000" y="2895600"/>
                </a:cubicBezTo>
                <a:cubicBezTo>
                  <a:pt x="6096000" y="2475548"/>
                  <a:pt x="5771198" y="2133600"/>
                  <a:pt x="5372100" y="2133600"/>
                </a:cubicBezTo>
                <a:close/>
                <a:moveTo>
                  <a:pt x="914400" y="1828800"/>
                </a:moveTo>
                <a:cubicBezTo>
                  <a:pt x="1335405" y="1828800"/>
                  <a:pt x="1676400" y="1487805"/>
                  <a:pt x="1676400" y="1066800"/>
                </a:cubicBezTo>
                <a:cubicBezTo>
                  <a:pt x="1676400" y="645795"/>
                  <a:pt x="1335405" y="304800"/>
                  <a:pt x="914400" y="304800"/>
                </a:cubicBezTo>
                <a:cubicBezTo>
                  <a:pt x="493395" y="304800"/>
                  <a:pt x="152400" y="645795"/>
                  <a:pt x="152400" y="1066800"/>
                </a:cubicBezTo>
                <a:cubicBezTo>
                  <a:pt x="152400" y="1487805"/>
                  <a:pt x="493395" y="1828800"/>
                  <a:pt x="914400" y="1828800"/>
                </a:cubicBezTo>
                <a:close/>
                <a:moveTo>
                  <a:pt x="914400" y="609600"/>
                </a:moveTo>
                <a:cubicBezTo>
                  <a:pt x="1166813" y="609600"/>
                  <a:pt x="1371600" y="814388"/>
                  <a:pt x="1371600" y="1066800"/>
                </a:cubicBezTo>
                <a:cubicBezTo>
                  <a:pt x="1371600" y="1319213"/>
                  <a:pt x="1166813" y="1524000"/>
                  <a:pt x="914400" y="1524000"/>
                </a:cubicBezTo>
                <a:cubicBezTo>
                  <a:pt x="661988" y="1524000"/>
                  <a:pt x="457200" y="1319213"/>
                  <a:pt x="457200" y="1066800"/>
                </a:cubicBezTo>
                <a:cubicBezTo>
                  <a:pt x="457200" y="814388"/>
                  <a:pt x="661988" y="609600"/>
                  <a:pt x="914400" y="609600"/>
                </a:cubicBezTo>
                <a:close/>
                <a:moveTo>
                  <a:pt x="3810953" y="2324100"/>
                </a:moveTo>
                <a:cubicBezTo>
                  <a:pt x="3492818" y="2324100"/>
                  <a:pt x="3413760" y="2438400"/>
                  <a:pt x="3048000" y="2438400"/>
                </a:cubicBezTo>
                <a:cubicBezTo>
                  <a:pt x="2682240" y="2438400"/>
                  <a:pt x="2603183" y="2324100"/>
                  <a:pt x="2285048" y="2324100"/>
                </a:cubicBezTo>
                <a:cubicBezTo>
                  <a:pt x="1939290" y="2324100"/>
                  <a:pt x="1603058" y="2478405"/>
                  <a:pt x="1405890" y="2770823"/>
                </a:cubicBezTo>
                <a:cubicBezTo>
                  <a:pt x="1287780" y="2946083"/>
                  <a:pt x="1219200" y="3156585"/>
                  <a:pt x="1219200" y="3383280"/>
                </a:cubicBezTo>
                <a:lnTo>
                  <a:pt x="1219200" y="3810000"/>
                </a:lnTo>
                <a:cubicBezTo>
                  <a:pt x="1219200" y="4062413"/>
                  <a:pt x="1423988" y="4267200"/>
                  <a:pt x="1676400" y="4267200"/>
                </a:cubicBezTo>
                <a:lnTo>
                  <a:pt x="4419600" y="4267200"/>
                </a:lnTo>
                <a:cubicBezTo>
                  <a:pt x="4672013" y="4267200"/>
                  <a:pt x="4876800" y="4062413"/>
                  <a:pt x="4876800" y="3810000"/>
                </a:cubicBezTo>
                <a:lnTo>
                  <a:pt x="4876800" y="3383280"/>
                </a:lnTo>
                <a:cubicBezTo>
                  <a:pt x="4876800" y="3156585"/>
                  <a:pt x="4808220" y="2946083"/>
                  <a:pt x="4690110" y="2770823"/>
                </a:cubicBezTo>
                <a:cubicBezTo>
                  <a:pt x="4492943" y="2478405"/>
                  <a:pt x="4156710" y="2324100"/>
                  <a:pt x="3810953" y="2324100"/>
                </a:cubicBezTo>
                <a:close/>
                <a:moveTo>
                  <a:pt x="4572000" y="3810000"/>
                </a:moveTo>
                <a:cubicBezTo>
                  <a:pt x="4572000" y="3893820"/>
                  <a:pt x="4503420" y="3962400"/>
                  <a:pt x="4419600" y="3962400"/>
                </a:cubicBezTo>
                <a:lnTo>
                  <a:pt x="1676400" y="3962400"/>
                </a:lnTo>
                <a:cubicBezTo>
                  <a:pt x="1592580" y="3962400"/>
                  <a:pt x="1524000" y="3893820"/>
                  <a:pt x="1524000" y="3810000"/>
                </a:cubicBezTo>
                <a:lnTo>
                  <a:pt x="1524000" y="3383280"/>
                </a:lnTo>
                <a:cubicBezTo>
                  <a:pt x="1524000" y="3225165"/>
                  <a:pt x="1570673" y="3071813"/>
                  <a:pt x="1658303" y="2941320"/>
                </a:cubicBezTo>
                <a:cubicBezTo>
                  <a:pt x="1789748" y="2746058"/>
                  <a:pt x="2024063" y="2628900"/>
                  <a:pt x="2284095" y="2628900"/>
                </a:cubicBezTo>
                <a:cubicBezTo>
                  <a:pt x="2545080" y="2628900"/>
                  <a:pt x="2638425" y="2743200"/>
                  <a:pt x="3048000" y="2743200"/>
                </a:cubicBezTo>
                <a:cubicBezTo>
                  <a:pt x="3457575" y="2743200"/>
                  <a:pt x="3550920" y="2628900"/>
                  <a:pt x="3810953" y="2628900"/>
                </a:cubicBezTo>
                <a:cubicBezTo>
                  <a:pt x="4070985" y="2628900"/>
                  <a:pt x="4305300" y="2746058"/>
                  <a:pt x="4436745" y="2941320"/>
                </a:cubicBezTo>
                <a:cubicBezTo>
                  <a:pt x="4524375" y="3071813"/>
                  <a:pt x="4571048" y="3225165"/>
                  <a:pt x="4571048" y="3383280"/>
                </a:cubicBezTo>
                <a:lnTo>
                  <a:pt x="4571048" y="3810000"/>
                </a:lnTo>
                <a:close/>
                <a:moveTo>
                  <a:pt x="1496378" y="2256473"/>
                </a:moveTo>
                <a:cubicBezTo>
                  <a:pt x="1383030" y="2179320"/>
                  <a:pt x="1248728" y="2133600"/>
                  <a:pt x="1104900" y="2133600"/>
                </a:cubicBezTo>
                <a:lnTo>
                  <a:pt x="723900" y="2133600"/>
                </a:lnTo>
                <a:cubicBezTo>
                  <a:pt x="324803" y="2133600"/>
                  <a:pt x="0" y="2475548"/>
                  <a:pt x="0" y="2895600"/>
                </a:cubicBezTo>
                <a:cubicBezTo>
                  <a:pt x="0" y="2979420"/>
                  <a:pt x="68580" y="3048000"/>
                  <a:pt x="152400" y="3048000"/>
                </a:cubicBezTo>
                <a:cubicBezTo>
                  <a:pt x="236220" y="3048000"/>
                  <a:pt x="304800" y="2979420"/>
                  <a:pt x="304800" y="2895600"/>
                </a:cubicBezTo>
                <a:cubicBezTo>
                  <a:pt x="304800" y="2643188"/>
                  <a:pt x="493395" y="2438400"/>
                  <a:pt x="723900" y="2438400"/>
                </a:cubicBezTo>
                <a:lnTo>
                  <a:pt x="1104900" y="2438400"/>
                </a:lnTo>
                <a:cubicBezTo>
                  <a:pt x="1157288" y="2438400"/>
                  <a:pt x="1207770" y="2449830"/>
                  <a:pt x="1254443" y="2469833"/>
                </a:cubicBezTo>
                <a:cubicBezTo>
                  <a:pt x="1325880" y="2388870"/>
                  <a:pt x="1407795" y="2317433"/>
                  <a:pt x="1496378" y="2256473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1590705-2440-414C-BC1F-840D67DC1012}"/>
              </a:ext>
            </a:extLst>
          </p:cNvPr>
          <p:cNvSpPr txBox="1">
            <a:spLocks/>
          </p:cNvSpPr>
          <p:nvPr/>
        </p:nvSpPr>
        <p:spPr bwMode="gray">
          <a:xfrm>
            <a:off x="1253739" y="3941258"/>
            <a:ext cx="4662874" cy="54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b="1" dirty="0">
                <a:latin typeface="Segoe UI" panose="020B0502040204020203" pitchFamily="34" charset="0"/>
                <a:cs typeface="Segoe UI" panose="020B0502040204020203" pitchFamily="34" charset="0"/>
              </a:rPr>
              <a:t>Integration</a:t>
            </a:r>
            <a:r>
              <a:rPr lang="de-DE" dirty="0"/>
              <a:t> einer Vielzahl von Tools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961754C-4306-41FF-A931-730ED01BB621}"/>
              </a:ext>
            </a:extLst>
          </p:cNvPr>
          <p:cNvSpPr txBox="1">
            <a:spLocks/>
          </p:cNvSpPr>
          <p:nvPr/>
        </p:nvSpPr>
        <p:spPr bwMode="gray">
          <a:xfrm>
            <a:off x="7048500" y="3941258"/>
            <a:ext cx="4662874" cy="54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Individuell anpassbare </a:t>
            </a:r>
            <a:r>
              <a:rPr lang="de-DE" b="1" dirty="0">
                <a:latin typeface="Segoe UI" panose="020B0502040204020203" pitchFamily="34" charset="0"/>
                <a:cs typeface="Segoe UI" panose="020B0502040204020203" pitchFamily="34" charset="0"/>
              </a:rPr>
              <a:t>Workflows</a:t>
            </a:r>
          </a:p>
        </p:txBody>
      </p:sp>
      <p:sp>
        <p:nvSpPr>
          <p:cNvPr id="24" name="Graphic 58">
            <a:extLst>
              <a:ext uri="{FF2B5EF4-FFF2-40B4-BE49-F238E27FC236}">
                <a16:creationId xmlns:a16="http://schemas.microsoft.com/office/drawing/2014/main" id="{72F615F4-E27B-4B82-A6A8-DF03934DE046}"/>
              </a:ext>
            </a:extLst>
          </p:cNvPr>
          <p:cNvSpPr>
            <a:spLocks noChangeAspect="1"/>
          </p:cNvSpPr>
          <p:nvPr/>
        </p:nvSpPr>
        <p:spPr>
          <a:xfrm>
            <a:off x="572805" y="4030100"/>
            <a:ext cx="414047" cy="362317"/>
          </a:xfrm>
          <a:custGeom>
            <a:avLst/>
            <a:gdLst>
              <a:gd name="connsiteX0" fmla="*/ 0 w 4876561"/>
              <a:gd name="connsiteY0" fmla="*/ 914547 h 4267292"/>
              <a:gd name="connsiteX1" fmla="*/ 0 w 4876561"/>
              <a:gd name="connsiteY1" fmla="*/ 838347 h 4267292"/>
              <a:gd name="connsiteX2" fmla="*/ 114300 w 4876561"/>
              <a:gd name="connsiteY2" fmla="*/ 724047 h 4267292"/>
              <a:gd name="connsiteX3" fmla="*/ 1122045 w 4876561"/>
              <a:gd name="connsiteY3" fmla="*/ 724047 h 4267292"/>
              <a:gd name="connsiteX4" fmla="*/ 1205865 w 4876561"/>
              <a:gd name="connsiteY4" fmla="*/ 761195 h 4267292"/>
              <a:gd name="connsiteX5" fmla="*/ 2060258 w 4876561"/>
              <a:gd name="connsiteY5" fmla="*/ 1685120 h 4267292"/>
              <a:gd name="connsiteX6" fmla="*/ 1852613 w 4876561"/>
              <a:gd name="connsiteY6" fmla="*/ 1909910 h 4267292"/>
              <a:gd name="connsiteX7" fmla="*/ 1038225 w 4876561"/>
              <a:gd name="connsiteY7" fmla="*/ 1028847 h 4267292"/>
              <a:gd name="connsiteX8" fmla="*/ 114300 w 4876561"/>
              <a:gd name="connsiteY8" fmla="*/ 1028847 h 4267292"/>
              <a:gd name="connsiteX9" fmla="*/ 0 w 4876561"/>
              <a:gd name="connsiteY9" fmla="*/ 914547 h 4267292"/>
              <a:gd name="connsiteX10" fmla="*/ 4787265 w 4876561"/>
              <a:gd name="connsiteY10" fmla="*/ 3568212 h 4267292"/>
              <a:gd name="connsiteX11" fmla="*/ 4177665 w 4876561"/>
              <a:gd name="connsiteY11" fmla="*/ 4177812 h 4267292"/>
              <a:gd name="connsiteX12" fmla="*/ 3657600 w 4876561"/>
              <a:gd name="connsiteY12" fmla="*/ 3962547 h 4267292"/>
              <a:gd name="connsiteX13" fmla="*/ 3657600 w 4876561"/>
              <a:gd name="connsiteY13" fmla="*/ 3543447 h 4267292"/>
              <a:gd name="connsiteX14" fmla="*/ 3412808 w 4876561"/>
              <a:gd name="connsiteY14" fmla="*/ 3543447 h 4267292"/>
              <a:gd name="connsiteX15" fmla="*/ 3328988 w 4876561"/>
              <a:gd name="connsiteY15" fmla="*/ 3506300 h 4267292"/>
              <a:gd name="connsiteX16" fmla="*/ 2474595 w 4876561"/>
              <a:gd name="connsiteY16" fmla="*/ 2582375 h 4267292"/>
              <a:gd name="connsiteX17" fmla="*/ 2682240 w 4876561"/>
              <a:gd name="connsiteY17" fmla="*/ 2357585 h 4267292"/>
              <a:gd name="connsiteX18" fmla="*/ 3495675 w 4876561"/>
              <a:gd name="connsiteY18" fmla="*/ 3238647 h 4267292"/>
              <a:gd name="connsiteX19" fmla="*/ 3657600 w 4876561"/>
              <a:gd name="connsiteY19" fmla="*/ 3238647 h 4267292"/>
              <a:gd name="connsiteX20" fmla="*/ 3657600 w 4876561"/>
              <a:gd name="connsiteY20" fmla="*/ 2743347 h 4267292"/>
              <a:gd name="connsiteX21" fmla="*/ 4177665 w 4876561"/>
              <a:gd name="connsiteY21" fmla="*/ 2528082 h 4267292"/>
              <a:gd name="connsiteX22" fmla="*/ 4787265 w 4876561"/>
              <a:gd name="connsiteY22" fmla="*/ 3137682 h 4267292"/>
              <a:gd name="connsiteX23" fmla="*/ 4787265 w 4876561"/>
              <a:gd name="connsiteY23" fmla="*/ 3568212 h 4267292"/>
              <a:gd name="connsiteX24" fmla="*/ 4598670 w 4876561"/>
              <a:gd name="connsiteY24" fmla="*/ 3326277 h 4267292"/>
              <a:gd name="connsiteX25" fmla="*/ 3989070 w 4876561"/>
              <a:gd name="connsiteY25" fmla="*/ 2716677 h 4267292"/>
              <a:gd name="connsiteX26" fmla="*/ 3924300 w 4876561"/>
              <a:gd name="connsiteY26" fmla="*/ 2743347 h 4267292"/>
              <a:gd name="connsiteX27" fmla="*/ 3924300 w 4876561"/>
              <a:gd name="connsiteY27" fmla="*/ 3962547 h 4267292"/>
              <a:gd name="connsiteX28" fmla="*/ 3989070 w 4876561"/>
              <a:gd name="connsiteY28" fmla="*/ 3989217 h 4267292"/>
              <a:gd name="connsiteX29" fmla="*/ 4598670 w 4876561"/>
              <a:gd name="connsiteY29" fmla="*/ 3379617 h 4267292"/>
              <a:gd name="connsiteX30" fmla="*/ 4598670 w 4876561"/>
              <a:gd name="connsiteY30" fmla="*/ 3326277 h 4267292"/>
              <a:gd name="connsiteX31" fmla="*/ 4787265 w 4876561"/>
              <a:gd name="connsiteY31" fmla="*/ 1129812 h 4267292"/>
              <a:gd name="connsiteX32" fmla="*/ 4177665 w 4876561"/>
              <a:gd name="connsiteY32" fmla="*/ 1739412 h 4267292"/>
              <a:gd name="connsiteX33" fmla="*/ 3657600 w 4876561"/>
              <a:gd name="connsiteY33" fmla="*/ 1524147 h 4267292"/>
              <a:gd name="connsiteX34" fmla="*/ 3657600 w 4876561"/>
              <a:gd name="connsiteY34" fmla="*/ 1028847 h 4267292"/>
              <a:gd name="connsiteX35" fmla="*/ 3495675 w 4876561"/>
              <a:gd name="connsiteY35" fmla="*/ 1028847 h 4267292"/>
              <a:gd name="connsiteX36" fmla="*/ 1205865 w 4876561"/>
              <a:gd name="connsiteY36" fmla="*/ 3506300 h 4267292"/>
              <a:gd name="connsiteX37" fmla="*/ 1122045 w 4876561"/>
              <a:gd name="connsiteY37" fmla="*/ 3543447 h 4267292"/>
              <a:gd name="connsiteX38" fmla="*/ 114300 w 4876561"/>
              <a:gd name="connsiteY38" fmla="*/ 3543447 h 4267292"/>
              <a:gd name="connsiteX39" fmla="*/ 0 w 4876561"/>
              <a:gd name="connsiteY39" fmla="*/ 3429147 h 4267292"/>
              <a:gd name="connsiteX40" fmla="*/ 0 w 4876561"/>
              <a:gd name="connsiteY40" fmla="*/ 3352947 h 4267292"/>
              <a:gd name="connsiteX41" fmla="*/ 114300 w 4876561"/>
              <a:gd name="connsiteY41" fmla="*/ 3238647 h 4267292"/>
              <a:gd name="connsiteX42" fmla="*/ 1038225 w 4876561"/>
              <a:gd name="connsiteY42" fmla="*/ 3238647 h 4267292"/>
              <a:gd name="connsiteX43" fmla="*/ 3328035 w 4876561"/>
              <a:gd name="connsiteY43" fmla="*/ 761195 h 4267292"/>
              <a:gd name="connsiteX44" fmla="*/ 3411855 w 4876561"/>
              <a:gd name="connsiteY44" fmla="*/ 724047 h 4267292"/>
              <a:gd name="connsiteX45" fmla="*/ 3657600 w 4876561"/>
              <a:gd name="connsiteY45" fmla="*/ 724047 h 4267292"/>
              <a:gd name="connsiteX46" fmla="*/ 3657600 w 4876561"/>
              <a:gd name="connsiteY46" fmla="*/ 304947 h 4267292"/>
              <a:gd name="connsiteX47" fmla="*/ 4177665 w 4876561"/>
              <a:gd name="connsiteY47" fmla="*/ 89682 h 4267292"/>
              <a:gd name="connsiteX48" fmla="*/ 4787265 w 4876561"/>
              <a:gd name="connsiteY48" fmla="*/ 699282 h 4267292"/>
              <a:gd name="connsiteX49" fmla="*/ 4787265 w 4876561"/>
              <a:gd name="connsiteY49" fmla="*/ 1129812 h 4267292"/>
              <a:gd name="connsiteX50" fmla="*/ 4598670 w 4876561"/>
              <a:gd name="connsiteY50" fmla="*/ 887877 h 4267292"/>
              <a:gd name="connsiteX51" fmla="*/ 3989070 w 4876561"/>
              <a:gd name="connsiteY51" fmla="*/ 278277 h 4267292"/>
              <a:gd name="connsiteX52" fmla="*/ 3924300 w 4876561"/>
              <a:gd name="connsiteY52" fmla="*/ 304947 h 4267292"/>
              <a:gd name="connsiteX53" fmla="*/ 3924300 w 4876561"/>
              <a:gd name="connsiteY53" fmla="*/ 1524147 h 4267292"/>
              <a:gd name="connsiteX54" fmla="*/ 3989070 w 4876561"/>
              <a:gd name="connsiteY54" fmla="*/ 1550817 h 4267292"/>
              <a:gd name="connsiteX55" fmla="*/ 4598670 w 4876561"/>
              <a:gd name="connsiteY55" fmla="*/ 941217 h 4267292"/>
              <a:gd name="connsiteX56" fmla="*/ 4598670 w 4876561"/>
              <a:gd name="connsiteY56" fmla="*/ 887877 h 4267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4876561" h="4267292">
                <a:moveTo>
                  <a:pt x="0" y="914547"/>
                </a:moveTo>
                <a:lnTo>
                  <a:pt x="0" y="838347"/>
                </a:lnTo>
                <a:cubicBezTo>
                  <a:pt x="0" y="775482"/>
                  <a:pt x="51435" y="724047"/>
                  <a:pt x="114300" y="724047"/>
                </a:cubicBezTo>
                <a:lnTo>
                  <a:pt x="1122045" y="724047"/>
                </a:lnTo>
                <a:cubicBezTo>
                  <a:pt x="1153478" y="724047"/>
                  <a:pt x="1183958" y="737382"/>
                  <a:pt x="1205865" y="761195"/>
                </a:cubicBezTo>
                <a:lnTo>
                  <a:pt x="2060258" y="1685120"/>
                </a:lnTo>
                <a:lnTo>
                  <a:pt x="1852613" y="1909910"/>
                </a:lnTo>
                <a:lnTo>
                  <a:pt x="1038225" y="1028847"/>
                </a:lnTo>
                <a:lnTo>
                  <a:pt x="114300" y="1028847"/>
                </a:lnTo>
                <a:cubicBezTo>
                  <a:pt x="51435" y="1028847"/>
                  <a:pt x="0" y="977412"/>
                  <a:pt x="0" y="914547"/>
                </a:cubicBezTo>
                <a:close/>
                <a:moveTo>
                  <a:pt x="4787265" y="3568212"/>
                </a:moveTo>
                <a:lnTo>
                  <a:pt x="4177665" y="4177812"/>
                </a:lnTo>
                <a:cubicBezTo>
                  <a:pt x="3986213" y="4369265"/>
                  <a:pt x="3657600" y="4233057"/>
                  <a:pt x="3657600" y="3962547"/>
                </a:cubicBezTo>
                <a:lnTo>
                  <a:pt x="3657600" y="3543447"/>
                </a:lnTo>
                <a:lnTo>
                  <a:pt x="3412808" y="3543447"/>
                </a:lnTo>
                <a:cubicBezTo>
                  <a:pt x="3381375" y="3543447"/>
                  <a:pt x="3350895" y="3530112"/>
                  <a:pt x="3328988" y="3506300"/>
                </a:cubicBezTo>
                <a:lnTo>
                  <a:pt x="2474595" y="2582375"/>
                </a:lnTo>
                <a:lnTo>
                  <a:pt x="2682240" y="2357585"/>
                </a:lnTo>
                <a:lnTo>
                  <a:pt x="3495675" y="3238647"/>
                </a:lnTo>
                <a:lnTo>
                  <a:pt x="3657600" y="3238647"/>
                </a:lnTo>
                <a:lnTo>
                  <a:pt x="3657600" y="2743347"/>
                </a:lnTo>
                <a:cubicBezTo>
                  <a:pt x="3657600" y="2471885"/>
                  <a:pt x="3986213" y="2336630"/>
                  <a:pt x="4177665" y="2528082"/>
                </a:cubicBezTo>
                <a:lnTo>
                  <a:pt x="4787265" y="3137682"/>
                </a:lnTo>
                <a:cubicBezTo>
                  <a:pt x="4906328" y="3256745"/>
                  <a:pt x="4906328" y="3449150"/>
                  <a:pt x="4787265" y="3568212"/>
                </a:cubicBezTo>
                <a:close/>
                <a:moveTo>
                  <a:pt x="4598670" y="3326277"/>
                </a:moveTo>
                <a:lnTo>
                  <a:pt x="3989070" y="2716677"/>
                </a:lnTo>
                <a:cubicBezTo>
                  <a:pt x="3965258" y="2692865"/>
                  <a:pt x="3924300" y="2710010"/>
                  <a:pt x="3924300" y="2743347"/>
                </a:cubicBezTo>
                <a:lnTo>
                  <a:pt x="3924300" y="3962547"/>
                </a:lnTo>
                <a:cubicBezTo>
                  <a:pt x="3924300" y="3996837"/>
                  <a:pt x="3965258" y="4013982"/>
                  <a:pt x="3989070" y="3989217"/>
                </a:cubicBezTo>
                <a:lnTo>
                  <a:pt x="4598670" y="3379617"/>
                </a:lnTo>
                <a:cubicBezTo>
                  <a:pt x="4613910" y="3365330"/>
                  <a:pt x="4613910" y="3340565"/>
                  <a:pt x="4598670" y="3326277"/>
                </a:cubicBezTo>
                <a:close/>
                <a:moveTo>
                  <a:pt x="4787265" y="1129812"/>
                </a:moveTo>
                <a:lnTo>
                  <a:pt x="4177665" y="1739412"/>
                </a:lnTo>
                <a:cubicBezTo>
                  <a:pt x="3986213" y="1930865"/>
                  <a:pt x="3657600" y="1794657"/>
                  <a:pt x="3657600" y="1524147"/>
                </a:cubicBezTo>
                <a:lnTo>
                  <a:pt x="3657600" y="1028847"/>
                </a:lnTo>
                <a:lnTo>
                  <a:pt x="3495675" y="1028847"/>
                </a:lnTo>
                <a:lnTo>
                  <a:pt x="1205865" y="3506300"/>
                </a:lnTo>
                <a:cubicBezTo>
                  <a:pt x="1183958" y="3530112"/>
                  <a:pt x="1153478" y="3543447"/>
                  <a:pt x="1122045" y="3543447"/>
                </a:cubicBezTo>
                <a:lnTo>
                  <a:pt x="114300" y="3543447"/>
                </a:lnTo>
                <a:cubicBezTo>
                  <a:pt x="51435" y="3543447"/>
                  <a:pt x="0" y="3492012"/>
                  <a:pt x="0" y="3429147"/>
                </a:cubicBezTo>
                <a:lnTo>
                  <a:pt x="0" y="3352947"/>
                </a:lnTo>
                <a:cubicBezTo>
                  <a:pt x="0" y="3290082"/>
                  <a:pt x="51435" y="3238647"/>
                  <a:pt x="114300" y="3238647"/>
                </a:cubicBezTo>
                <a:lnTo>
                  <a:pt x="1038225" y="3238647"/>
                </a:lnTo>
                <a:lnTo>
                  <a:pt x="3328035" y="761195"/>
                </a:lnTo>
                <a:cubicBezTo>
                  <a:pt x="3349943" y="737382"/>
                  <a:pt x="3380423" y="724047"/>
                  <a:pt x="3411855" y="724047"/>
                </a:cubicBezTo>
                <a:lnTo>
                  <a:pt x="3657600" y="724047"/>
                </a:lnTo>
                <a:lnTo>
                  <a:pt x="3657600" y="304947"/>
                </a:lnTo>
                <a:cubicBezTo>
                  <a:pt x="3657600" y="33485"/>
                  <a:pt x="3986213" y="-101771"/>
                  <a:pt x="4177665" y="89682"/>
                </a:cubicBezTo>
                <a:lnTo>
                  <a:pt x="4787265" y="699282"/>
                </a:lnTo>
                <a:cubicBezTo>
                  <a:pt x="4906328" y="818345"/>
                  <a:pt x="4906328" y="1010750"/>
                  <a:pt x="4787265" y="1129812"/>
                </a:cubicBezTo>
                <a:close/>
                <a:moveTo>
                  <a:pt x="4598670" y="887877"/>
                </a:moveTo>
                <a:lnTo>
                  <a:pt x="3989070" y="278277"/>
                </a:lnTo>
                <a:cubicBezTo>
                  <a:pt x="3965258" y="254465"/>
                  <a:pt x="3924300" y="271610"/>
                  <a:pt x="3924300" y="304947"/>
                </a:cubicBezTo>
                <a:lnTo>
                  <a:pt x="3924300" y="1524147"/>
                </a:lnTo>
                <a:cubicBezTo>
                  <a:pt x="3924300" y="1558437"/>
                  <a:pt x="3965258" y="1575582"/>
                  <a:pt x="3989070" y="1550817"/>
                </a:cubicBezTo>
                <a:lnTo>
                  <a:pt x="4598670" y="941217"/>
                </a:lnTo>
                <a:cubicBezTo>
                  <a:pt x="4613910" y="926930"/>
                  <a:pt x="4613910" y="902165"/>
                  <a:pt x="4598670" y="887877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39" name="Graphic 4">
            <a:extLst>
              <a:ext uri="{FF2B5EF4-FFF2-40B4-BE49-F238E27FC236}">
                <a16:creationId xmlns:a16="http://schemas.microsoft.com/office/drawing/2014/main" id="{D401FF54-D961-456D-AF43-2BE8276722A8}"/>
              </a:ext>
            </a:extLst>
          </p:cNvPr>
          <p:cNvSpPr>
            <a:spLocks noChangeAspect="1"/>
          </p:cNvSpPr>
          <p:nvPr/>
        </p:nvSpPr>
        <p:spPr>
          <a:xfrm>
            <a:off x="6345824" y="4026651"/>
            <a:ext cx="461396" cy="369215"/>
          </a:xfrm>
          <a:custGeom>
            <a:avLst/>
            <a:gdLst>
              <a:gd name="connsiteX0" fmla="*/ 5130412 w 6096961"/>
              <a:gd name="connsiteY0" fmla="*/ 1871666 h 4878872"/>
              <a:gd name="connsiteX1" fmla="*/ 5106600 w 6096961"/>
              <a:gd name="connsiteY1" fmla="*/ 1834519 h 4878872"/>
              <a:gd name="connsiteX2" fmla="*/ 4990395 w 6096961"/>
              <a:gd name="connsiteY2" fmla="*/ 1834519 h 4878872"/>
              <a:gd name="connsiteX3" fmla="*/ 4966583 w 6096961"/>
              <a:gd name="connsiteY3" fmla="*/ 1872619 h 4878872"/>
              <a:gd name="connsiteX4" fmla="*/ 4704645 w 6096961"/>
              <a:gd name="connsiteY4" fmla="*/ 1968822 h 4878872"/>
              <a:gd name="connsiteX5" fmla="*/ 4377938 w 6096961"/>
              <a:gd name="connsiteY5" fmla="*/ 1796419 h 4878872"/>
              <a:gd name="connsiteX6" fmla="*/ 4326503 w 6096961"/>
              <a:gd name="connsiteY6" fmla="*/ 1506859 h 4878872"/>
              <a:gd name="connsiteX7" fmla="*/ 4350315 w 6096961"/>
              <a:gd name="connsiteY7" fmla="*/ 1465901 h 4878872"/>
              <a:gd name="connsiteX8" fmla="*/ 4292213 w 6096961"/>
              <a:gd name="connsiteY8" fmla="*/ 1364936 h 4878872"/>
              <a:gd name="connsiteX9" fmla="*/ 4205535 w 6096961"/>
              <a:gd name="connsiteY9" fmla="*/ 1364936 h 4878872"/>
              <a:gd name="connsiteX10" fmla="*/ 3980745 w 6096961"/>
              <a:gd name="connsiteY10" fmla="*/ 1178246 h 4878872"/>
              <a:gd name="connsiteX11" fmla="*/ 3981698 w 6096961"/>
              <a:gd name="connsiteY11" fmla="*/ 811534 h 4878872"/>
              <a:gd name="connsiteX12" fmla="*/ 4206488 w 6096961"/>
              <a:gd name="connsiteY12" fmla="*/ 625796 h 4878872"/>
              <a:gd name="connsiteX13" fmla="*/ 4292213 w 6096961"/>
              <a:gd name="connsiteY13" fmla="*/ 625796 h 4878872"/>
              <a:gd name="connsiteX14" fmla="*/ 4350315 w 6096961"/>
              <a:gd name="connsiteY14" fmla="*/ 524831 h 4878872"/>
              <a:gd name="connsiteX15" fmla="*/ 4325550 w 6096961"/>
              <a:gd name="connsiteY15" fmla="*/ 481969 h 4878872"/>
              <a:gd name="connsiteX16" fmla="*/ 4375080 w 6096961"/>
              <a:gd name="connsiteY16" fmla="*/ 193361 h 4878872"/>
              <a:gd name="connsiteX17" fmla="*/ 4694168 w 6096961"/>
              <a:gd name="connsiteY17" fmla="*/ 12386 h 4878872"/>
              <a:gd name="connsiteX18" fmla="*/ 4965630 w 6096961"/>
              <a:gd name="connsiteY18" fmla="*/ 113351 h 4878872"/>
              <a:gd name="connsiteX19" fmla="*/ 4990395 w 6096961"/>
              <a:gd name="connsiteY19" fmla="*/ 155261 h 4878872"/>
              <a:gd name="connsiteX20" fmla="*/ 5106600 w 6096961"/>
              <a:gd name="connsiteY20" fmla="*/ 155261 h 4878872"/>
              <a:gd name="connsiteX21" fmla="*/ 5131365 w 6096961"/>
              <a:gd name="connsiteY21" fmla="*/ 113351 h 4878872"/>
              <a:gd name="connsiteX22" fmla="*/ 5403780 w 6096961"/>
              <a:gd name="connsiteY22" fmla="*/ 13339 h 4878872"/>
              <a:gd name="connsiteX23" fmla="*/ 5722868 w 6096961"/>
              <a:gd name="connsiteY23" fmla="*/ 195266 h 4878872"/>
              <a:gd name="connsiteX24" fmla="*/ 5771445 w 6096961"/>
              <a:gd name="connsiteY24" fmla="*/ 482921 h 4878872"/>
              <a:gd name="connsiteX25" fmla="*/ 5746680 w 6096961"/>
              <a:gd name="connsiteY25" fmla="*/ 524831 h 4878872"/>
              <a:gd name="connsiteX26" fmla="*/ 5804783 w 6096961"/>
              <a:gd name="connsiteY26" fmla="*/ 625796 h 4878872"/>
              <a:gd name="connsiteX27" fmla="*/ 5853360 w 6096961"/>
              <a:gd name="connsiteY27" fmla="*/ 625796 h 4878872"/>
              <a:gd name="connsiteX28" fmla="*/ 6078150 w 6096961"/>
              <a:gd name="connsiteY28" fmla="*/ 812486 h 4878872"/>
              <a:gd name="connsiteX29" fmla="*/ 6077198 w 6096961"/>
              <a:gd name="connsiteY29" fmla="*/ 1179199 h 4878872"/>
              <a:gd name="connsiteX30" fmla="*/ 5852408 w 6096961"/>
              <a:gd name="connsiteY30" fmla="*/ 1364936 h 4878872"/>
              <a:gd name="connsiteX31" fmla="*/ 5804783 w 6096961"/>
              <a:gd name="connsiteY31" fmla="*/ 1364936 h 4878872"/>
              <a:gd name="connsiteX32" fmla="*/ 5746680 w 6096961"/>
              <a:gd name="connsiteY32" fmla="*/ 1465901 h 4878872"/>
              <a:gd name="connsiteX33" fmla="*/ 5770493 w 6096961"/>
              <a:gd name="connsiteY33" fmla="*/ 1506859 h 4878872"/>
              <a:gd name="connsiteX34" fmla="*/ 5718105 w 6096961"/>
              <a:gd name="connsiteY34" fmla="*/ 1797372 h 4878872"/>
              <a:gd name="connsiteX35" fmla="*/ 5394255 w 6096961"/>
              <a:gd name="connsiteY35" fmla="*/ 1967869 h 4878872"/>
              <a:gd name="connsiteX36" fmla="*/ 5130412 w 6096961"/>
              <a:gd name="connsiteY36" fmla="*/ 1871666 h 4878872"/>
              <a:gd name="connsiteX37" fmla="*/ 5246618 w 6096961"/>
              <a:gd name="connsiteY37" fmla="*/ 1543054 h 4878872"/>
              <a:gd name="connsiteX38" fmla="*/ 5347583 w 6096961"/>
              <a:gd name="connsiteY38" fmla="*/ 1717361 h 4878872"/>
              <a:gd name="connsiteX39" fmla="*/ 5525700 w 6096961"/>
              <a:gd name="connsiteY39" fmla="*/ 1614491 h 4878872"/>
              <a:gd name="connsiteX40" fmla="*/ 5424735 w 6096961"/>
              <a:gd name="connsiteY40" fmla="*/ 1440184 h 4878872"/>
              <a:gd name="connsiteX41" fmla="*/ 5485695 w 6096961"/>
              <a:gd name="connsiteY41" fmla="*/ 1368747 h 4878872"/>
              <a:gd name="connsiteX42" fmla="*/ 5590470 w 6096961"/>
              <a:gd name="connsiteY42" fmla="*/ 1186819 h 4878872"/>
              <a:gd name="connsiteX43" fmla="*/ 5621903 w 6096961"/>
              <a:gd name="connsiteY43" fmla="*/ 1098236 h 4878872"/>
              <a:gd name="connsiteX44" fmla="*/ 5822880 w 6096961"/>
              <a:gd name="connsiteY44" fmla="*/ 1098236 h 4878872"/>
              <a:gd name="connsiteX45" fmla="*/ 5822880 w 6096961"/>
              <a:gd name="connsiteY45" fmla="*/ 893449 h 4878872"/>
              <a:gd name="connsiteX46" fmla="*/ 5621903 w 6096961"/>
              <a:gd name="connsiteY46" fmla="*/ 893449 h 4878872"/>
              <a:gd name="connsiteX47" fmla="*/ 5590470 w 6096961"/>
              <a:gd name="connsiteY47" fmla="*/ 804866 h 4878872"/>
              <a:gd name="connsiteX48" fmla="*/ 5485695 w 6096961"/>
              <a:gd name="connsiteY48" fmla="*/ 622939 h 4878872"/>
              <a:gd name="connsiteX49" fmla="*/ 5424735 w 6096961"/>
              <a:gd name="connsiteY49" fmla="*/ 551501 h 4878872"/>
              <a:gd name="connsiteX50" fmla="*/ 5524748 w 6096961"/>
              <a:gd name="connsiteY50" fmla="*/ 376241 h 4878872"/>
              <a:gd name="connsiteX51" fmla="*/ 5346630 w 6096961"/>
              <a:gd name="connsiteY51" fmla="*/ 273371 h 4878872"/>
              <a:gd name="connsiteX52" fmla="*/ 5245665 w 6096961"/>
              <a:gd name="connsiteY52" fmla="*/ 447679 h 4878872"/>
              <a:gd name="connsiteX53" fmla="*/ 5153273 w 6096961"/>
              <a:gd name="connsiteY53" fmla="*/ 430534 h 4878872"/>
              <a:gd name="connsiteX54" fmla="*/ 4942770 w 6096961"/>
              <a:gd name="connsiteY54" fmla="*/ 430534 h 4878872"/>
              <a:gd name="connsiteX55" fmla="*/ 4850378 w 6096961"/>
              <a:gd name="connsiteY55" fmla="*/ 447679 h 4878872"/>
              <a:gd name="connsiteX56" fmla="*/ 4749413 w 6096961"/>
              <a:gd name="connsiteY56" fmla="*/ 273371 h 4878872"/>
              <a:gd name="connsiteX57" fmla="*/ 4572248 w 6096961"/>
              <a:gd name="connsiteY57" fmla="*/ 376241 h 4878872"/>
              <a:gd name="connsiteX58" fmla="*/ 4673213 w 6096961"/>
              <a:gd name="connsiteY58" fmla="*/ 550549 h 4878872"/>
              <a:gd name="connsiteX59" fmla="*/ 4612253 w 6096961"/>
              <a:gd name="connsiteY59" fmla="*/ 621986 h 4878872"/>
              <a:gd name="connsiteX60" fmla="*/ 4507478 w 6096961"/>
              <a:gd name="connsiteY60" fmla="*/ 803914 h 4878872"/>
              <a:gd name="connsiteX61" fmla="*/ 4476045 w 6096961"/>
              <a:gd name="connsiteY61" fmla="*/ 892496 h 4878872"/>
              <a:gd name="connsiteX62" fmla="*/ 4275068 w 6096961"/>
              <a:gd name="connsiteY62" fmla="*/ 892496 h 4878872"/>
              <a:gd name="connsiteX63" fmla="*/ 4275068 w 6096961"/>
              <a:gd name="connsiteY63" fmla="*/ 1097284 h 4878872"/>
              <a:gd name="connsiteX64" fmla="*/ 4476045 w 6096961"/>
              <a:gd name="connsiteY64" fmla="*/ 1097284 h 4878872"/>
              <a:gd name="connsiteX65" fmla="*/ 4507478 w 6096961"/>
              <a:gd name="connsiteY65" fmla="*/ 1185866 h 4878872"/>
              <a:gd name="connsiteX66" fmla="*/ 4612253 w 6096961"/>
              <a:gd name="connsiteY66" fmla="*/ 1367794 h 4878872"/>
              <a:gd name="connsiteX67" fmla="*/ 4673213 w 6096961"/>
              <a:gd name="connsiteY67" fmla="*/ 1439231 h 4878872"/>
              <a:gd name="connsiteX68" fmla="*/ 4572248 w 6096961"/>
              <a:gd name="connsiteY68" fmla="*/ 1614491 h 4878872"/>
              <a:gd name="connsiteX69" fmla="*/ 4750365 w 6096961"/>
              <a:gd name="connsiteY69" fmla="*/ 1717361 h 4878872"/>
              <a:gd name="connsiteX70" fmla="*/ 4851330 w 6096961"/>
              <a:gd name="connsiteY70" fmla="*/ 1543054 h 4878872"/>
              <a:gd name="connsiteX71" fmla="*/ 4943723 w 6096961"/>
              <a:gd name="connsiteY71" fmla="*/ 1560199 h 4878872"/>
              <a:gd name="connsiteX72" fmla="*/ 5154225 w 6096961"/>
              <a:gd name="connsiteY72" fmla="*/ 1560199 h 4878872"/>
              <a:gd name="connsiteX73" fmla="*/ 5246618 w 6096961"/>
              <a:gd name="connsiteY73" fmla="*/ 1543054 h 4878872"/>
              <a:gd name="connsiteX74" fmla="*/ 1384230 w 6096961"/>
              <a:gd name="connsiteY74" fmla="*/ 4329117 h 4878872"/>
              <a:gd name="connsiteX75" fmla="*/ 1384230 w 6096961"/>
              <a:gd name="connsiteY75" fmla="*/ 4028126 h 4878872"/>
              <a:gd name="connsiteX76" fmla="*/ 1037520 w 6096961"/>
              <a:gd name="connsiteY76" fmla="*/ 3827149 h 4878872"/>
              <a:gd name="connsiteX77" fmla="*/ 775582 w 6096961"/>
              <a:gd name="connsiteY77" fmla="*/ 3978597 h 4878872"/>
              <a:gd name="connsiteX78" fmla="*/ 492690 w 6096961"/>
              <a:gd name="connsiteY78" fmla="*/ 3934782 h 4878872"/>
              <a:gd name="connsiteX79" fmla="*/ 10725 w 6096961"/>
              <a:gd name="connsiteY79" fmla="*/ 3095629 h 4878872"/>
              <a:gd name="connsiteX80" fmla="*/ 113595 w 6096961"/>
              <a:gd name="connsiteY80" fmla="*/ 2828929 h 4878872"/>
              <a:gd name="connsiteX81" fmla="*/ 373627 w 6096961"/>
              <a:gd name="connsiteY81" fmla="*/ 2677482 h 4878872"/>
              <a:gd name="connsiteX82" fmla="*/ 373627 w 6096961"/>
              <a:gd name="connsiteY82" fmla="*/ 2276479 h 4878872"/>
              <a:gd name="connsiteX83" fmla="*/ 113595 w 6096961"/>
              <a:gd name="connsiteY83" fmla="*/ 2125984 h 4878872"/>
              <a:gd name="connsiteX84" fmla="*/ 10725 w 6096961"/>
              <a:gd name="connsiteY84" fmla="*/ 1859284 h 4878872"/>
              <a:gd name="connsiteX85" fmla="*/ 492690 w 6096961"/>
              <a:gd name="connsiteY85" fmla="*/ 1020131 h 4878872"/>
              <a:gd name="connsiteX86" fmla="*/ 775582 w 6096961"/>
              <a:gd name="connsiteY86" fmla="*/ 976316 h 4878872"/>
              <a:gd name="connsiteX87" fmla="*/ 1036567 w 6096961"/>
              <a:gd name="connsiteY87" fmla="*/ 1127764 h 4878872"/>
              <a:gd name="connsiteX88" fmla="*/ 1383277 w 6096961"/>
              <a:gd name="connsiteY88" fmla="*/ 926786 h 4878872"/>
              <a:gd name="connsiteX89" fmla="*/ 1383277 w 6096961"/>
              <a:gd name="connsiteY89" fmla="*/ 625796 h 4878872"/>
              <a:gd name="connsiteX90" fmla="*/ 1562347 w 6096961"/>
              <a:gd name="connsiteY90" fmla="*/ 402911 h 4878872"/>
              <a:gd name="connsiteX91" fmla="*/ 2531040 w 6096961"/>
              <a:gd name="connsiteY91" fmla="*/ 402911 h 4878872"/>
              <a:gd name="connsiteX92" fmla="*/ 2711063 w 6096961"/>
              <a:gd name="connsiteY92" fmla="*/ 625796 h 4878872"/>
              <a:gd name="connsiteX93" fmla="*/ 2711063 w 6096961"/>
              <a:gd name="connsiteY93" fmla="*/ 926786 h 4878872"/>
              <a:gd name="connsiteX94" fmla="*/ 3057773 w 6096961"/>
              <a:gd name="connsiteY94" fmla="*/ 1126811 h 4878872"/>
              <a:gd name="connsiteX95" fmla="*/ 3318757 w 6096961"/>
              <a:gd name="connsiteY95" fmla="*/ 976316 h 4878872"/>
              <a:gd name="connsiteX96" fmla="*/ 3602603 w 6096961"/>
              <a:gd name="connsiteY96" fmla="*/ 1020131 h 4878872"/>
              <a:gd name="connsiteX97" fmla="*/ 4098855 w 6096961"/>
              <a:gd name="connsiteY97" fmla="*/ 1863094 h 4878872"/>
              <a:gd name="connsiteX98" fmla="*/ 4001700 w 6096961"/>
              <a:gd name="connsiteY98" fmla="*/ 2126936 h 4878872"/>
              <a:gd name="connsiteX99" fmla="*/ 3763575 w 6096961"/>
              <a:gd name="connsiteY99" fmla="*/ 2277432 h 4878872"/>
              <a:gd name="connsiteX100" fmla="*/ 3763575 w 6096961"/>
              <a:gd name="connsiteY100" fmla="*/ 2678434 h 4878872"/>
              <a:gd name="connsiteX101" fmla="*/ 4031228 w 6096961"/>
              <a:gd name="connsiteY101" fmla="*/ 2845122 h 4878872"/>
              <a:gd name="connsiteX102" fmla="*/ 4134098 w 6096961"/>
              <a:gd name="connsiteY102" fmla="*/ 3088009 h 4878872"/>
              <a:gd name="connsiteX103" fmla="*/ 3601650 w 6096961"/>
              <a:gd name="connsiteY103" fmla="*/ 3937639 h 4878872"/>
              <a:gd name="connsiteX104" fmla="*/ 3319710 w 6096961"/>
              <a:gd name="connsiteY104" fmla="*/ 3979549 h 4878872"/>
              <a:gd name="connsiteX105" fmla="*/ 3057773 w 6096961"/>
              <a:gd name="connsiteY105" fmla="*/ 3828101 h 4878872"/>
              <a:gd name="connsiteX106" fmla="*/ 2711063 w 6096961"/>
              <a:gd name="connsiteY106" fmla="*/ 4029079 h 4878872"/>
              <a:gd name="connsiteX107" fmla="*/ 2711063 w 6096961"/>
              <a:gd name="connsiteY107" fmla="*/ 4330069 h 4878872"/>
              <a:gd name="connsiteX108" fmla="*/ 2531992 w 6096961"/>
              <a:gd name="connsiteY108" fmla="*/ 4552954 h 4878872"/>
              <a:gd name="connsiteX109" fmla="*/ 1561395 w 6096961"/>
              <a:gd name="connsiteY109" fmla="*/ 4552954 h 4878872"/>
              <a:gd name="connsiteX110" fmla="*/ 1384230 w 6096961"/>
              <a:gd name="connsiteY110" fmla="*/ 4329117 h 4878872"/>
              <a:gd name="connsiteX111" fmla="*/ 1689030 w 6096961"/>
              <a:gd name="connsiteY111" fmla="*/ 4270062 h 4878872"/>
              <a:gd name="connsiteX112" fmla="*/ 2406263 w 6096961"/>
              <a:gd name="connsiteY112" fmla="*/ 4270062 h 4878872"/>
              <a:gd name="connsiteX113" fmla="*/ 2406263 w 6096961"/>
              <a:gd name="connsiteY113" fmla="*/ 3815719 h 4878872"/>
              <a:gd name="connsiteX114" fmla="*/ 2508180 w 6096961"/>
              <a:gd name="connsiteY114" fmla="*/ 3779524 h 4878872"/>
              <a:gd name="connsiteX115" fmla="*/ 2945378 w 6096961"/>
              <a:gd name="connsiteY115" fmla="*/ 3527112 h 4878872"/>
              <a:gd name="connsiteX116" fmla="*/ 3027292 w 6096961"/>
              <a:gd name="connsiteY116" fmla="*/ 3456626 h 4878872"/>
              <a:gd name="connsiteX117" fmla="*/ 3421628 w 6096961"/>
              <a:gd name="connsiteY117" fmla="*/ 3684274 h 4878872"/>
              <a:gd name="connsiteX118" fmla="*/ 3822630 w 6096961"/>
              <a:gd name="connsiteY118" fmla="*/ 3063244 h 4878872"/>
              <a:gd name="connsiteX119" fmla="*/ 3428295 w 6096961"/>
              <a:gd name="connsiteY119" fmla="*/ 2835597 h 4878872"/>
              <a:gd name="connsiteX120" fmla="*/ 3448298 w 6096961"/>
              <a:gd name="connsiteY120" fmla="*/ 2729869 h 4878872"/>
              <a:gd name="connsiteX121" fmla="*/ 3448298 w 6096961"/>
              <a:gd name="connsiteY121" fmla="*/ 2224091 h 4878872"/>
              <a:gd name="connsiteX122" fmla="*/ 3428295 w 6096961"/>
              <a:gd name="connsiteY122" fmla="*/ 2118364 h 4878872"/>
              <a:gd name="connsiteX123" fmla="*/ 3822630 w 6096961"/>
              <a:gd name="connsiteY123" fmla="*/ 1890716 h 4878872"/>
              <a:gd name="connsiteX124" fmla="*/ 3421628 w 6096961"/>
              <a:gd name="connsiteY124" fmla="*/ 1269686 h 4878872"/>
              <a:gd name="connsiteX125" fmla="*/ 3027292 w 6096961"/>
              <a:gd name="connsiteY125" fmla="*/ 1497334 h 4878872"/>
              <a:gd name="connsiteX126" fmla="*/ 2945378 w 6096961"/>
              <a:gd name="connsiteY126" fmla="*/ 1426849 h 4878872"/>
              <a:gd name="connsiteX127" fmla="*/ 2508180 w 6096961"/>
              <a:gd name="connsiteY127" fmla="*/ 1174436 h 4878872"/>
              <a:gd name="connsiteX128" fmla="*/ 2406263 w 6096961"/>
              <a:gd name="connsiteY128" fmla="*/ 1138241 h 4878872"/>
              <a:gd name="connsiteX129" fmla="*/ 2406263 w 6096961"/>
              <a:gd name="connsiteY129" fmla="*/ 684851 h 4878872"/>
              <a:gd name="connsiteX130" fmla="*/ 1689030 w 6096961"/>
              <a:gd name="connsiteY130" fmla="*/ 684851 h 4878872"/>
              <a:gd name="connsiteX131" fmla="*/ 1689030 w 6096961"/>
              <a:gd name="connsiteY131" fmla="*/ 1139194 h 4878872"/>
              <a:gd name="connsiteX132" fmla="*/ 1587113 w 6096961"/>
              <a:gd name="connsiteY132" fmla="*/ 1175389 h 4878872"/>
              <a:gd name="connsiteX133" fmla="*/ 1149915 w 6096961"/>
              <a:gd name="connsiteY133" fmla="*/ 1427801 h 4878872"/>
              <a:gd name="connsiteX134" fmla="*/ 1068000 w 6096961"/>
              <a:gd name="connsiteY134" fmla="*/ 1498286 h 4878872"/>
              <a:gd name="connsiteX135" fmla="*/ 673665 w 6096961"/>
              <a:gd name="connsiteY135" fmla="*/ 1270639 h 4878872"/>
              <a:gd name="connsiteX136" fmla="*/ 314572 w 6096961"/>
              <a:gd name="connsiteY136" fmla="*/ 1891669 h 4878872"/>
              <a:gd name="connsiteX137" fmla="*/ 708907 w 6096961"/>
              <a:gd name="connsiteY137" fmla="*/ 2119316 h 4878872"/>
              <a:gd name="connsiteX138" fmla="*/ 688905 w 6096961"/>
              <a:gd name="connsiteY138" fmla="*/ 2225044 h 4878872"/>
              <a:gd name="connsiteX139" fmla="*/ 688905 w 6096961"/>
              <a:gd name="connsiteY139" fmla="*/ 2730822 h 4878872"/>
              <a:gd name="connsiteX140" fmla="*/ 708907 w 6096961"/>
              <a:gd name="connsiteY140" fmla="*/ 2836549 h 4878872"/>
              <a:gd name="connsiteX141" fmla="*/ 314572 w 6096961"/>
              <a:gd name="connsiteY141" fmla="*/ 3064197 h 4878872"/>
              <a:gd name="connsiteX142" fmla="*/ 673665 w 6096961"/>
              <a:gd name="connsiteY142" fmla="*/ 3685226 h 4878872"/>
              <a:gd name="connsiteX143" fmla="*/ 1068000 w 6096961"/>
              <a:gd name="connsiteY143" fmla="*/ 3457579 h 4878872"/>
              <a:gd name="connsiteX144" fmla="*/ 1149915 w 6096961"/>
              <a:gd name="connsiteY144" fmla="*/ 3528064 h 4878872"/>
              <a:gd name="connsiteX145" fmla="*/ 1587113 w 6096961"/>
              <a:gd name="connsiteY145" fmla="*/ 3780476 h 4878872"/>
              <a:gd name="connsiteX146" fmla="*/ 1689030 w 6096961"/>
              <a:gd name="connsiteY146" fmla="*/ 3816672 h 4878872"/>
              <a:gd name="connsiteX147" fmla="*/ 1689030 w 6096961"/>
              <a:gd name="connsiteY147" fmla="*/ 4270062 h 4878872"/>
              <a:gd name="connsiteX148" fmla="*/ 2054790 w 6096961"/>
              <a:gd name="connsiteY148" fmla="*/ 3267079 h 4878872"/>
              <a:gd name="connsiteX149" fmla="*/ 1265168 w 6096961"/>
              <a:gd name="connsiteY149" fmla="*/ 2477457 h 4878872"/>
              <a:gd name="connsiteX150" fmla="*/ 2054790 w 6096961"/>
              <a:gd name="connsiteY150" fmla="*/ 1687834 h 4878872"/>
              <a:gd name="connsiteX151" fmla="*/ 2844413 w 6096961"/>
              <a:gd name="connsiteY151" fmla="*/ 2477457 h 4878872"/>
              <a:gd name="connsiteX152" fmla="*/ 2054790 w 6096961"/>
              <a:gd name="connsiteY152" fmla="*/ 3267079 h 4878872"/>
              <a:gd name="connsiteX153" fmla="*/ 2054790 w 6096961"/>
              <a:gd name="connsiteY153" fmla="*/ 1992634 h 4878872"/>
              <a:gd name="connsiteX154" fmla="*/ 1569968 w 6096961"/>
              <a:gd name="connsiteY154" fmla="*/ 2477457 h 4878872"/>
              <a:gd name="connsiteX155" fmla="*/ 2054790 w 6096961"/>
              <a:gd name="connsiteY155" fmla="*/ 2962279 h 4878872"/>
              <a:gd name="connsiteX156" fmla="*/ 2539613 w 6096961"/>
              <a:gd name="connsiteY156" fmla="*/ 2477457 h 4878872"/>
              <a:gd name="connsiteX157" fmla="*/ 2054790 w 6096961"/>
              <a:gd name="connsiteY157" fmla="*/ 1992634 h 4878872"/>
              <a:gd name="connsiteX158" fmla="*/ 5130412 w 6096961"/>
              <a:gd name="connsiteY158" fmla="*/ 4771077 h 4878872"/>
              <a:gd name="connsiteX159" fmla="*/ 5106600 w 6096961"/>
              <a:gd name="connsiteY159" fmla="*/ 4733929 h 4878872"/>
              <a:gd name="connsiteX160" fmla="*/ 4990395 w 6096961"/>
              <a:gd name="connsiteY160" fmla="*/ 4733929 h 4878872"/>
              <a:gd name="connsiteX161" fmla="*/ 4966583 w 6096961"/>
              <a:gd name="connsiteY161" fmla="*/ 4772029 h 4878872"/>
              <a:gd name="connsiteX162" fmla="*/ 4704645 w 6096961"/>
              <a:gd name="connsiteY162" fmla="*/ 4868232 h 4878872"/>
              <a:gd name="connsiteX163" fmla="*/ 4377938 w 6096961"/>
              <a:gd name="connsiteY163" fmla="*/ 4695829 h 4878872"/>
              <a:gd name="connsiteX164" fmla="*/ 4326503 w 6096961"/>
              <a:gd name="connsiteY164" fmla="*/ 4406269 h 4878872"/>
              <a:gd name="connsiteX165" fmla="*/ 4350315 w 6096961"/>
              <a:gd name="connsiteY165" fmla="*/ 4365312 h 4878872"/>
              <a:gd name="connsiteX166" fmla="*/ 4292213 w 6096961"/>
              <a:gd name="connsiteY166" fmla="*/ 4264347 h 4878872"/>
              <a:gd name="connsiteX167" fmla="*/ 4205535 w 6096961"/>
              <a:gd name="connsiteY167" fmla="*/ 4264347 h 4878872"/>
              <a:gd name="connsiteX168" fmla="*/ 3980745 w 6096961"/>
              <a:gd name="connsiteY168" fmla="*/ 4077657 h 4878872"/>
              <a:gd name="connsiteX169" fmla="*/ 3981698 w 6096961"/>
              <a:gd name="connsiteY169" fmla="*/ 3710944 h 4878872"/>
              <a:gd name="connsiteX170" fmla="*/ 4206488 w 6096961"/>
              <a:gd name="connsiteY170" fmla="*/ 3525207 h 4878872"/>
              <a:gd name="connsiteX171" fmla="*/ 4292213 w 6096961"/>
              <a:gd name="connsiteY171" fmla="*/ 3525207 h 4878872"/>
              <a:gd name="connsiteX172" fmla="*/ 4350315 w 6096961"/>
              <a:gd name="connsiteY172" fmla="*/ 3424241 h 4878872"/>
              <a:gd name="connsiteX173" fmla="*/ 4325550 w 6096961"/>
              <a:gd name="connsiteY173" fmla="*/ 3381379 h 4878872"/>
              <a:gd name="connsiteX174" fmla="*/ 4375080 w 6096961"/>
              <a:gd name="connsiteY174" fmla="*/ 3092772 h 4878872"/>
              <a:gd name="connsiteX175" fmla="*/ 4694168 w 6096961"/>
              <a:gd name="connsiteY175" fmla="*/ 2911797 h 4878872"/>
              <a:gd name="connsiteX176" fmla="*/ 4965630 w 6096961"/>
              <a:gd name="connsiteY176" fmla="*/ 3012762 h 4878872"/>
              <a:gd name="connsiteX177" fmla="*/ 4990395 w 6096961"/>
              <a:gd name="connsiteY177" fmla="*/ 3054672 h 4878872"/>
              <a:gd name="connsiteX178" fmla="*/ 5106600 w 6096961"/>
              <a:gd name="connsiteY178" fmla="*/ 3054672 h 4878872"/>
              <a:gd name="connsiteX179" fmla="*/ 5131365 w 6096961"/>
              <a:gd name="connsiteY179" fmla="*/ 3012762 h 4878872"/>
              <a:gd name="connsiteX180" fmla="*/ 5403780 w 6096961"/>
              <a:gd name="connsiteY180" fmla="*/ 2912749 h 4878872"/>
              <a:gd name="connsiteX181" fmla="*/ 5722868 w 6096961"/>
              <a:gd name="connsiteY181" fmla="*/ 3094676 h 4878872"/>
              <a:gd name="connsiteX182" fmla="*/ 5771445 w 6096961"/>
              <a:gd name="connsiteY182" fmla="*/ 3382332 h 4878872"/>
              <a:gd name="connsiteX183" fmla="*/ 5746680 w 6096961"/>
              <a:gd name="connsiteY183" fmla="*/ 3424241 h 4878872"/>
              <a:gd name="connsiteX184" fmla="*/ 5804783 w 6096961"/>
              <a:gd name="connsiteY184" fmla="*/ 3525207 h 4878872"/>
              <a:gd name="connsiteX185" fmla="*/ 5853360 w 6096961"/>
              <a:gd name="connsiteY185" fmla="*/ 3525207 h 4878872"/>
              <a:gd name="connsiteX186" fmla="*/ 6078150 w 6096961"/>
              <a:gd name="connsiteY186" fmla="*/ 3711897 h 4878872"/>
              <a:gd name="connsiteX187" fmla="*/ 6077198 w 6096961"/>
              <a:gd name="connsiteY187" fmla="*/ 4078609 h 4878872"/>
              <a:gd name="connsiteX188" fmla="*/ 5852408 w 6096961"/>
              <a:gd name="connsiteY188" fmla="*/ 4264347 h 4878872"/>
              <a:gd name="connsiteX189" fmla="*/ 5804783 w 6096961"/>
              <a:gd name="connsiteY189" fmla="*/ 4264347 h 4878872"/>
              <a:gd name="connsiteX190" fmla="*/ 5746680 w 6096961"/>
              <a:gd name="connsiteY190" fmla="*/ 4365312 h 4878872"/>
              <a:gd name="connsiteX191" fmla="*/ 5770493 w 6096961"/>
              <a:gd name="connsiteY191" fmla="*/ 4406269 h 4878872"/>
              <a:gd name="connsiteX192" fmla="*/ 5718105 w 6096961"/>
              <a:gd name="connsiteY192" fmla="*/ 4696782 h 4878872"/>
              <a:gd name="connsiteX193" fmla="*/ 5394255 w 6096961"/>
              <a:gd name="connsiteY193" fmla="*/ 4867279 h 4878872"/>
              <a:gd name="connsiteX194" fmla="*/ 5130412 w 6096961"/>
              <a:gd name="connsiteY194" fmla="*/ 4771077 h 4878872"/>
              <a:gd name="connsiteX195" fmla="*/ 5246618 w 6096961"/>
              <a:gd name="connsiteY195" fmla="*/ 4441512 h 4878872"/>
              <a:gd name="connsiteX196" fmla="*/ 5347583 w 6096961"/>
              <a:gd name="connsiteY196" fmla="*/ 4615819 h 4878872"/>
              <a:gd name="connsiteX197" fmla="*/ 5525700 w 6096961"/>
              <a:gd name="connsiteY197" fmla="*/ 4512949 h 4878872"/>
              <a:gd name="connsiteX198" fmla="*/ 5424735 w 6096961"/>
              <a:gd name="connsiteY198" fmla="*/ 4338642 h 4878872"/>
              <a:gd name="connsiteX199" fmla="*/ 5485695 w 6096961"/>
              <a:gd name="connsiteY199" fmla="*/ 4267204 h 4878872"/>
              <a:gd name="connsiteX200" fmla="*/ 5590470 w 6096961"/>
              <a:gd name="connsiteY200" fmla="*/ 4085276 h 4878872"/>
              <a:gd name="connsiteX201" fmla="*/ 5621903 w 6096961"/>
              <a:gd name="connsiteY201" fmla="*/ 3996694 h 4878872"/>
              <a:gd name="connsiteX202" fmla="*/ 5822880 w 6096961"/>
              <a:gd name="connsiteY202" fmla="*/ 3996694 h 4878872"/>
              <a:gd name="connsiteX203" fmla="*/ 5822880 w 6096961"/>
              <a:gd name="connsiteY203" fmla="*/ 3791907 h 4878872"/>
              <a:gd name="connsiteX204" fmla="*/ 5621903 w 6096961"/>
              <a:gd name="connsiteY204" fmla="*/ 3791907 h 4878872"/>
              <a:gd name="connsiteX205" fmla="*/ 5590470 w 6096961"/>
              <a:gd name="connsiteY205" fmla="*/ 3703324 h 4878872"/>
              <a:gd name="connsiteX206" fmla="*/ 5485695 w 6096961"/>
              <a:gd name="connsiteY206" fmla="*/ 3521397 h 4878872"/>
              <a:gd name="connsiteX207" fmla="*/ 5424735 w 6096961"/>
              <a:gd name="connsiteY207" fmla="*/ 3449959 h 4878872"/>
              <a:gd name="connsiteX208" fmla="*/ 5525700 w 6096961"/>
              <a:gd name="connsiteY208" fmla="*/ 3275651 h 4878872"/>
              <a:gd name="connsiteX209" fmla="*/ 5347583 w 6096961"/>
              <a:gd name="connsiteY209" fmla="*/ 3172782 h 4878872"/>
              <a:gd name="connsiteX210" fmla="*/ 5246618 w 6096961"/>
              <a:gd name="connsiteY210" fmla="*/ 3347089 h 4878872"/>
              <a:gd name="connsiteX211" fmla="*/ 5154225 w 6096961"/>
              <a:gd name="connsiteY211" fmla="*/ 3329944 h 4878872"/>
              <a:gd name="connsiteX212" fmla="*/ 4943723 w 6096961"/>
              <a:gd name="connsiteY212" fmla="*/ 3329944 h 4878872"/>
              <a:gd name="connsiteX213" fmla="*/ 4851330 w 6096961"/>
              <a:gd name="connsiteY213" fmla="*/ 3347089 h 4878872"/>
              <a:gd name="connsiteX214" fmla="*/ 4750365 w 6096961"/>
              <a:gd name="connsiteY214" fmla="*/ 3172782 h 4878872"/>
              <a:gd name="connsiteX215" fmla="*/ 4572248 w 6096961"/>
              <a:gd name="connsiteY215" fmla="*/ 3275651 h 4878872"/>
              <a:gd name="connsiteX216" fmla="*/ 4673213 w 6096961"/>
              <a:gd name="connsiteY216" fmla="*/ 3449959 h 4878872"/>
              <a:gd name="connsiteX217" fmla="*/ 4612253 w 6096961"/>
              <a:gd name="connsiteY217" fmla="*/ 3521397 h 4878872"/>
              <a:gd name="connsiteX218" fmla="*/ 4507478 w 6096961"/>
              <a:gd name="connsiteY218" fmla="*/ 3703324 h 4878872"/>
              <a:gd name="connsiteX219" fmla="*/ 4476045 w 6096961"/>
              <a:gd name="connsiteY219" fmla="*/ 3791907 h 4878872"/>
              <a:gd name="connsiteX220" fmla="*/ 4275068 w 6096961"/>
              <a:gd name="connsiteY220" fmla="*/ 3791907 h 4878872"/>
              <a:gd name="connsiteX221" fmla="*/ 4275068 w 6096961"/>
              <a:gd name="connsiteY221" fmla="*/ 3996694 h 4878872"/>
              <a:gd name="connsiteX222" fmla="*/ 4476045 w 6096961"/>
              <a:gd name="connsiteY222" fmla="*/ 3996694 h 4878872"/>
              <a:gd name="connsiteX223" fmla="*/ 4507478 w 6096961"/>
              <a:gd name="connsiteY223" fmla="*/ 4085276 h 4878872"/>
              <a:gd name="connsiteX224" fmla="*/ 4612253 w 6096961"/>
              <a:gd name="connsiteY224" fmla="*/ 4267204 h 4878872"/>
              <a:gd name="connsiteX225" fmla="*/ 4673213 w 6096961"/>
              <a:gd name="connsiteY225" fmla="*/ 4338642 h 4878872"/>
              <a:gd name="connsiteX226" fmla="*/ 4572248 w 6096961"/>
              <a:gd name="connsiteY226" fmla="*/ 4512949 h 4878872"/>
              <a:gd name="connsiteX227" fmla="*/ 4750365 w 6096961"/>
              <a:gd name="connsiteY227" fmla="*/ 4615819 h 4878872"/>
              <a:gd name="connsiteX228" fmla="*/ 4851330 w 6096961"/>
              <a:gd name="connsiteY228" fmla="*/ 4441512 h 4878872"/>
              <a:gd name="connsiteX229" fmla="*/ 4943723 w 6096961"/>
              <a:gd name="connsiteY229" fmla="*/ 4458657 h 4878872"/>
              <a:gd name="connsiteX230" fmla="*/ 5154225 w 6096961"/>
              <a:gd name="connsiteY230" fmla="*/ 4458657 h 4878872"/>
              <a:gd name="connsiteX231" fmla="*/ 5246618 w 6096961"/>
              <a:gd name="connsiteY231" fmla="*/ 4441512 h 4878872"/>
              <a:gd name="connsiteX232" fmla="*/ 5334248 w 6096961"/>
              <a:gd name="connsiteY232" fmla="*/ 3887157 h 4878872"/>
              <a:gd name="connsiteX233" fmla="*/ 5029448 w 6096961"/>
              <a:gd name="connsiteY233" fmla="*/ 3582357 h 4878872"/>
              <a:gd name="connsiteX234" fmla="*/ 4724648 w 6096961"/>
              <a:gd name="connsiteY234" fmla="*/ 3887157 h 4878872"/>
              <a:gd name="connsiteX235" fmla="*/ 5029448 w 6096961"/>
              <a:gd name="connsiteY235" fmla="*/ 4191957 h 4878872"/>
              <a:gd name="connsiteX236" fmla="*/ 5334248 w 6096961"/>
              <a:gd name="connsiteY236" fmla="*/ 3887157 h 4878872"/>
              <a:gd name="connsiteX237" fmla="*/ 5334248 w 6096961"/>
              <a:gd name="connsiteY237" fmla="*/ 988699 h 4878872"/>
              <a:gd name="connsiteX238" fmla="*/ 5029448 w 6096961"/>
              <a:gd name="connsiteY238" fmla="*/ 683899 h 4878872"/>
              <a:gd name="connsiteX239" fmla="*/ 4724648 w 6096961"/>
              <a:gd name="connsiteY239" fmla="*/ 988699 h 4878872"/>
              <a:gd name="connsiteX240" fmla="*/ 5029448 w 6096961"/>
              <a:gd name="connsiteY240" fmla="*/ 1293499 h 4878872"/>
              <a:gd name="connsiteX241" fmla="*/ 5334248 w 6096961"/>
              <a:gd name="connsiteY241" fmla="*/ 988699 h 4878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</a:cxnLst>
            <a:rect l="l" t="t" r="r" b="b"/>
            <a:pathLst>
              <a:path w="6096961" h="4878872">
                <a:moveTo>
                  <a:pt x="5130412" y="1871666"/>
                </a:moveTo>
                <a:lnTo>
                  <a:pt x="5106600" y="1834519"/>
                </a:lnTo>
                <a:cubicBezTo>
                  <a:pt x="5067548" y="1837376"/>
                  <a:pt x="5029448" y="1837376"/>
                  <a:pt x="4990395" y="1834519"/>
                </a:cubicBezTo>
                <a:lnTo>
                  <a:pt x="4966583" y="1872619"/>
                </a:lnTo>
                <a:cubicBezTo>
                  <a:pt x="4911337" y="1960249"/>
                  <a:pt x="4803705" y="2000254"/>
                  <a:pt x="4704645" y="1968822"/>
                </a:cubicBezTo>
                <a:cubicBezTo>
                  <a:pt x="4573200" y="1927864"/>
                  <a:pt x="4485570" y="1885001"/>
                  <a:pt x="4377938" y="1796419"/>
                </a:cubicBezTo>
                <a:cubicBezTo>
                  <a:pt x="4292213" y="1725934"/>
                  <a:pt x="4271258" y="1603061"/>
                  <a:pt x="4326503" y="1506859"/>
                </a:cubicBezTo>
                <a:lnTo>
                  <a:pt x="4350315" y="1465901"/>
                </a:lnTo>
                <a:cubicBezTo>
                  <a:pt x="4328408" y="1433516"/>
                  <a:pt x="4309358" y="1400179"/>
                  <a:pt x="4292213" y="1364936"/>
                </a:cubicBezTo>
                <a:lnTo>
                  <a:pt x="4205535" y="1364936"/>
                </a:lnTo>
                <a:cubicBezTo>
                  <a:pt x="4095045" y="1364936"/>
                  <a:pt x="4001700" y="1286831"/>
                  <a:pt x="3980745" y="1178246"/>
                </a:cubicBezTo>
                <a:cubicBezTo>
                  <a:pt x="3955980" y="1047754"/>
                  <a:pt x="3955028" y="947741"/>
                  <a:pt x="3981698" y="811534"/>
                </a:cubicBezTo>
                <a:cubicBezTo>
                  <a:pt x="4001700" y="703901"/>
                  <a:pt x="4096950" y="625796"/>
                  <a:pt x="4206488" y="625796"/>
                </a:cubicBezTo>
                <a:lnTo>
                  <a:pt x="4292213" y="625796"/>
                </a:lnTo>
                <a:cubicBezTo>
                  <a:pt x="4309358" y="590554"/>
                  <a:pt x="4328408" y="557216"/>
                  <a:pt x="4350315" y="524831"/>
                </a:cubicBezTo>
                <a:lnTo>
                  <a:pt x="4325550" y="481969"/>
                </a:lnTo>
                <a:cubicBezTo>
                  <a:pt x="4270305" y="386719"/>
                  <a:pt x="4291260" y="265751"/>
                  <a:pt x="4375080" y="193361"/>
                </a:cubicBezTo>
                <a:cubicBezTo>
                  <a:pt x="4476045" y="106684"/>
                  <a:pt x="4562723" y="57154"/>
                  <a:pt x="4694168" y="12386"/>
                </a:cubicBezTo>
                <a:cubicBezTo>
                  <a:pt x="4797038" y="-22856"/>
                  <a:pt x="4910385" y="19054"/>
                  <a:pt x="4965630" y="113351"/>
                </a:cubicBezTo>
                <a:lnTo>
                  <a:pt x="4990395" y="155261"/>
                </a:lnTo>
                <a:cubicBezTo>
                  <a:pt x="5029448" y="152404"/>
                  <a:pt x="5067548" y="152404"/>
                  <a:pt x="5106600" y="155261"/>
                </a:cubicBezTo>
                <a:lnTo>
                  <a:pt x="5131365" y="113351"/>
                </a:lnTo>
                <a:cubicBezTo>
                  <a:pt x="5186610" y="19054"/>
                  <a:pt x="5299958" y="-22856"/>
                  <a:pt x="5403780" y="13339"/>
                </a:cubicBezTo>
                <a:cubicBezTo>
                  <a:pt x="5530462" y="56201"/>
                  <a:pt x="5616187" y="104779"/>
                  <a:pt x="5722868" y="195266"/>
                </a:cubicBezTo>
                <a:cubicBezTo>
                  <a:pt x="5806687" y="266704"/>
                  <a:pt x="5826690" y="387671"/>
                  <a:pt x="5771445" y="482921"/>
                </a:cubicBezTo>
                <a:lnTo>
                  <a:pt x="5746680" y="524831"/>
                </a:lnTo>
                <a:cubicBezTo>
                  <a:pt x="5768587" y="557216"/>
                  <a:pt x="5787637" y="590554"/>
                  <a:pt x="5804783" y="625796"/>
                </a:cubicBezTo>
                <a:lnTo>
                  <a:pt x="5853360" y="625796"/>
                </a:lnTo>
                <a:cubicBezTo>
                  <a:pt x="5963850" y="625796"/>
                  <a:pt x="6057195" y="703901"/>
                  <a:pt x="6078150" y="812486"/>
                </a:cubicBezTo>
                <a:cubicBezTo>
                  <a:pt x="6102915" y="942979"/>
                  <a:pt x="6103868" y="1042991"/>
                  <a:pt x="6077198" y="1179199"/>
                </a:cubicBezTo>
                <a:cubicBezTo>
                  <a:pt x="6057195" y="1286831"/>
                  <a:pt x="5961945" y="1364936"/>
                  <a:pt x="5852408" y="1364936"/>
                </a:cubicBezTo>
                <a:lnTo>
                  <a:pt x="5804783" y="1364936"/>
                </a:lnTo>
                <a:cubicBezTo>
                  <a:pt x="5787637" y="1400179"/>
                  <a:pt x="5768587" y="1433516"/>
                  <a:pt x="5746680" y="1465901"/>
                </a:cubicBezTo>
                <a:lnTo>
                  <a:pt x="5770493" y="1506859"/>
                </a:lnTo>
                <a:cubicBezTo>
                  <a:pt x="5826690" y="1604014"/>
                  <a:pt x="5803830" y="1726886"/>
                  <a:pt x="5718105" y="1797372"/>
                </a:cubicBezTo>
                <a:cubicBezTo>
                  <a:pt x="5616187" y="1881191"/>
                  <a:pt x="5528558" y="1925006"/>
                  <a:pt x="5394255" y="1967869"/>
                </a:cubicBezTo>
                <a:cubicBezTo>
                  <a:pt x="5294243" y="1999301"/>
                  <a:pt x="5185658" y="1960249"/>
                  <a:pt x="5130412" y="1871666"/>
                </a:cubicBezTo>
                <a:close/>
                <a:moveTo>
                  <a:pt x="5246618" y="1543054"/>
                </a:moveTo>
                <a:lnTo>
                  <a:pt x="5347583" y="1717361"/>
                </a:lnTo>
                <a:cubicBezTo>
                  <a:pt x="5411400" y="1690691"/>
                  <a:pt x="5470455" y="1656401"/>
                  <a:pt x="5525700" y="1614491"/>
                </a:cubicBezTo>
                <a:lnTo>
                  <a:pt x="5424735" y="1440184"/>
                </a:lnTo>
                <a:lnTo>
                  <a:pt x="5485695" y="1368747"/>
                </a:lnTo>
                <a:cubicBezTo>
                  <a:pt x="5531415" y="1314454"/>
                  <a:pt x="5567610" y="1253494"/>
                  <a:pt x="5590470" y="1186819"/>
                </a:cubicBezTo>
                <a:lnTo>
                  <a:pt x="5621903" y="1098236"/>
                </a:lnTo>
                <a:lnTo>
                  <a:pt x="5822880" y="1098236"/>
                </a:lnTo>
                <a:cubicBezTo>
                  <a:pt x="5831453" y="1030609"/>
                  <a:pt x="5831453" y="961076"/>
                  <a:pt x="5822880" y="893449"/>
                </a:cubicBezTo>
                <a:lnTo>
                  <a:pt x="5621903" y="893449"/>
                </a:lnTo>
                <a:lnTo>
                  <a:pt x="5590470" y="804866"/>
                </a:lnTo>
                <a:cubicBezTo>
                  <a:pt x="5566658" y="738191"/>
                  <a:pt x="5531415" y="677231"/>
                  <a:pt x="5485695" y="622939"/>
                </a:cubicBezTo>
                <a:lnTo>
                  <a:pt x="5424735" y="551501"/>
                </a:lnTo>
                <a:lnTo>
                  <a:pt x="5524748" y="376241"/>
                </a:lnTo>
                <a:cubicBezTo>
                  <a:pt x="5470455" y="334331"/>
                  <a:pt x="5410448" y="300041"/>
                  <a:pt x="5346630" y="273371"/>
                </a:cubicBezTo>
                <a:lnTo>
                  <a:pt x="5245665" y="447679"/>
                </a:lnTo>
                <a:lnTo>
                  <a:pt x="5153273" y="430534"/>
                </a:lnTo>
                <a:cubicBezTo>
                  <a:pt x="5083740" y="417199"/>
                  <a:pt x="5012303" y="417199"/>
                  <a:pt x="4942770" y="430534"/>
                </a:cubicBezTo>
                <a:lnTo>
                  <a:pt x="4850378" y="447679"/>
                </a:lnTo>
                <a:lnTo>
                  <a:pt x="4749413" y="273371"/>
                </a:lnTo>
                <a:cubicBezTo>
                  <a:pt x="4686548" y="299089"/>
                  <a:pt x="4626540" y="334331"/>
                  <a:pt x="4572248" y="376241"/>
                </a:cubicBezTo>
                <a:lnTo>
                  <a:pt x="4673213" y="550549"/>
                </a:lnTo>
                <a:lnTo>
                  <a:pt x="4612253" y="621986"/>
                </a:lnTo>
                <a:cubicBezTo>
                  <a:pt x="4566533" y="676279"/>
                  <a:pt x="4530338" y="737239"/>
                  <a:pt x="4507478" y="803914"/>
                </a:cubicBezTo>
                <a:lnTo>
                  <a:pt x="4476045" y="892496"/>
                </a:lnTo>
                <a:lnTo>
                  <a:pt x="4275068" y="892496"/>
                </a:lnTo>
                <a:cubicBezTo>
                  <a:pt x="4266495" y="960124"/>
                  <a:pt x="4266495" y="1029656"/>
                  <a:pt x="4275068" y="1097284"/>
                </a:cubicBezTo>
                <a:lnTo>
                  <a:pt x="4476045" y="1097284"/>
                </a:lnTo>
                <a:lnTo>
                  <a:pt x="4507478" y="1185866"/>
                </a:lnTo>
                <a:cubicBezTo>
                  <a:pt x="4531290" y="1252541"/>
                  <a:pt x="4566533" y="1313501"/>
                  <a:pt x="4612253" y="1367794"/>
                </a:cubicBezTo>
                <a:lnTo>
                  <a:pt x="4673213" y="1439231"/>
                </a:lnTo>
                <a:lnTo>
                  <a:pt x="4572248" y="1614491"/>
                </a:lnTo>
                <a:cubicBezTo>
                  <a:pt x="4626540" y="1656401"/>
                  <a:pt x="4686548" y="1690691"/>
                  <a:pt x="4750365" y="1717361"/>
                </a:cubicBezTo>
                <a:lnTo>
                  <a:pt x="4851330" y="1543054"/>
                </a:lnTo>
                <a:lnTo>
                  <a:pt x="4943723" y="1560199"/>
                </a:lnTo>
                <a:cubicBezTo>
                  <a:pt x="5013255" y="1573534"/>
                  <a:pt x="5084693" y="1573534"/>
                  <a:pt x="5154225" y="1560199"/>
                </a:cubicBezTo>
                <a:lnTo>
                  <a:pt x="5246618" y="1543054"/>
                </a:lnTo>
                <a:close/>
                <a:moveTo>
                  <a:pt x="1384230" y="4329117"/>
                </a:moveTo>
                <a:lnTo>
                  <a:pt x="1384230" y="4028126"/>
                </a:lnTo>
                <a:cubicBezTo>
                  <a:pt x="1261357" y="3975739"/>
                  <a:pt x="1145152" y="3908112"/>
                  <a:pt x="1037520" y="3827149"/>
                </a:cubicBezTo>
                <a:lnTo>
                  <a:pt x="775582" y="3978597"/>
                </a:lnTo>
                <a:cubicBezTo>
                  <a:pt x="682237" y="4031937"/>
                  <a:pt x="565080" y="4013839"/>
                  <a:pt x="492690" y="3934782"/>
                </a:cubicBezTo>
                <a:cubicBezTo>
                  <a:pt x="262185" y="3684274"/>
                  <a:pt x="125977" y="3463294"/>
                  <a:pt x="10725" y="3095629"/>
                </a:cubicBezTo>
                <a:cubicBezTo>
                  <a:pt x="-21660" y="2993712"/>
                  <a:pt x="21202" y="2883222"/>
                  <a:pt x="113595" y="2828929"/>
                </a:cubicBezTo>
                <a:lnTo>
                  <a:pt x="373627" y="2677482"/>
                </a:lnTo>
                <a:cubicBezTo>
                  <a:pt x="357435" y="2544132"/>
                  <a:pt x="357435" y="2409829"/>
                  <a:pt x="373627" y="2276479"/>
                </a:cubicBezTo>
                <a:lnTo>
                  <a:pt x="113595" y="2125984"/>
                </a:lnTo>
                <a:cubicBezTo>
                  <a:pt x="21202" y="2072644"/>
                  <a:pt x="-21660" y="1961201"/>
                  <a:pt x="10725" y="1859284"/>
                </a:cubicBezTo>
                <a:cubicBezTo>
                  <a:pt x="125977" y="1493524"/>
                  <a:pt x="260280" y="1272544"/>
                  <a:pt x="492690" y="1020131"/>
                </a:cubicBezTo>
                <a:cubicBezTo>
                  <a:pt x="565080" y="941074"/>
                  <a:pt x="683190" y="922976"/>
                  <a:pt x="775582" y="976316"/>
                </a:cubicBezTo>
                <a:lnTo>
                  <a:pt x="1036567" y="1127764"/>
                </a:lnTo>
                <a:cubicBezTo>
                  <a:pt x="1144200" y="1046801"/>
                  <a:pt x="1260405" y="980126"/>
                  <a:pt x="1383277" y="926786"/>
                </a:cubicBezTo>
                <a:lnTo>
                  <a:pt x="1383277" y="625796"/>
                </a:lnTo>
                <a:cubicBezTo>
                  <a:pt x="1383277" y="518164"/>
                  <a:pt x="1457572" y="425771"/>
                  <a:pt x="1562347" y="402911"/>
                </a:cubicBezTo>
                <a:cubicBezTo>
                  <a:pt x="1892865" y="328616"/>
                  <a:pt x="2152898" y="320044"/>
                  <a:pt x="2531040" y="402911"/>
                </a:cubicBezTo>
                <a:cubicBezTo>
                  <a:pt x="2635815" y="425771"/>
                  <a:pt x="2711063" y="519116"/>
                  <a:pt x="2711063" y="625796"/>
                </a:cubicBezTo>
                <a:lnTo>
                  <a:pt x="2711063" y="926786"/>
                </a:lnTo>
                <a:cubicBezTo>
                  <a:pt x="2833935" y="979174"/>
                  <a:pt x="2950140" y="1046801"/>
                  <a:pt x="3057773" y="1126811"/>
                </a:cubicBezTo>
                <a:lnTo>
                  <a:pt x="3318757" y="976316"/>
                </a:lnTo>
                <a:cubicBezTo>
                  <a:pt x="3412103" y="922976"/>
                  <a:pt x="3530213" y="941074"/>
                  <a:pt x="3602603" y="1020131"/>
                </a:cubicBezTo>
                <a:cubicBezTo>
                  <a:pt x="3858825" y="1302072"/>
                  <a:pt x="3997890" y="1552579"/>
                  <a:pt x="4098855" y="1863094"/>
                </a:cubicBezTo>
                <a:cubicBezTo>
                  <a:pt x="4131240" y="1963106"/>
                  <a:pt x="4091235" y="2071691"/>
                  <a:pt x="4001700" y="2126936"/>
                </a:cubicBezTo>
                <a:lnTo>
                  <a:pt x="3763575" y="2277432"/>
                </a:lnTo>
                <a:cubicBezTo>
                  <a:pt x="3779767" y="2410782"/>
                  <a:pt x="3779767" y="2545084"/>
                  <a:pt x="3763575" y="2678434"/>
                </a:cubicBezTo>
                <a:lnTo>
                  <a:pt x="4031228" y="2845122"/>
                </a:lnTo>
                <a:cubicBezTo>
                  <a:pt x="4113142" y="2896557"/>
                  <a:pt x="4155053" y="2993712"/>
                  <a:pt x="4134098" y="3088009"/>
                </a:cubicBezTo>
                <a:cubicBezTo>
                  <a:pt x="4068375" y="3386141"/>
                  <a:pt x="3819773" y="3703324"/>
                  <a:pt x="3601650" y="3937639"/>
                </a:cubicBezTo>
                <a:cubicBezTo>
                  <a:pt x="3529260" y="4015744"/>
                  <a:pt x="3412103" y="4032889"/>
                  <a:pt x="3319710" y="3979549"/>
                </a:cubicBezTo>
                <a:lnTo>
                  <a:pt x="3057773" y="3828101"/>
                </a:lnTo>
                <a:cubicBezTo>
                  <a:pt x="2950140" y="3909064"/>
                  <a:pt x="2833935" y="3975739"/>
                  <a:pt x="2711063" y="4029079"/>
                </a:cubicBezTo>
                <a:lnTo>
                  <a:pt x="2711063" y="4330069"/>
                </a:lnTo>
                <a:cubicBezTo>
                  <a:pt x="2711063" y="4436749"/>
                  <a:pt x="2636767" y="4530094"/>
                  <a:pt x="2531992" y="4552954"/>
                </a:cubicBezTo>
                <a:cubicBezTo>
                  <a:pt x="2174805" y="4632012"/>
                  <a:pt x="1913820" y="4631059"/>
                  <a:pt x="1561395" y="4552954"/>
                </a:cubicBezTo>
                <a:cubicBezTo>
                  <a:pt x="1458525" y="4529142"/>
                  <a:pt x="1384230" y="4435797"/>
                  <a:pt x="1384230" y="4329117"/>
                </a:cubicBezTo>
                <a:close/>
                <a:moveTo>
                  <a:pt x="1689030" y="4270062"/>
                </a:moveTo>
                <a:cubicBezTo>
                  <a:pt x="1925250" y="4317687"/>
                  <a:pt x="2170043" y="4317687"/>
                  <a:pt x="2406263" y="4270062"/>
                </a:cubicBezTo>
                <a:lnTo>
                  <a:pt x="2406263" y="3815719"/>
                </a:lnTo>
                <a:lnTo>
                  <a:pt x="2508180" y="3779524"/>
                </a:lnTo>
                <a:cubicBezTo>
                  <a:pt x="2668200" y="3723326"/>
                  <a:pt x="2815838" y="3637601"/>
                  <a:pt x="2945378" y="3527112"/>
                </a:cubicBezTo>
                <a:lnTo>
                  <a:pt x="3027292" y="3456626"/>
                </a:lnTo>
                <a:lnTo>
                  <a:pt x="3421628" y="3684274"/>
                </a:lnTo>
                <a:cubicBezTo>
                  <a:pt x="3581648" y="3502347"/>
                  <a:pt x="3745478" y="3290891"/>
                  <a:pt x="3822630" y="3063244"/>
                </a:cubicBezTo>
                <a:lnTo>
                  <a:pt x="3428295" y="2835597"/>
                </a:lnTo>
                <a:lnTo>
                  <a:pt x="3448298" y="2729869"/>
                </a:lnTo>
                <a:cubicBezTo>
                  <a:pt x="3478778" y="2562229"/>
                  <a:pt x="3478778" y="2391732"/>
                  <a:pt x="3448298" y="2224091"/>
                </a:cubicBezTo>
                <a:lnTo>
                  <a:pt x="3428295" y="2118364"/>
                </a:lnTo>
                <a:lnTo>
                  <a:pt x="3822630" y="1890716"/>
                </a:lnTo>
                <a:cubicBezTo>
                  <a:pt x="3745478" y="1663069"/>
                  <a:pt x="3581648" y="1450661"/>
                  <a:pt x="3421628" y="1269686"/>
                </a:cubicBezTo>
                <a:lnTo>
                  <a:pt x="3027292" y="1497334"/>
                </a:lnTo>
                <a:lnTo>
                  <a:pt x="2945378" y="1426849"/>
                </a:lnTo>
                <a:cubicBezTo>
                  <a:pt x="2815838" y="1315406"/>
                  <a:pt x="2669153" y="1230634"/>
                  <a:pt x="2508180" y="1174436"/>
                </a:cubicBezTo>
                <a:lnTo>
                  <a:pt x="2406263" y="1138241"/>
                </a:lnTo>
                <a:lnTo>
                  <a:pt x="2406263" y="684851"/>
                </a:lnTo>
                <a:cubicBezTo>
                  <a:pt x="2170043" y="637226"/>
                  <a:pt x="1925250" y="637226"/>
                  <a:pt x="1689030" y="684851"/>
                </a:cubicBezTo>
                <a:lnTo>
                  <a:pt x="1689030" y="1139194"/>
                </a:lnTo>
                <a:lnTo>
                  <a:pt x="1587113" y="1175389"/>
                </a:lnTo>
                <a:cubicBezTo>
                  <a:pt x="1427093" y="1231586"/>
                  <a:pt x="1279455" y="1317311"/>
                  <a:pt x="1149915" y="1427801"/>
                </a:cubicBezTo>
                <a:lnTo>
                  <a:pt x="1068000" y="1498286"/>
                </a:lnTo>
                <a:lnTo>
                  <a:pt x="673665" y="1270639"/>
                </a:lnTo>
                <a:cubicBezTo>
                  <a:pt x="514181" y="1451940"/>
                  <a:pt x="392140" y="1663002"/>
                  <a:pt x="314572" y="1891669"/>
                </a:cubicBezTo>
                <a:lnTo>
                  <a:pt x="708907" y="2119316"/>
                </a:lnTo>
                <a:lnTo>
                  <a:pt x="688905" y="2225044"/>
                </a:lnTo>
                <a:cubicBezTo>
                  <a:pt x="658425" y="2392684"/>
                  <a:pt x="658425" y="2563182"/>
                  <a:pt x="688905" y="2730822"/>
                </a:cubicBezTo>
                <a:lnTo>
                  <a:pt x="708907" y="2836549"/>
                </a:lnTo>
                <a:lnTo>
                  <a:pt x="314572" y="3064197"/>
                </a:lnTo>
                <a:cubicBezTo>
                  <a:pt x="391725" y="3291844"/>
                  <a:pt x="513645" y="3504251"/>
                  <a:pt x="673665" y="3685226"/>
                </a:cubicBezTo>
                <a:lnTo>
                  <a:pt x="1068000" y="3457579"/>
                </a:lnTo>
                <a:lnTo>
                  <a:pt x="1149915" y="3528064"/>
                </a:lnTo>
                <a:cubicBezTo>
                  <a:pt x="1279455" y="3639507"/>
                  <a:pt x="1426140" y="3724279"/>
                  <a:pt x="1587113" y="3780476"/>
                </a:cubicBezTo>
                <a:lnTo>
                  <a:pt x="1689030" y="3816672"/>
                </a:lnTo>
                <a:lnTo>
                  <a:pt x="1689030" y="4270062"/>
                </a:lnTo>
                <a:close/>
                <a:moveTo>
                  <a:pt x="2054790" y="3267079"/>
                </a:moveTo>
                <a:cubicBezTo>
                  <a:pt x="1619497" y="3267079"/>
                  <a:pt x="1265168" y="2912749"/>
                  <a:pt x="1265168" y="2477457"/>
                </a:cubicBezTo>
                <a:cubicBezTo>
                  <a:pt x="1265168" y="2042164"/>
                  <a:pt x="1619497" y="1687834"/>
                  <a:pt x="2054790" y="1687834"/>
                </a:cubicBezTo>
                <a:cubicBezTo>
                  <a:pt x="2490082" y="1687834"/>
                  <a:pt x="2844413" y="2042164"/>
                  <a:pt x="2844413" y="2477457"/>
                </a:cubicBezTo>
                <a:cubicBezTo>
                  <a:pt x="2844413" y="2912749"/>
                  <a:pt x="2490082" y="3267079"/>
                  <a:pt x="2054790" y="3267079"/>
                </a:cubicBezTo>
                <a:close/>
                <a:moveTo>
                  <a:pt x="2054790" y="1992634"/>
                </a:moveTo>
                <a:cubicBezTo>
                  <a:pt x="1788090" y="1992634"/>
                  <a:pt x="1569968" y="2209804"/>
                  <a:pt x="1569968" y="2477457"/>
                </a:cubicBezTo>
                <a:cubicBezTo>
                  <a:pt x="1569968" y="2745109"/>
                  <a:pt x="1787138" y="2962279"/>
                  <a:pt x="2054790" y="2962279"/>
                </a:cubicBezTo>
                <a:cubicBezTo>
                  <a:pt x="2321490" y="2962279"/>
                  <a:pt x="2539613" y="2745109"/>
                  <a:pt x="2539613" y="2477457"/>
                </a:cubicBezTo>
                <a:cubicBezTo>
                  <a:pt x="2539613" y="2209804"/>
                  <a:pt x="2322443" y="1992634"/>
                  <a:pt x="2054790" y="1992634"/>
                </a:cubicBezTo>
                <a:close/>
                <a:moveTo>
                  <a:pt x="5130412" y="4771077"/>
                </a:moveTo>
                <a:lnTo>
                  <a:pt x="5106600" y="4733929"/>
                </a:lnTo>
                <a:cubicBezTo>
                  <a:pt x="5067548" y="4736787"/>
                  <a:pt x="5029448" y="4736787"/>
                  <a:pt x="4990395" y="4733929"/>
                </a:cubicBezTo>
                <a:lnTo>
                  <a:pt x="4966583" y="4772029"/>
                </a:lnTo>
                <a:cubicBezTo>
                  <a:pt x="4911337" y="4859659"/>
                  <a:pt x="4803705" y="4899664"/>
                  <a:pt x="4704645" y="4868232"/>
                </a:cubicBezTo>
                <a:cubicBezTo>
                  <a:pt x="4573200" y="4827274"/>
                  <a:pt x="4485570" y="4784412"/>
                  <a:pt x="4377938" y="4695829"/>
                </a:cubicBezTo>
                <a:cubicBezTo>
                  <a:pt x="4292213" y="4625344"/>
                  <a:pt x="4271258" y="4502472"/>
                  <a:pt x="4326503" y="4406269"/>
                </a:cubicBezTo>
                <a:lnTo>
                  <a:pt x="4350315" y="4365312"/>
                </a:lnTo>
                <a:cubicBezTo>
                  <a:pt x="4328408" y="4332927"/>
                  <a:pt x="4309358" y="4299589"/>
                  <a:pt x="4292213" y="4264347"/>
                </a:cubicBezTo>
                <a:lnTo>
                  <a:pt x="4205535" y="4264347"/>
                </a:lnTo>
                <a:cubicBezTo>
                  <a:pt x="4095045" y="4264347"/>
                  <a:pt x="4001700" y="4186241"/>
                  <a:pt x="3980745" y="4077657"/>
                </a:cubicBezTo>
                <a:cubicBezTo>
                  <a:pt x="3955980" y="3947164"/>
                  <a:pt x="3955028" y="3847151"/>
                  <a:pt x="3981698" y="3710944"/>
                </a:cubicBezTo>
                <a:cubicBezTo>
                  <a:pt x="4001700" y="3603312"/>
                  <a:pt x="4096950" y="3525207"/>
                  <a:pt x="4206488" y="3525207"/>
                </a:cubicBezTo>
                <a:lnTo>
                  <a:pt x="4292213" y="3525207"/>
                </a:lnTo>
                <a:cubicBezTo>
                  <a:pt x="4309358" y="3489964"/>
                  <a:pt x="4328408" y="3456626"/>
                  <a:pt x="4350315" y="3424241"/>
                </a:cubicBezTo>
                <a:lnTo>
                  <a:pt x="4325550" y="3381379"/>
                </a:lnTo>
                <a:cubicBezTo>
                  <a:pt x="4270305" y="3286129"/>
                  <a:pt x="4291260" y="3165162"/>
                  <a:pt x="4375080" y="3092772"/>
                </a:cubicBezTo>
                <a:cubicBezTo>
                  <a:pt x="4476045" y="3006094"/>
                  <a:pt x="4562723" y="2956564"/>
                  <a:pt x="4694168" y="2911797"/>
                </a:cubicBezTo>
                <a:cubicBezTo>
                  <a:pt x="4797038" y="2876554"/>
                  <a:pt x="4910385" y="2918464"/>
                  <a:pt x="4965630" y="3012762"/>
                </a:cubicBezTo>
                <a:lnTo>
                  <a:pt x="4990395" y="3054672"/>
                </a:lnTo>
                <a:cubicBezTo>
                  <a:pt x="5029448" y="3051814"/>
                  <a:pt x="5067548" y="3051814"/>
                  <a:pt x="5106600" y="3054672"/>
                </a:cubicBezTo>
                <a:lnTo>
                  <a:pt x="5131365" y="3012762"/>
                </a:lnTo>
                <a:cubicBezTo>
                  <a:pt x="5186610" y="2918464"/>
                  <a:pt x="5299958" y="2876554"/>
                  <a:pt x="5403780" y="2912749"/>
                </a:cubicBezTo>
                <a:cubicBezTo>
                  <a:pt x="5530462" y="2955612"/>
                  <a:pt x="5616187" y="3004189"/>
                  <a:pt x="5722868" y="3094676"/>
                </a:cubicBezTo>
                <a:cubicBezTo>
                  <a:pt x="5806687" y="3166114"/>
                  <a:pt x="5826690" y="3287082"/>
                  <a:pt x="5771445" y="3382332"/>
                </a:cubicBezTo>
                <a:lnTo>
                  <a:pt x="5746680" y="3424241"/>
                </a:lnTo>
                <a:cubicBezTo>
                  <a:pt x="5768587" y="3456626"/>
                  <a:pt x="5787637" y="3489964"/>
                  <a:pt x="5804783" y="3525207"/>
                </a:cubicBezTo>
                <a:lnTo>
                  <a:pt x="5853360" y="3525207"/>
                </a:lnTo>
                <a:cubicBezTo>
                  <a:pt x="5963850" y="3525207"/>
                  <a:pt x="6057195" y="3603312"/>
                  <a:pt x="6078150" y="3711897"/>
                </a:cubicBezTo>
                <a:cubicBezTo>
                  <a:pt x="6102915" y="3842389"/>
                  <a:pt x="6103868" y="3942401"/>
                  <a:pt x="6077198" y="4078609"/>
                </a:cubicBezTo>
                <a:cubicBezTo>
                  <a:pt x="6057195" y="4186241"/>
                  <a:pt x="5961945" y="4264347"/>
                  <a:pt x="5852408" y="4264347"/>
                </a:cubicBezTo>
                <a:lnTo>
                  <a:pt x="5804783" y="4264347"/>
                </a:lnTo>
                <a:cubicBezTo>
                  <a:pt x="5787637" y="4299589"/>
                  <a:pt x="5768587" y="4332927"/>
                  <a:pt x="5746680" y="4365312"/>
                </a:cubicBezTo>
                <a:lnTo>
                  <a:pt x="5770493" y="4406269"/>
                </a:lnTo>
                <a:cubicBezTo>
                  <a:pt x="5826690" y="4503424"/>
                  <a:pt x="5803830" y="4626297"/>
                  <a:pt x="5718105" y="4696782"/>
                </a:cubicBezTo>
                <a:cubicBezTo>
                  <a:pt x="5616187" y="4780602"/>
                  <a:pt x="5528558" y="4824417"/>
                  <a:pt x="5394255" y="4867279"/>
                </a:cubicBezTo>
                <a:cubicBezTo>
                  <a:pt x="5294243" y="4897759"/>
                  <a:pt x="5185658" y="4858707"/>
                  <a:pt x="5130412" y="4771077"/>
                </a:cubicBezTo>
                <a:close/>
                <a:moveTo>
                  <a:pt x="5246618" y="4441512"/>
                </a:moveTo>
                <a:lnTo>
                  <a:pt x="5347583" y="4615819"/>
                </a:lnTo>
                <a:cubicBezTo>
                  <a:pt x="5411400" y="4589149"/>
                  <a:pt x="5470455" y="4554859"/>
                  <a:pt x="5525700" y="4512949"/>
                </a:cubicBezTo>
                <a:lnTo>
                  <a:pt x="5424735" y="4338642"/>
                </a:lnTo>
                <a:lnTo>
                  <a:pt x="5485695" y="4267204"/>
                </a:lnTo>
                <a:cubicBezTo>
                  <a:pt x="5531415" y="4212912"/>
                  <a:pt x="5567610" y="4151951"/>
                  <a:pt x="5590470" y="4085276"/>
                </a:cubicBezTo>
                <a:lnTo>
                  <a:pt x="5621903" y="3996694"/>
                </a:lnTo>
                <a:lnTo>
                  <a:pt x="5822880" y="3996694"/>
                </a:lnTo>
                <a:cubicBezTo>
                  <a:pt x="5831453" y="3929066"/>
                  <a:pt x="5831453" y="3859534"/>
                  <a:pt x="5822880" y="3791907"/>
                </a:cubicBezTo>
                <a:lnTo>
                  <a:pt x="5621903" y="3791907"/>
                </a:lnTo>
                <a:lnTo>
                  <a:pt x="5590470" y="3703324"/>
                </a:lnTo>
                <a:cubicBezTo>
                  <a:pt x="5566658" y="3636649"/>
                  <a:pt x="5531415" y="3575689"/>
                  <a:pt x="5485695" y="3521397"/>
                </a:cubicBezTo>
                <a:lnTo>
                  <a:pt x="5424735" y="3449959"/>
                </a:lnTo>
                <a:lnTo>
                  <a:pt x="5525700" y="3275651"/>
                </a:lnTo>
                <a:cubicBezTo>
                  <a:pt x="5471408" y="3233741"/>
                  <a:pt x="5411400" y="3199451"/>
                  <a:pt x="5347583" y="3172782"/>
                </a:cubicBezTo>
                <a:lnTo>
                  <a:pt x="5246618" y="3347089"/>
                </a:lnTo>
                <a:lnTo>
                  <a:pt x="5154225" y="3329944"/>
                </a:lnTo>
                <a:cubicBezTo>
                  <a:pt x="5084693" y="3316609"/>
                  <a:pt x="5013255" y="3316609"/>
                  <a:pt x="4943723" y="3329944"/>
                </a:cubicBezTo>
                <a:lnTo>
                  <a:pt x="4851330" y="3347089"/>
                </a:lnTo>
                <a:lnTo>
                  <a:pt x="4750365" y="3172782"/>
                </a:lnTo>
                <a:cubicBezTo>
                  <a:pt x="4686548" y="3199451"/>
                  <a:pt x="4627493" y="3233741"/>
                  <a:pt x="4572248" y="3275651"/>
                </a:cubicBezTo>
                <a:lnTo>
                  <a:pt x="4673213" y="3449959"/>
                </a:lnTo>
                <a:lnTo>
                  <a:pt x="4612253" y="3521397"/>
                </a:lnTo>
                <a:cubicBezTo>
                  <a:pt x="4566533" y="3575689"/>
                  <a:pt x="4530338" y="3636649"/>
                  <a:pt x="4507478" y="3703324"/>
                </a:cubicBezTo>
                <a:lnTo>
                  <a:pt x="4476045" y="3791907"/>
                </a:lnTo>
                <a:lnTo>
                  <a:pt x="4275068" y="3791907"/>
                </a:lnTo>
                <a:cubicBezTo>
                  <a:pt x="4266495" y="3859534"/>
                  <a:pt x="4266495" y="3929066"/>
                  <a:pt x="4275068" y="3996694"/>
                </a:cubicBezTo>
                <a:lnTo>
                  <a:pt x="4476045" y="3996694"/>
                </a:lnTo>
                <a:lnTo>
                  <a:pt x="4507478" y="4085276"/>
                </a:lnTo>
                <a:cubicBezTo>
                  <a:pt x="4531290" y="4151951"/>
                  <a:pt x="4566533" y="4212912"/>
                  <a:pt x="4612253" y="4267204"/>
                </a:cubicBezTo>
                <a:lnTo>
                  <a:pt x="4673213" y="4338642"/>
                </a:lnTo>
                <a:lnTo>
                  <a:pt x="4572248" y="4512949"/>
                </a:lnTo>
                <a:cubicBezTo>
                  <a:pt x="4626540" y="4554859"/>
                  <a:pt x="4686548" y="4589149"/>
                  <a:pt x="4750365" y="4615819"/>
                </a:cubicBezTo>
                <a:lnTo>
                  <a:pt x="4851330" y="4441512"/>
                </a:lnTo>
                <a:lnTo>
                  <a:pt x="4943723" y="4458657"/>
                </a:lnTo>
                <a:cubicBezTo>
                  <a:pt x="5013255" y="4471992"/>
                  <a:pt x="5084693" y="4471992"/>
                  <a:pt x="5154225" y="4458657"/>
                </a:cubicBezTo>
                <a:lnTo>
                  <a:pt x="5246618" y="4441512"/>
                </a:lnTo>
                <a:close/>
                <a:moveTo>
                  <a:pt x="5334248" y="3887157"/>
                </a:moveTo>
                <a:cubicBezTo>
                  <a:pt x="5334248" y="3718564"/>
                  <a:pt x="5198040" y="3582357"/>
                  <a:pt x="5029448" y="3582357"/>
                </a:cubicBezTo>
                <a:cubicBezTo>
                  <a:pt x="4860855" y="3582357"/>
                  <a:pt x="4724648" y="3718564"/>
                  <a:pt x="4724648" y="3887157"/>
                </a:cubicBezTo>
                <a:cubicBezTo>
                  <a:pt x="4724648" y="4055749"/>
                  <a:pt x="4860855" y="4191957"/>
                  <a:pt x="5029448" y="4191957"/>
                </a:cubicBezTo>
                <a:cubicBezTo>
                  <a:pt x="5198040" y="4191957"/>
                  <a:pt x="5334248" y="4055749"/>
                  <a:pt x="5334248" y="3887157"/>
                </a:cubicBezTo>
                <a:close/>
                <a:moveTo>
                  <a:pt x="5334248" y="988699"/>
                </a:moveTo>
                <a:cubicBezTo>
                  <a:pt x="5334248" y="820106"/>
                  <a:pt x="5198040" y="683899"/>
                  <a:pt x="5029448" y="683899"/>
                </a:cubicBezTo>
                <a:cubicBezTo>
                  <a:pt x="4860855" y="683899"/>
                  <a:pt x="4724648" y="820106"/>
                  <a:pt x="4724648" y="988699"/>
                </a:cubicBezTo>
                <a:cubicBezTo>
                  <a:pt x="4724648" y="1157291"/>
                  <a:pt x="4860855" y="1293499"/>
                  <a:pt x="5029448" y="1293499"/>
                </a:cubicBezTo>
                <a:cubicBezTo>
                  <a:pt x="5198040" y="1293499"/>
                  <a:pt x="5334248" y="1156339"/>
                  <a:pt x="5334248" y="9886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686B0FF-1D92-4A46-90B3-318BBAC4FC6A}"/>
              </a:ext>
            </a:extLst>
          </p:cNvPr>
          <p:cNvSpPr txBox="1">
            <a:spLocks/>
          </p:cNvSpPr>
          <p:nvPr/>
        </p:nvSpPr>
        <p:spPr bwMode="gray">
          <a:xfrm>
            <a:off x="1253739" y="5730632"/>
            <a:ext cx="4662874" cy="54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Planning- und </a:t>
            </a:r>
            <a:r>
              <a:rPr lang="de-DE" b="1" dirty="0">
                <a:latin typeface="Segoe UI" panose="020B0502040204020203" pitchFamily="34" charset="0"/>
                <a:cs typeface="Segoe UI" panose="020B0502040204020203" pitchFamily="34" charset="0"/>
              </a:rPr>
              <a:t>Scrum-Board 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EFF5B24F-D6AC-45B2-9227-602D494BDCC8}"/>
              </a:ext>
            </a:extLst>
          </p:cNvPr>
          <p:cNvSpPr txBox="1">
            <a:spLocks/>
          </p:cNvSpPr>
          <p:nvPr/>
        </p:nvSpPr>
        <p:spPr bwMode="gray">
          <a:xfrm>
            <a:off x="7048500" y="5730632"/>
            <a:ext cx="4662874" cy="540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b="1" dirty="0">
                <a:latin typeface="Segoe UI" panose="020B0502040204020203" pitchFamily="34" charset="0"/>
                <a:cs typeface="Segoe UI" panose="020B0502040204020203" pitchFamily="34" charset="0"/>
              </a:rPr>
              <a:t>Dokumentierte Diskussionen</a:t>
            </a:r>
            <a:r>
              <a:rPr lang="de-DE" dirty="0"/>
              <a:t> an Aufgaben und Fehlern</a:t>
            </a:r>
          </a:p>
        </p:txBody>
      </p:sp>
      <p:sp>
        <p:nvSpPr>
          <p:cNvPr id="37" name="Graphic 478">
            <a:extLst>
              <a:ext uri="{FF2B5EF4-FFF2-40B4-BE49-F238E27FC236}">
                <a16:creationId xmlns:a16="http://schemas.microsoft.com/office/drawing/2014/main" id="{3961F359-2603-4361-A8B3-9FD50C5D9C47}"/>
              </a:ext>
            </a:extLst>
          </p:cNvPr>
          <p:cNvSpPr>
            <a:spLocks noChangeAspect="1"/>
          </p:cNvSpPr>
          <p:nvPr/>
        </p:nvSpPr>
        <p:spPr>
          <a:xfrm>
            <a:off x="603248" y="5795432"/>
            <a:ext cx="359100" cy="410400"/>
          </a:xfrm>
          <a:custGeom>
            <a:avLst/>
            <a:gdLst>
              <a:gd name="connsiteX0" fmla="*/ 1371600 w 4267200"/>
              <a:gd name="connsiteY0" fmla="*/ 762000 h 4876800"/>
              <a:gd name="connsiteX1" fmla="*/ 1066800 w 4267200"/>
              <a:gd name="connsiteY1" fmla="*/ 762000 h 4876800"/>
              <a:gd name="connsiteX2" fmla="*/ 762000 w 4267200"/>
              <a:gd name="connsiteY2" fmla="*/ 1066800 h 4876800"/>
              <a:gd name="connsiteX3" fmla="*/ 762000 w 4267200"/>
              <a:gd name="connsiteY3" fmla="*/ 1371600 h 4876800"/>
              <a:gd name="connsiteX4" fmla="*/ 1066800 w 4267200"/>
              <a:gd name="connsiteY4" fmla="*/ 1676400 h 4876800"/>
              <a:gd name="connsiteX5" fmla="*/ 1371600 w 4267200"/>
              <a:gd name="connsiteY5" fmla="*/ 1676400 h 4876800"/>
              <a:gd name="connsiteX6" fmla="*/ 1676400 w 4267200"/>
              <a:gd name="connsiteY6" fmla="*/ 1371600 h 4876800"/>
              <a:gd name="connsiteX7" fmla="*/ 1676400 w 4267200"/>
              <a:gd name="connsiteY7" fmla="*/ 1066800 h 4876800"/>
              <a:gd name="connsiteX8" fmla="*/ 1371600 w 4267200"/>
              <a:gd name="connsiteY8" fmla="*/ 762000 h 4876800"/>
              <a:gd name="connsiteX9" fmla="*/ 1371600 w 4267200"/>
              <a:gd name="connsiteY9" fmla="*/ 1371600 h 4876800"/>
              <a:gd name="connsiteX10" fmla="*/ 1066800 w 4267200"/>
              <a:gd name="connsiteY10" fmla="*/ 1371600 h 4876800"/>
              <a:gd name="connsiteX11" fmla="*/ 1066800 w 4267200"/>
              <a:gd name="connsiteY11" fmla="*/ 1066800 h 4876800"/>
              <a:gd name="connsiteX12" fmla="*/ 1371600 w 4267200"/>
              <a:gd name="connsiteY12" fmla="*/ 1066800 h 4876800"/>
              <a:gd name="connsiteX13" fmla="*/ 1371600 w 4267200"/>
              <a:gd name="connsiteY13" fmla="*/ 1371600 h 4876800"/>
              <a:gd name="connsiteX14" fmla="*/ 3962400 w 4267200"/>
              <a:gd name="connsiteY14" fmla="*/ 0 h 4876800"/>
              <a:gd name="connsiteX15" fmla="*/ 304800 w 4267200"/>
              <a:gd name="connsiteY15" fmla="*/ 0 h 4876800"/>
              <a:gd name="connsiteX16" fmla="*/ 0 w 4267200"/>
              <a:gd name="connsiteY16" fmla="*/ 304800 h 4876800"/>
              <a:gd name="connsiteX17" fmla="*/ 0 w 4267200"/>
              <a:gd name="connsiteY17" fmla="*/ 4572000 h 4876800"/>
              <a:gd name="connsiteX18" fmla="*/ 304800 w 4267200"/>
              <a:gd name="connsiteY18" fmla="*/ 4876800 h 4876800"/>
              <a:gd name="connsiteX19" fmla="*/ 3962400 w 4267200"/>
              <a:gd name="connsiteY19" fmla="*/ 4876800 h 4876800"/>
              <a:gd name="connsiteX20" fmla="*/ 4267200 w 4267200"/>
              <a:gd name="connsiteY20" fmla="*/ 4572000 h 4876800"/>
              <a:gd name="connsiteX21" fmla="*/ 4267200 w 4267200"/>
              <a:gd name="connsiteY21" fmla="*/ 304800 h 4876800"/>
              <a:gd name="connsiteX22" fmla="*/ 3962400 w 4267200"/>
              <a:gd name="connsiteY22" fmla="*/ 0 h 4876800"/>
              <a:gd name="connsiteX23" fmla="*/ 3962400 w 4267200"/>
              <a:gd name="connsiteY23" fmla="*/ 4572000 h 4876800"/>
              <a:gd name="connsiteX24" fmla="*/ 304800 w 4267200"/>
              <a:gd name="connsiteY24" fmla="*/ 4572000 h 4876800"/>
              <a:gd name="connsiteX25" fmla="*/ 304800 w 4267200"/>
              <a:gd name="connsiteY25" fmla="*/ 304800 h 4876800"/>
              <a:gd name="connsiteX26" fmla="*/ 3962400 w 4267200"/>
              <a:gd name="connsiteY26" fmla="*/ 304800 h 4876800"/>
              <a:gd name="connsiteX27" fmla="*/ 3962400 w 4267200"/>
              <a:gd name="connsiteY27" fmla="*/ 4572000 h 4876800"/>
              <a:gd name="connsiteX28" fmla="*/ 3276600 w 4267200"/>
              <a:gd name="connsiteY28" fmla="*/ 2286000 h 4876800"/>
              <a:gd name="connsiteX29" fmla="*/ 2057400 w 4267200"/>
              <a:gd name="connsiteY29" fmla="*/ 2286000 h 4876800"/>
              <a:gd name="connsiteX30" fmla="*/ 1981200 w 4267200"/>
              <a:gd name="connsiteY30" fmla="*/ 2362200 h 4876800"/>
              <a:gd name="connsiteX31" fmla="*/ 1981200 w 4267200"/>
              <a:gd name="connsiteY31" fmla="*/ 2514600 h 4876800"/>
              <a:gd name="connsiteX32" fmla="*/ 2057400 w 4267200"/>
              <a:gd name="connsiteY32" fmla="*/ 2590800 h 4876800"/>
              <a:gd name="connsiteX33" fmla="*/ 3276600 w 4267200"/>
              <a:gd name="connsiteY33" fmla="*/ 2590800 h 4876800"/>
              <a:gd name="connsiteX34" fmla="*/ 3352800 w 4267200"/>
              <a:gd name="connsiteY34" fmla="*/ 2514600 h 4876800"/>
              <a:gd name="connsiteX35" fmla="*/ 3352800 w 4267200"/>
              <a:gd name="connsiteY35" fmla="*/ 2362200 h 4876800"/>
              <a:gd name="connsiteX36" fmla="*/ 3276600 w 4267200"/>
              <a:gd name="connsiteY36" fmla="*/ 2286000 h 4876800"/>
              <a:gd name="connsiteX37" fmla="*/ 1371600 w 4267200"/>
              <a:gd name="connsiteY37" fmla="*/ 3200400 h 4876800"/>
              <a:gd name="connsiteX38" fmla="*/ 1066800 w 4267200"/>
              <a:gd name="connsiteY38" fmla="*/ 3200400 h 4876800"/>
              <a:gd name="connsiteX39" fmla="*/ 762000 w 4267200"/>
              <a:gd name="connsiteY39" fmla="*/ 3505200 h 4876800"/>
              <a:gd name="connsiteX40" fmla="*/ 762000 w 4267200"/>
              <a:gd name="connsiteY40" fmla="*/ 3810000 h 4876800"/>
              <a:gd name="connsiteX41" fmla="*/ 1066800 w 4267200"/>
              <a:gd name="connsiteY41" fmla="*/ 4114800 h 4876800"/>
              <a:gd name="connsiteX42" fmla="*/ 1371600 w 4267200"/>
              <a:gd name="connsiteY42" fmla="*/ 4114800 h 4876800"/>
              <a:gd name="connsiteX43" fmla="*/ 1676400 w 4267200"/>
              <a:gd name="connsiteY43" fmla="*/ 3810000 h 4876800"/>
              <a:gd name="connsiteX44" fmla="*/ 1676400 w 4267200"/>
              <a:gd name="connsiteY44" fmla="*/ 3505200 h 4876800"/>
              <a:gd name="connsiteX45" fmla="*/ 1371600 w 4267200"/>
              <a:gd name="connsiteY45" fmla="*/ 3200400 h 4876800"/>
              <a:gd name="connsiteX46" fmla="*/ 1371600 w 4267200"/>
              <a:gd name="connsiteY46" fmla="*/ 3810000 h 4876800"/>
              <a:gd name="connsiteX47" fmla="*/ 1066800 w 4267200"/>
              <a:gd name="connsiteY47" fmla="*/ 3810000 h 4876800"/>
              <a:gd name="connsiteX48" fmla="*/ 1066800 w 4267200"/>
              <a:gd name="connsiteY48" fmla="*/ 3505200 h 4876800"/>
              <a:gd name="connsiteX49" fmla="*/ 1371600 w 4267200"/>
              <a:gd name="connsiteY49" fmla="*/ 3505200 h 4876800"/>
              <a:gd name="connsiteX50" fmla="*/ 1371600 w 4267200"/>
              <a:gd name="connsiteY50" fmla="*/ 3810000 h 4876800"/>
              <a:gd name="connsiteX51" fmla="*/ 3276600 w 4267200"/>
              <a:gd name="connsiteY51" fmla="*/ 3505200 h 4876800"/>
              <a:gd name="connsiteX52" fmla="*/ 2057400 w 4267200"/>
              <a:gd name="connsiteY52" fmla="*/ 3505200 h 4876800"/>
              <a:gd name="connsiteX53" fmla="*/ 1981200 w 4267200"/>
              <a:gd name="connsiteY53" fmla="*/ 3581400 h 4876800"/>
              <a:gd name="connsiteX54" fmla="*/ 1981200 w 4267200"/>
              <a:gd name="connsiteY54" fmla="*/ 3733800 h 4876800"/>
              <a:gd name="connsiteX55" fmla="*/ 2057400 w 4267200"/>
              <a:gd name="connsiteY55" fmla="*/ 3810000 h 4876800"/>
              <a:gd name="connsiteX56" fmla="*/ 3276600 w 4267200"/>
              <a:gd name="connsiteY56" fmla="*/ 3810000 h 4876800"/>
              <a:gd name="connsiteX57" fmla="*/ 3352800 w 4267200"/>
              <a:gd name="connsiteY57" fmla="*/ 3733800 h 4876800"/>
              <a:gd name="connsiteX58" fmla="*/ 3352800 w 4267200"/>
              <a:gd name="connsiteY58" fmla="*/ 3581400 h 4876800"/>
              <a:gd name="connsiteX59" fmla="*/ 3276600 w 4267200"/>
              <a:gd name="connsiteY59" fmla="*/ 3505200 h 4876800"/>
              <a:gd name="connsiteX60" fmla="*/ 3276600 w 4267200"/>
              <a:gd name="connsiteY60" fmla="*/ 1066800 h 4876800"/>
              <a:gd name="connsiteX61" fmla="*/ 2057400 w 4267200"/>
              <a:gd name="connsiteY61" fmla="*/ 1066800 h 4876800"/>
              <a:gd name="connsiteX62" fmla="*/ 1981200 w 4267200"/>
              <a:gd name="connsiteY62" fmla="*/ 1143000 h 4876800"/>
              <a:gd name="connsiteX63" fmla="*/ 1981200 w 4267200"/>
              <a:gd name="connsiteY63" fmla="*/ 1295400 h 4876800"/>
              <a:gd name="connsiteX64" fmla="*/ 2057400 w 4267200"/>
              <a:gd name="connsiteY64" fmla="*/ 1371600 h 4876800"/>
              <a:gd name="connsiteX65" fmla="*/ 3276600 w 4267200"/>
              <a:gd name="connsiteY65" fmla="*/ 1371600 h 4876800"/>
              <a:gd name="connsiteX66" fmla="*/ 3352800 w 4267200"/>
              <a:gd name="connsiteY66" fmla="*/ 1295400 h 4876800"/>
              <a:gd name="connsiteX67" fmla="*/ 3352800 w 4267200"/>
              <a:gd name="connsiteY67" fmla="*/ 1143000 h 4876800"/>
              <a:gd name="connsiteX68" fmla="*/ 3276600 w 4267200"/>
              <a:gd name="connsiteY68" fmla="*/ 1066800 h 4876800"/>
              <a:gd name="connsiteX69" fmla="*/ 1371600 w 4267200"/>
              <a:gd name="connsiteY69" fmla="*/ 1981200 h 4876800"/>
              <a:gd name="connsiteX70" fmla="*/ 1066800 w 4267200"/>
              <a:gd name="connsiteY70" fmla="*/ 1981200 h 4876800"/>
              <a:gd name="connsiteX71" fmla="*/ 762000 w 4267200"/>
              <a:gd name="connsiteY71" fmla="*/ 2286000 h 4876800"/>
              <a:gd name="connsiteX72" fmla="*/ 762000 w 4267200"/>
              <a:gd name="connsiteY72" fmla="*/ 2590800 h 4876800"/>
              <a:gd name="connsiteX73" fmla="*/ 1066800 w 4267200"/>
              <a:gd name="connsiteY73" fmla="*/ 2895600 h 4876800"/>
              <a:gd name="connsiteX74" fmla="*/ 1371600 w 4267200"/>
              <a:gd name="connsiteY74" fmla="*/ 2895600 h 4876800"/>
              <a:gd name="connsiteX75" fmla="*/ 1676400 w 4267200"/>
              <a:gd name="connsiteY75" fmla="*/ 2590800 h 4876800"/>
              <a:gd name="connsiteX76" fmla="*/ 1676400 w 4267200"/>
              <a:gd name="connsiteY76" fmla="*/ 2286000 h 4876800"/>
              <a:gd name="connsiteX77" fmla="*/ 1371600 w 4267200"/>
              <a:gd name="connsiteY77" fmla="*/ 1981200 h 4876800"/>
              <a:gd name="connsiteX78" fmla="*/ 1371600 w 4267200"/>
              <a:gd name="connsiteY78" fmla="*/ 2590800 h 4876800"/>
              <a:gd name="connsiteX79" fmla="*/ 1066800 w 4267200"/>
              <a:gd name="connsiteY79" fmla="*/ 2590800 h 4876800"/>
              <a:gd name="connsiteX80" fmla="*/ 1066800 w 4267200"/>
              <a:gd name="connsiteY80" fmla="*/ 2286000 h 4876800"/>
              <a:gd name="connsiteX81" fmla="*/ 1371600 w 4267200"/>
              <a:gd name="connsiteY81" fmla="*/ 2286000 h 4876800"/>
              <a:gd name="connsiteX82" fmla="*/ 1371600 w 4267200"/>
              <a:gd name="connsiteY82" fmla="*/ 259080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4267200" h="4876800">
                <a:moveTo>
                  <a:pt x="1371600" y="762000"/>
                </a:moveTo>
                <a:lnTo>
                  <a:pt x="1066800" y="762000"/>
                </a:lnTo>
                <a:cubicBezTo>
                  <a:pt x="898208" y="762000"/>
                  <a:pt x="762000" y="899160"/>
                  <a:pt x="762000" y="1066800"/>
                </a:cubicBezTo>
                <a:lnTo>
                  <a:pt x="762000" y="1371600"/>
                </a:lnTo>
                <a:cubicBezTo>
                  <a:pt x="762000" y="1539240"/>
                  <a:pt x="898208" y="1676400"/>
                  <a:pt x="1066800" y="1676400"/>
                </a:cubicBezTo>
                <a:lnTo>
                  <a:pt x="1371600" y="1676400"/>
                </a:lnTo>
                <a:cubicBezTo>
                  <a:pt x="1540193" y="1676400"/>
                  <a:pt x="1676400" y="1539240"/>
                  <a:pt x="1676400" y="1371600"/>
                </a:cubicBezTo>
                <a:lnTo>
                  <a:pt x="1676400" y="1066800"/>
                </a:lnTo>
                <a:cubicBezTo>
                  <a:pt x="1676400" y="899160"/>
                  <a:pt x="1540193" y="762000"/>
                  <a:pt x="1371600" y="762000"/>
                </a:cubicBezTo>
                <a:close/>
                <a:moveTo>
                  <a:pt x="1371600" y="1371600"/>
                </a:moveTo>
                <a:lnTo>
                  <a:pt x="1066800" y="1371600"/>
                </a:lnTo>
                <a:lnTo>
                  <a:pt x="1066800" y="1066800"/>
                </a:lnTo>
                <a:lnTo>
                  <a:pt x="1371600" y="1066800"/>
                </a:lnTo>
                <a:lnTo>
                  <a:pt x="1371600" y="1371600"/>
                </a:lnTo>
                <a:close/>
                <a:moveTo>
                  <a:pt x="3962400" y="0"/>
                </a:moveTo>
                <a:lnTo>
                  <a:pt x="304800" y="0"/>
                </a:lnTo>
                <a:cubicBezTo>
                  <a:pt x="136208" y="0"/>
                  <a:pt x="0" y="137160"/>
                  <a:pt x="0" y="304800"/>
                </a:cubicBezTo>
                <a:lnTo>
                  <a:pt x="0" y="4572000"/>
                </a:lnTo>
                <a:cubicBezTo>
                  <a:pt x="0" y="4739640"/>
                  <a:pt x="136208" y="4876800"/>
                  <a:pt x="304800" y="4876800"/>
                </a:cubicBezTo>
                <a:lnTo>
                  <a:pt x="3962400" y="4876800"/>
                </a:lnTo>
                <a:cubicBezTo>
                  <a:pt x="4130993" y="4876800"/>
                  <a:pt x="4267200" y="4739640"/>
                  <a:pt x="4267200" y="4572000"/>
                </a:cubicBezTo>
                <a:lnTo>
                  <a:pt x="4267200" y="304800"/>
                </a:lnTo>
                <a:cubicBezTo>
                  <a:pt x="4267200" y="137160"/>
                  <a:pt x="4130993" y="0"/>
                  <a:pt x="3962400" y="0"/>
                </a:cubicBezTo>
                <a:close/>
                <a:moveTo>
                  <a:pt x="3962400" y="4572000"/>
                </a:moveTo>
                <a:lnTo>
                  <a:pt x="304800" y="4572000"/>
                </a:lnTo>
                <a:lnTo>
                  <a:pt x="304800" y="304800"/>
                </a:lnTo>
                <a:lnTo>
                  <a:pt x="3962400" y="304800"/>
                </a:lnTo>
                <a:lnTo>
                  <a:pt x="3962400" y="4572000"/>
                </a:lnTo>
                <a:close/>
                <a:moveTo>
                  <a:pt x="3276600" y="2286000"/>
                </a:moveTo>
                <a:lnTo>
                  <a:pt x="2057400" y="2286000"/>
                </a:lnTo>
                <a:cubicBezTo>
                  <a:pt x="2015490" y="2286000"/>
                  <a:pt x="1981200" y="2320290"/>
                  <a:pt x="1981200" y="2362200"/>
                </a:cubicBezTo>
                <a:lnTo>
                  <a:pt x="1981200" y="2514600"/>
                </a:lnTo>
                <a:cubicBezTo>
                  <a:pt x="1981200" y="2556510"/>
                  <a:pt x="2015490" y="2590800"/>
                  <a:pt x="2057400" y="2590800"/>
                </a:cubicBezTo>
                <a:lnTo>
                  <a:pt x="3276600" y="2590800"/>
                </a:lnTo>
                <a:cubicBezTo>
                  <a:pt x="3318510" y="2590800"/>
                  <a:pt x="3352800" y="2556510"/>
                  <a:pt x="3352800" y="2514600"/>
                </a:cubicBezTo>
                <a:lnTo>
                  <a:pt x="3352800" y="2362200"/>
                </a:lnTo>
                <a:cubicBezTo>
                  <a:pt x="3352800" y="2320290"/>
                  <a:pt x="3318510" y="2286000"/>
                  <a:pt x="3276600" y="2286000"/>
                </a:cubicBezTo>
                <a:close/>
                <a:moveTo>
                  <a:pt x="1371600" y="3200400"/>
                </a:moveTo>
                <a:lnTo>
                  <a:pt x="1066800" y="3200400"/>
                </a:lnTo>
                <a:cubicBezTo>
                  <a:pt x="898208" y="3200400"/>
                  <a:pt x="762000" y="3337560"/>
                  <a:pt x="762000" y="3505200"/>
                </a:cubicBezTo>
                <a:lnTo>
                  <a:pt x="762000" y="3810000"/>
                </a:lnTo>
                <a:cubicBezTo>
                  <a:pt x="762000" y="3977640"/>
                  <a:pt x="898208" y="4114800"/>
                  <a:pt x="1066800" y="4114800"/>
                </a:cubicBezTo>
                <a:lnTo>
                  <a:pt x="1371600" y="4114800"/>
                </a:lnTo>
                <a:cubicBezTo>
                  <a:pt x="1540193" y="4114800"/>
                  <a:pt x="1676400" y="3977640"/>
                  <a:pt x="1676400" y="3810000"/>
                </a:cubicBezTo>
                <a:lnTo>
                  <a:pt x="1676400" y="3505200"/>
                </a:lnTo>
                <a:cubicBezTo>
                  <a:pt x="1676400" y="3337560"/>
                  <a:pt x="1540193" y="3200400"/>
                  <a:pt x="1371600" y="3200400"/>
                </a:cubicBezTo>
                <a:close/>
                <a:moveTo>
                  <a:pt x="1371600" y="3810000"/>
                </a:moveTo>
                <a:lnTo>
                  <a:pt x="1066800" y="3810000"/>
                </a:lnTo>
                <a:lnTo>
                  <a:pt x="1066800" y="3505200"/>
                </a:lnTo>
                <a:lnTo>
                  <a:pt x="1371600" y="3505200"/>
                </a:lnTo>
                <a:lnTo>
                  <a:pt x="1371600" y="3810000"/>
                </a:lnTo>
                <a:close/>
                <a:moveTo>
                  <a:pt x="3276600" y="3505200"/>
                </a:moveTo>
                <a:lnTo>
                  <a:pt x="2057400" y="3505200"/>
                </a:lnTo>
                <a:cubicBezTo>
                  <a:pt x="2015490" y="3505200"/>
                  <a:pt x="1981200" y="3539490"/>
                  <a:pt x="1981200" y="3581400"/>
                </a:cubicBezTo>
                <a:lnTo>
                  <a:pt x="1981200" y="3733800"/>
                </a:lnTo>
                <a:cubicBezTo>
                  <a:pt x="1981200" y="3775710"/>
                  <a:pt x="2015490" y="3810000"/>
                  <a:pt x="2057400" y="3810000"/>
                </a:cubicBezTo>
                <a:lnTo>
                  <a:pt x="3276600" y="3810000"/>
                </a:lnTo>
                <a:cubicBezTo>
                  <a:pt x="3318510" y="3810000"/>
                  <a:pt x="3352800" y="3775710"/>
                  <a:pt x="3352800" y="3733800"/>
                </a:cubicBezTo>
                <a:lnTo>
                  <a:pt x="3352800" y="3581400"/>
                </a:lnTo>
                <a:cubicBezTo>
                  <a:pt x="3352800" y="3539490"/>
                  <a:pt x="3318510" y="3505200"/>
                  <a:pt x="3276600" y="3505200"/>
                </a:cubicBezTo>
                <a:close/>
                <a:moveTo>
                  <a:pt x="3276600" y="1066800"/>
                </a:moveTo>
                <a:lnTo>
                  <a:pt x="2057400" y="1066800"/>
                </a:lnTo>
                <a:cubicBezTo>
                  <a:pt x="2015490" y="1066800"/>
                  <a:pt x="1981200" y="1101090"/>
                  <a:pt x="1981200" y="1143000"/>
                </a:cubicBezTo>
                <a:lnTo>
                  <a:pt x="1981200" y="1295400"/>
                </a:lnTo>
                <a:cubicBezTo>
                  <a:pt x="1981200" y="1337310"/>
                  <a:pt x="2015490" y="1371600"/>
                  <a:pt x="2057400" y="1371600"/>
                </a:cubicBezTo>
                <a:lnTo>
                  <a:pt x="3276600" y="1371600"/>
                </a:lnTo>
                <a:cubicBezTo>
                  <a:pt x="3318510" y="1371600"/>
                  <a:pt x="3352800" y="1337310"/>
                  <a:pt x="3352800" y="1295400"/>
                </a:cubicBezTo>
                <a:lnTo>
                  <a:pt x="3352800" y="1143000"/>
                </a:lnTo>
                <a:cubicBezTo>
                  <a:pt x="3352800" y="1101090"/>
                  <a:pt x="3318510" y="1066800"/>
                  <a:pt x="3276600" y="1066800"/>
                </a:cubicBezTo>
                <a:close/>
                <a:moveTo>
                  <a:pt x="1371600" y="1981200"/>
                </a:moveTo>
                <a:lnTo>
                  <a:pt x="1066800" y="1981200"/>
                </a:lnTo>
                <a:cubicBezTo>
                  <a:pt x="898208" y="1981200"/>
                  <a:pt x="762000" y="2118360"/>
                  <a:pt x="762000" y="2286000"/>
                </a:cubicBezTo>
                <a:lnTo>
                  <a:pt x="762000" y="2590800"/>
                </a:lnTo>
                <a:cubicBezTo>
                  <a:pt x="762000" y="2758440"/>
                  <a:pt x="898208" y="2895600"/>
                  <a:pt x="1066800" y="2895600"/>
                </a:cubicBezTo>
                <a:lnTo>
                  <a:pt x="1371600" y="2895600"/>
                </a:lnTo>
                <a:cubicBezTo>
                  <a:pt x="1540193" y="2895600"/>
                  <a:pt x="1676400" y="2758440"/>
                  <a:pt x="1676400" y="2590800"/>
                </a:cubicBezTo>
                <a:lnTo>
                  <a:pt x="1676400" y="2286000"/>
                </a:lnTo>
                <a:cubicBezTo>
                  <a:pt x="1676400" y="2118360"/>
                  <a:pt x="1540193" y="1981200"/>
                  <a:pt x="1371600" y="1981200"/>
                </a:cubicBezTo>
                <a:close/>
                <a:moveTo>
                  <a:pt x="1371600" y="2590800"/>
                </a:moveTo>
                <a:lnTo>
                  <a:pt x="1066800" y="2590800"/>
                </a:lnTo>
                <a:lnTo>
                  <a:pt x="1066800" y="2286000"/>
                </a:lnTo>
                <a:lnTo>
                  <a:pt x="1371600" y="2286000"/>
                </a:lnTo>
                <a:lnTo>
                  <a:pt x="1371600" y="2590800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40" name="Graphic 16">
            <a:extLst>
              <a:ext uri="{FF2B5EF4-FFF2-40B4-BE49-F238E27FC236}">
                <a16:creationId xmlns:a16="http://schemas.microsoft.com/office/drawing/2014/main" id="{3CDEF592-31C8-41D5-8F28-41050EA84941}"/>
              </a:ext>
            </a:extLst>
          </p:cNvPr>
          <p:cNvSpPr>
            <a:spLocks noChangeAspect="1"/>
          </p:cNvSpPr>
          <p:nvPr/>
        </p:nvSpPr>
        <p:spPr>
          <a:xfrm>
            <a:off x="6358741" y="5795432"/>
            <a:ext cx="461700" cy="410400"/>
          </a:xfrm>
          <a:custGeom>
            <a:avLst/>
            <a:gdLst>
              <a:gd name="connsiteX0" fmla="*/ 4876800 w 5486400"/>
              <a:gd name="connsiteY0" fmla="*/ 1524000 h 4876800"/>
              <a:gd name="connsiteX1" fmla="*/ 3962400 w 5486400"/>
              <a:gd name="connsiteY1" fmla="*/ 1524000 h 4876800"/>
              <a:gd name="connsiteX2" fmla="*/ 3962400 w 5486400"/>
              <a:gd name="connsiteY2" fmla="*/ 609600 h 4876800"/>
              <a:gd name="connsiteX3" fmla="*/ 3352800 w 5486400"/>
              <a:gd name="connsiteY3" fmla="*/ 0 h 4876800"/>
              <a:gd name="connsiteX4" fmla="*/ 609600 w 5486400"/>
              <a:gd name="connsiteY4" fmla="*/ 0 h 4876800"/>
              <a:gd name="connsiteX5" fmla="*/ 0 w 5486400"/>
              <a:gd name="connsiteY5" fmla="*/ 609600 h 4876800"/>
              <a:gd name="connsiteX6" fmla="*/ 0 w 5486400"/>
              <a:gd name="connsiteY6" fmla="*/ 2133600 h 4876800"/>
              <a:gd name="connsiteX7" fmla="*/ 609600 w 5486400"/>
              <a:gd name="connsiteY7" fmla="*/ 2743200 h 4876800"/>
              <a:gd name="connsiteX8" fmla="*/ 914400 w 5486400"/>
              <a:gd name="connsiteY8" fmla="*/ 2743200 h 4876800"/>
              <a:gd name="connsiteX9" fmla="*/ 914400 w 5486400"/>
              <a:gd name="connsiteY9" fmla="*/ 3238500 h 4876800"/>
              <a:gd name="connsiteX10" fmla="*/ 1028700 w 5486400"/>
              <a:gd name="connsiteY10" fmla="*/ 3352800 h 4876800"/>
              <a:gd name="connsiteX11" fmla="*/ 1096328 w 5486400"/>
              <a:gd name="connsiteY11" fmla="*/ 3329940 h 4876800"/>
              <a:gd name="connsiteX12" fmla="*/ 1828800 w 5486400"/>
              <a:gd name="connsiteY12" fmla="*/ 2915603 h 4876800"/>
              <a:gd name="connsiteX13" fmla="*/ 1828800 w 5486400"/>
              <a:gd name="connsiteY13" fmla="*/ 3657600 h 4876800"/>
              <a:gd name="connsiteX14" fmla="*/ 2438400 w 5486400"/>
              <a:gd name="connsiteY14" fmla="*/ 4267200 h 4876800"/>
              <a:gd name="connsiteX15" fmla="*/ 3352800 w 5486400"/>
              <a:gd name="connsiteY15" fmla="*/ 4267200 h 4876800"/>
              <a:gd name="connsiteX16" fmla="*/ 4390073 w 5486400"/>
              <a:gd name="connsiteY16" fmla="*/ 4853940 h 4876800"/>
              <a:gd name="connsiteX17" fmla="*/ 4457700 w 5486400"/>
              <a:gd name="connsiteY17" fmla="*/ 4876800 h 4876800"/>
              <a:gd name="connsiteX18" fmla="*/ 4572000 w 5486400"/>
              <a:gd name="connsiteY18" fmla="*/ 4762500 h 4876800"/>
              <a:gd name="connsiteX19" fmla="*/ 4572000 w 5486400"/>
              <a:gd name="connsiteY19" fmla="*/ 4267200 h 4876800"/>
              <a:gd name="connsiteX20" fmla="*/ 4876800 w 5486400"/>
              <a:gd name="connsiteY20" fmla="*/ 4267200 h 4876800"/>
              <a:gd name="connsiteX21" fmla="*/ 5486400 w 5486400"/>
              <a:gd name="connsiteY21" fmla="*/ 3657600 h 4876800"/>
              <a:gd name="connsiteX22" fmla="*/ 5486400 w 5486400"/>
              <a:gd name="connsiteY22" fmla="*/ 2133600 h 4876800"/>
              <a:gd name="connsiteX23" fmla="*/ 4876800 w 5486400"/>
              <a:gd name="connsiteY23" fmla="*/ 1524000 h 4876800"/>
              <a:gd name="connsiteX24" fmla="*/ 609600 w 5486400"/>
              <a:gd name="connsiteY24" fmla="*/ 2438400 h 4876800"/>
              <a:gd name="connsiteX25" fmla="*/ 304800 w 5486400"/>
              <a:gd name="connsiteY25" fmla="*/ 2133600 h 4876800"/>
              <a:gd name="connsiteX26" fmla="*/ 304800 w 5486400"/>
              <a:gd name="connsiteY26" fmla="*/ 609600 h 4876800"/>
              <a:gd name="connsiteX27" fmla="*/ 609600 w 5486400"/>
              <a:gd name="connsiteY27" fmla="*/ 304800 h 4876800"/>
              <a:gd name="connsiteX28" fmla="*/ 3352800 w 5486400"/>
              <a:gd name="connsiteY28" fmla="*/ 304800 h 4876800"/>
              <a:gd name="connsiteX29" fmla="*/ 3657600 w 5486400"/>
              <a:gd name="connsiteY29" fmla="*/ 609600 h 4876800"/>
              <a:gd name="connsiteX30" fmla="*/ 3657600 w 5486400"/>
              <a:gd name="connsiteY30" fmla="*/ 2133600 h 4876800"/>
              <a:gd name="connsiteX31" fmla="*/ 3352800 w 5486400"/>
              <a:gd name="connsiteY31" fmla="*/ 2438400 h 4876800"/>
              <a:gd name="connsiteX32" fmla="*/ 2053590 w 5486400"/>
              <a:gd name="connsiteY32" fmla="*/ 2438400 h 4876800"/>
              <a:gd name="connsiteX33" fmla="*/ 1984058 w 5486400"/>
              <a:gd name="connsiteY33" fmla="*/ 2478405 h 4876800"/>
              <a:gd name="connsiteX34" fmla="*/ 1219200 w 5486400"/>
              <a:gd name="connsiteY34" fmla="*/ 2910840 h 4876800"/>
              <a:gd name="connsiteX35" fmla="*/ 1219200 w 5486400"/>
              <a:gd name="connsiteY35" fmla="*/ 2438400 h 4876800"/>
              <a:gd name="connsiteX36" fmla="*/ 5181600 w 5486400"/>
              <a:gd name="connsiteY36" fmla="*/ 3657600 h 4876800"/>
              <a:gd name="connsiteX37" fmla="*/ 4876800 w 5486400"/>
              <a:gd name="connsiteY37" fmla="*/ 3962400 h 4876800"/>
              <a:gd name="connsiteX38" fmla="*/ 4267200 w 5486400"/>
              <a:gd name="connsiteY38" fmla="*/ 3962400 h 4876800"/>
              <a:gd name="connsiteX39" fmla="*/ 4267200 w 5486400"/>
              <a:gd name="connsiteY39" fmla="*/ 4434840 h 4876800"/>
              <a:gd name="connsiteX40" fmla="*/ 3503295 w 5486400"/>
              <a:gd name="connsiteY40" fmla="*/ 4002405 h 4876800"/>
              <a:gd name="connsiteX41" fmla="*/ 3433763 w 5486400"/>
              <a:gd name="connsiteY41" fmla="*/ 3962400 h 4876800"/>
              <a:gd name="connsiteX42" fmla="*/ 2438400 w 5486400"/>
              <a:gd name="connsiteY42" fmla="*/ 3962400 h 4876800"/>
              <a:gd name="connsiteX43" fmla="*/ 2133600 w 5486400"/>
              <a:gd name="connsiteY43" fmla="*/ 3657600 h 4876800"/>
              <a:gd name="connsiteX44" fmla="*/ 2133600 w 5486400"/>
              <a:gd name="connsiteY44" fmla="*/ 2743200 h 4876800"/>
              <a:gd name="connsiteX45" fmla="*/ 3352800 w 5486400"/>
              <a:gd name="connsiteY45" fmla="*/ 2743200 h 4876800"/>
              <a:gd name="connsiteX46" fmla="*/ 3962400 w 5486400"/>
              <a:gd name="connsiteY46" fmla="*/ 2133600 h 4876800"/>
              <a:gd name="connsiteX47" fmla="*/ 3962400 w 5486400"/>
              <a:gd name="connsiteY47" fmla="*/ 1828800 h 4876800"/>
              <a:gd name="connsiteX48" fmla="*/ 4876800 w 5486400"/>
              <a:gd name="connsiteY48" fmla="*/ 1828800 h 4876800"/>
              <a:gd name="connsiteX49" fmla="*/ 5181600 w 5486400"/>
              <a:gd name="connsiteY49" fmla="*/ 213360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5486400" h="4876800">
                <a:moveTo>
                  <a:pt x="4876800" y="1524000"/>
                </a:moveTo>
                <a:lnTo>
                  <a:pt x="3962400" y="1524000"/>
                </a:lnTo>
                <a:lnTo>
                  <a:pt x="3962400" y="609600"/>
                </a:lnTo>
                <a:cubicBezTo>
                  <a:pt x="3962400" y="273368"/>
                  <a:pt x="3689033" y="0"/>
                  <a:pt x="3352800" y="0"/>
                </a:cubicBezTo>
                <a:lnTo>
                  <a:pt x="609600" y="0"/>
                </a:lnTo>
                <a:cubicBezTo>
                  <a:pt x="273368" y="0"/>
                  <a:pt x="0" y="273368"/>
                  <a:pt x="0" y="609600"/>
                </a:cubicBezTo>
                <a:lnTo>
                  <a:pt x="0" y="2133600"/>
                </a:lnTo>
                <a:cubicBezTo>
                  <a:pt x="0" y="2469833"/>
                  <a:pt x="273368" y="2743200"/>
                  <a:pt x="609600" y="2743200"/>
                </a:cubicBezTo>
                <a:lnTo>
                  <a:pt x="914400" y="2743200"/>
                </a:lnTo>
                <a:lnTo>
                  <a:pt x="914400" y="3238500"/>
                </a:lnTo>
                <a:cubicBezTo>
                  <a:pt x="914400" y="3306128"/>
                  <a:pt x="969645" y="3352800"/>
                  <a:pt x="1028700" y="3352800"/>
                </a:cubicBezTo>
                <a:cubicBezTo>
                  <a:pt x="1051560" y="3352800"/>
                  <a:pt x="1075373" y="3346133"/>
                  <a:pt x="1096328" y="3329940"/>
                </a:cubicBezTo>
                <a:lnTo>
                  <a:pt x="1828800" y="2915603"/>
                </a:lnTo>
                <a:lnTo>
                  <a:pt x="1828800" y="3657600"/>
                </a:lnTo>
                <a:cubicBezTo>
                  <a:pt x="1828800" y="3993833"/>
                  <a:pt x="2102168" y="4267200"/>
                  <a:pt x="2438400" y="4267200"/>
                </a:cubicBezTo>
                <a:lnTo>
                  <a:pt x="3352800" y="4267200"/>
                </a:lnTo>
                <a:lnTo>
                  <a:pt x="4390073" y="4853940"/>
                </a:lnTo>
                <a:cubicBezTo>
                  <a:pt x="4411028" y="4869180"/>
                  <a:pt x="4434840" y="4876800"/>
                  <a:pt x="4457700" y="4876800"/>
                </a:cubicBezTo>
                <a:cubicBezTo>
                  <a:pt x="4516755" y="4876800"/>
                  <a:pt x="4572000" y="4830128"/>
                  <a:pt x="4572000" y="4762500"/>
                </a:cubicBezTo>
                <a:lnTo>
                  <a:pt x="4572000" y="4267200"/>
                </a:lnTo>
                <a:lnTo>
                  <a:pt x="4876800" y="4267200"/>
                </a:lnTo>
                <a:cubicBezTo>
                  <a:pt x="5213033" y="4267200"/>
                  <a:pt x="5486400" y="3993833"/>
                  <a:pt x="5486400" y="3657600"/>
                </a:cubicBezTo>
                <a:lnTo>
                  <a:pt x="5486400" y="2133600"/>
                </a:lnTo>
                <a:cubicBezTo>
                  <a:pt x="5486400" y="1797368"/>
                  <a:pt x="5213033" y="1524000"/>
                  <a:pt x="4876800" y="1524000"/>
                </a:cubicBezTo>
                <a:close/>
                <a:moveTo>
                  <a:pt x="609600" y="2438400"/>
                </a:moveTo>
                <a:cubicBezTo>
                  <a:pt x="441960" y="2438400"/>
                  <a:pt x="304800" y="2301240"/>
                  <a:pt x="304800" y="2133600"/>
                </a:cubicBezTo>
                <a:lnTo>
                  <a:pt x="304800" y="609600"/>
                </a:lnTo>
                <a:cubicBezTo>
                  <a:pt x="304800" y="441960"/>
                  <a:pt x="441960" y="304800"/>
                  <a:pt x="609600" y="304800"/>
                </a:cubicBezTo>
                <a:lnTo>
                  <a:pt x="3352800" y="304800"/>
                </a:lnTo>
                <a:cubicBezTo>
                  <a:pt x="3520440" y="304800"/>
                  <a:pt x="3657600" y="441960"/>
                  <a:pt x="3657600" y="609600"/>
                </a:cubicBezTo>
                <a:lnTo>
                  <a:pt x="3657600" y="2133600"/>
                </a:lnTo>
                <a:cubicBezTo>
                  <a:pt x="3657600" y="2301240"/>
                  <a:pt x="3520440" y="2438400"/>
                  <a:pt x="3352800" y="2438400"/>
                </a:cubicBezTo>
                <a:lnTo>
                  <a:pt x="2053590" y="2438400"/>
                </a:lnTo>
                <a:lnTo>
                  <a:pt x="1984058" y="2478405"/>
                </a:lnTo>
                <a:lnTo>
                  <a:pt x="1219200" y="2910840"/>
                </a:lnTo>
                <a:lnTo>
                  <a:pt x="1219200" y="2438400"/>
                </a:lnTo>
                <a:close/>
                <a:moveTo>
                  <a:pt x="5181600" y="3657600"/>
                </a:moveTo>
                <a:cubicBezTo>
                  <a:pt x="5181600" y="3825240"/>
                  <a:pt x="5044440" y="3962400"/>
                  <a:pt x="4876800" y="3962400"/>
                </a:cubicBezTo>
                <a:lnTo>
                  <a:pt x="4267200" y="3962400"/>
                </a:lnTo>
                <a:lnTo>
                  <a:pt x="4267200" y="4434840"/>
                </a:lnTo>
                <a:lnTo>
                  <a:pt x="3503295" y="4002405"/>
                </a:lnTo>
                <a:lnTo>
                  <a:pt x="3433763" y="3962400"/>
                </a:lnTo>
                <a:lnTo>
                  <a:pt x="2438400" y="3962400"/>
                </a:lnTo>
                <a:cubicBezTo>
                  <a:pt x="2270760" y="3962400"/>
                  <a:pt x="2133600" y="3825240"/>
                  <a:pt x="2133600" y="3657600"/>
                </a:cubicBezTo>
                <a:lnTo>
                  <a:pt x="2133600" y="2743200"/>
                </a:lnTo>
                <a:lnTo>
                  <a:pt x="3352800" y="2743200"/>
                </a:lnTo>
                <a:cubicBezTo>
                  <a:pt x="3689033" y="2743200"/>
                  <a:pt x="3962400" y="2469833"/>
                  <a:pt x="3962400" y="2133600"/>
                </a:cubicBezTo>
                <a:lnTo>
                  <a:pt x="3962400" y="1828800"/>
                </a:lnTo>
                <a:lnTo>
                  <a:pt x="4876800" y="1828800"/>
                </a:lnTo>
                <a:cubicBezTo>
                  <a:pt x="5044440" y="1828800"/>
                  <a:pt x="5181600" y="1965960"/>
                  <a:pt x="5181600" y="213360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cxnSp>
        <p:nvCxnSpPr>
          <p:cNvPr id="41" name="Straight Connector 66">
            <a:extLst>
              <a:ext uri="{FF2B5EF4-FFF2-40B4-BE49-F238E27FC236}">
                <a16:creationId xmlns:a16="http://schemas.microsoft.com/office/drawing/2014/main" id="{3475B3E2-C372-4D98-8287-298ECDDA7C20}"/>
              </a:ext>
            </a:extLst>
          </p:cNvPr>
          <p:cNvCxnSpPr>
            <a:cxnSpLocks/>
          </p:cNvCxnSpPr>
          <p:nvPr/>
        </p:nvCxnSpPr>
        <p:spPr>
          <a:xfrm>
            <a:off x="479901" y="2869226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66">
            <a:extLst>
              <a:ext uri="{FF2B5EF4-FFF2-40B4-BE49-F238E27FC236}">
                <a16:creationId xmlns:a16="http://schemas.microsoft.com/office/drawing/2014/main" id="{EE9C6C7B-EAFB-421E-9B67-92475ECED2B5}"/>
              </a:ext>
            </a:extLst>
          </p:cNvPr>
          <p:cNvCxnSpPr>
            <a:cxnSpLocks/>
          </p:cNvCxnSpPr>
          <p:nvPr/>
        </p:nvCxnSpPr>
        <p:spPr>
          <a:xfrm>
            <a:off x="479901" y="3763914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66">
            <a:extLst>
              <a:ext uri="{FF2B5EF4-FFF2-40B4-BE49-F238E27FC236}">
                <a16:creationId xmlns:a16="http://schemas.microsoft.com/office/drawing/2014/main" id="{BA4D81D4-0CE6-4055-BA88-6CC6B64A2FB5}"/>
              </a:ext>
            </a:extLst>
          </p:cNvPr>
          <p:cNvCxnSpPr>
            <a:cxnSpLocks/>
          </p:cNvCxnSpPr>
          <p:nvPr/>
        </p:nvCxnSpPr>
        <p:spPr>
          <a:xfrm>
            <a:off x="479901" y="4658602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66">
            <a:extLst>
              <a:ext uri="{FF2B5EF4-FFF2-40B4-BE49-F238E27FC236}">
                <a16:creationId xmlns:a16="http://schemas.microsoft.com/office/drawing/2014/main" id="{30F0B0DE-8DED-48F4-9933-D9B1EC39F912}"/>
              </a:ext>
            </a:extLst>
          </p:cNvPr>
          <p:cNvCxnSpPr>
            <a:cxnSpLocks/>
          </p:cNvCxnSpPr>
          <p:nvPr/>
        </p:nvCxnSpPr>
        <p:spPr>
          <a:xfrm>
            <a:off x="479901" y="5553290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66">
            <a:extLst>
              <a:ext uri="{FF2B5EF4-FFF2-40B4-BE49-F238E27FC236}">
                <a16:creationId xmlns:a16="http://schemas.microsoft.com/office/drawing/2014/main" id="{90D32857-BB63-4417-A7E2-BBDC59DC8A87}"/>
              </a:ext>
            </a:extLst>
          </p:cNvPr>
          <p:cNvCxnSpPr>
            <a:cxnSpLocks/>
          </p:cNvCxnSpPr>
          <p:nvPr/>
        </p:nvCxnSpPr>
        <p:spPr>
          <a:xfrm>
            <a:off x="6268676" y="2869226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66">
            <a:extLst>
              <a:ext uri="{FF2B5EF4-FFF2-40B4-BE49-F238E27FC236}">
                <a16:creationId xmlns:a16="http://schemas.microsoft.com/office/drawing/2014/main" id="{AA47541F-6E5A-48C8-85B6-1C9CA5ED5798}"/>
              </a:ext>
            </a:extLst>
          </p:cNvPr>
          <p:cNvCxnSpPr>
            <a:cxnSpLocks/>
          </p:cNvCxnSpPr>
          <p:nvPr/>
        </p:nvCxnSpPr>
        <p:spPr>
          <a:xfrm>
            <a:off x="6268676" y="3763914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66">
            <a:extLst>
              <a:ext uri="{FF2B5EF4-FFF2-40B4-BE49-F238E27FC236}">
                <a16:creationId xmlns:a16="http://schemas.microsoft.com/office/drawing/2014/main" id="{13BE5521-9545-456A-AD4F-6B53F55956D4}"/>
              </a:ext>
            </a:extLst>
          </p:cNvPr>
          <p:cNvCxnSpPr>
            <a:cxnSpLocks/>
          </p:cNvCxnSpPr>
          <p:nvPr/>
        </p:nvCxnSpPr>
        <p:spPr>
          <a:xfrm>
            <a:off x="6268676" y="4658602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66">
            <a:extLst>
              <a:ext uri="{FF2B5EF4-FFF2-40B4-BE49-F238E27FC236}">
                <a16:creationId xmlns:a16="http://schemas.microsoft.com/office/drawing/2014/main" id="{9FD9AB42-FD9E-46EB-A28F-4421FC684E9A}"/>
              </a:ext>
            </a:extLst>
          </p:cNvPr>
          <p:cNvCxnSpPr>
            <a:cxnSpLocks/>
          </p:cNvCxnSpPr>
          <p:nvPr/>
        </p:nvCxnSpPr>
        <p:spPr>
          <a:xfrm>
            <a:off x="6268676" y="5553290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Graphic 256">
            <a:extLst>
              <a:ext uri="{FF2B5EF4-FFF2-40B4-BE49-F238E27FC236}">
                <a16:creationId xmlns:a16="http://schemas.microsoft.com/office/drawing/2014/main" id="{93197DEA-C554-4ABC-89B8-0C6D5F66DEEB}"/>
              </a:ext>
            </a:extLst>
          </p:cNvPr>
          <p:cNvSpPr>
            <a:spLocks noChangeAspect="1"/>
          </p:cNvSpPr>
          <p:nvPr/>
        </p:nvSpPr>
        <p:spPr>
          <a:xfrm>
            <a:off x="6358488" y="3171214"/>
            <a:ext cx="436068" cy="290713"/>
          </a:xfrm>
          <a:custGeom>
            <a:avLst/>
            <a:gdLst>
              <a:gd name="connsiteX0" fmla="*/ 2743195 w 5486389"/>
              <a:gd name="connsiteY0" fmla="*/ 2133600 h 3657600"/>
              <a:gd name="connsiteX1" fmla="*/ 3352795 w 5486389"/>
              <a:gd name="connsiteY1" fmla="*/ 1524000 h 3657600"/>
              <a:gd name="connsiteX2" fmla="*/ 2743195 w 5486389"/>
              <a:gd name="connsiteY2" fmla="*/ 914400 h 3657600"/>
              <a:gd name="connsiteX3" fmla="*/ 2716049 w 5486389"/>
              <a:gd name="connsiteY3" fmla="*/ 917162 h 3657600"/>
              <a:gd name="connsiteX4" fmla="*/ 2445203 w 5486389"/>
              <a:gd name="connsiteY4" fmla="*/ 1496854 h 3657600"/>
              <a:gd name="connsiteX5" fmla="*/ 2136357 w 5486389"/>
              <a:gd name="connsiteY5" fmla="*/ 1496854 h 3657600"/>
              <a:gd name="connsiteX6" fmla="*/ 2133595 w 5486389"/>
              <a:gd name="connsiteY6" fmla="*/ 1524000 h 3657600"/>
              <a:gd name="connsiteX7" fmla="*/ 2743195 w 5486389"/>
              <a:gd name="connsiteY7" fmla="*/ 2133600 h 3657600"/>
              <a:gd name="connsiteX8" fmla="*/ 5453248 w 5486389"/>
              <a:gd name="connsiteY8" fmla="*/ 1689735 h 3657600"/>
              <a:gd name="connsiteX9" fmla="*/ 2743195 w 5486389"/>
              <a:gd name="connsiteY9" fmla="*/ 0 h 3657600"/>
              <a:gd name="connsiteX10" fmla="*/ 33142 w 5486389"/>
              <a:gd name="connsiteY10" fmla="*/ 1689830 h 3657600"/>
              <a:gd name="connsiteX11" fmla="*/ 33142 w 5486389"/>
              <a:gd name="connsiteY11" fmla="*/ 1967865 h 3657600"/>
              <a:gd name="connsiteX12" fmla="*/ 2743195 w 5486389"/>
              <a:gd name="connsiteY12" fmla="*/ 3657600 h 3657600"/>
              <a:gd name="connsiteX13" fmla="*/ 5453248 w 5486389"/>
              <a:gd name="connsiteY13" fmla="*/ 1967770 h 3657600"/>
              <a:gd name="connsiteX14" fmla="*/ 5453248 w 5486389"/>
              <a:gd name="connsiteY14" fmla="*/ 1689735 h 3657600"/>
              <a:gd name="connsiteX15" fmla="*/ 2743195 w 5486389"/>
              <a:gd name="connsiteY15" fmla="*/ 304800 h 3657600"/>
              <a:gd name="connsiteX16" fmla="*/ 3962395 w 5486389"/>
              <a:gd name="connsiteY16" fmla="*/ 1524000 h 3657600"/>
              <a:gd name="connsiteX17" fmla="*/ 2743195 w 5486389"/>
              <a:gd name="connsiteY17" fmla="*/ 2743200 h 3657600"/>
              <a:gd name="connsiteX18" fmla="*/ 1523995 w 5486389"/>
              <a:gd name="connsiteY18" fmla="*/ 1524000 h 3657600"/>
              <a:gd name="connsiteX19" fmla="*/ 2743195 w 5486389"/>
              <a:gd name="connsiteY19" fmla="*/ 304800 h 3657600"/>
              <a:gd name="connsiteX20" fmla="*/ 2743195 w 5486389"/>
              <a:gd name="connsiteY20" fmla="*/ 3352800 h 3657600"/>
              <a:gd name="connsiteX21" fmla="*/ 304795 w 5486389"/>
              <a:gd name="connsiteY21" fmla="*/ 1828800 h 3657600"/>
              <a:gd name="connsiteX22" fmla="*/ 1540949 w 5486389"/>
              <a:gd name="connsiteY22" fmla="*/ 596932 h 3657600"/>
              <a:gd name="connsiteX23" fmla="*/ 1219195 w 5486389"/>
              <a:gd name="connsiteY23" fmla="*/ 1524000 h 3657600"/>
              <a:gd name="connsiteX24" fmla="*/ 2743195 w 5486389"/>
              <a:gd name="connsiteY24" fmla="*/ 3048000 h 3657600"/>
              <a:gd name="connsiteX25" fmla="*/ 4267195 w 5486389"/>
              <a:gd name="connsiteY25" fmla="*/ 1524000 h 3657600"/>
              <a:gd name="connsiteX26" fmla="*/ 3945440 w 5486389"/>
              <a:gd name="connsiteY26" fmla="*/ 596932 h 3657600"/>
              <a:gd name="connsiteX27" fmla="*/ 5181595 w 5486389"/>
              <a:gd name="connsiteY27" fmla="*/ 1828800 h 3657600"/>
              <a:gd name="connsiteX28" fmla="*/ 2743195 w 5486389"/>
              <a:gd name="connsiteY28" fmla="*/ 3352800 h 36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486389" h="3657600">
                <a:moveTo>
                  <a:pt x="2743195" y="2133600"/>
                </a:moveTo>
                <a:cubicBezTo>
                  <a:pt x="3079868" y="2133600"/>
                  <a:pt x="3352795" y="1860673"/>
                  <a:pt x="3352795" y="1524000"/>
                </a:cubicBezTo>
                <a:cubicBezTo>
                  <a:pt x="3352795" y="1187327"/>
                  <a:pt x="3079868" y="914400"/>
                  <a:pt x="2743195" y="914400"/>
                </a:cubicBezTo>
                <a:cubicBezTo>
                  <a:pt x="2733670" y="914400"/>
                  <a:pt x="2725288" y="916686"/>
                  <a:pt x="2716049" y="917162"/>
                </a:cubicBezTo>
                <a:cubicBezTo>
                  <a:pt x="2801334" y="1152031"/>
                  <a:pt x="2680073" y="1411568"/>
                  <a:pt x="2445203" y="1496854"/>
                </a:cubicBezTo>
                <a:cubicBezTo>
                  <a:pt x="2345441" y="1533079"/>
                  <a:pt x="2236119" y="1533079"/>
                  <a:pt x="2136357" y="1496854"/>
                </a:cubicBezTo>
                <a:cubicBezTo>
                  <a:pt x="2136357" y="1506379"/>
                  <a:pt x="2133595" y="1514761"/>
                  <a:pt x="2133595" y="1524000"/>
                </a:cubicBezTo>
                <a:cubicBezTo>
                  <a:pt x="2133595" y="1860673"/>
                  <a:pt x="2406522" y="2133600"/>
                  <a:pt x="2743195" y="2133600"/>
                </a:cubicBezTo>
                <a:close/>
                <a:moveTo>
                  <a:pt x="5453248" y="1689735"/>
                </a:moveTo>
                <a:cubicBezTo>
                  <a:pt x="4936707" y="681895"/>
                  <a:pt x="3914103" y="0"/>
                  <a:pt x="2743195" y="0"/>
                </a:cubicBezTo>
                <a:cubicBezTo>
                  <a:pt x="1572287" y="0"/>
                  <a:pt x="549397" y="682371"/>
                  <a:pt x="33142" y="1689830"/>
                </a:cubicBezTo>
                <a:cubicBezTo>
                  <a:pt x="-11047" y="1777241"/>
                  <a:pt x="-11047" y="1880454"/>
                  <a:pt x="33142" y="1967865"/>
                </a:cubicBezTo>
                <a:cubicBezTo>
                  <a:pt x="549683" y="2975705"/>
                  <a:pt x="1572287" y="3657600"/>
                  <a:pt x="2743195" y="3657600"/>
                </a:cubicBezTo>
                <a:cubicBezTo>
                  <a:pt x="3914103" y="3657600"/>
                  <a:pt x="4936993" y="2975229"/>
                  <a:pt x="5453248" y="1967770"/>
                </a:cubicBezTo>
                <a:cubicBezTo>
                  <a:pt x="5497437" y="1880359"/>
                  <a:pt x="5497437" y="1777146"/>
                  <a:pt x="5453248" y="1689735"/>
                </a:cubicBezTo>
                <a:close/>
                <a:moveTo>
                  <a:pt x="2743195" y="304800"/>
                </a:moveTo>
                <a:cubicBezTo>
                  <a:pt x="3416540" y="304800"/>
                  <a:pt x="3962395" y="850655"/>
                  <a:pt x="3962395" y="1524000"/>
                </a:cubicBezTo>
                <a:cubicBezTo>
                  <a:pt x="3962395" y="2197346"/>
                  <a:pt x="3416540" y="2743200"/>
                  <a:pt x="2743195" y="2743200"/>
                </a:cubicBezTo>
                <a:cubicBezTo>
                  <a:pt x="2069849" y="2743200"/>
                  <a:pt x="1523995" y="2197346"/>
                  <a:pt x="1523995" y="1524000"/>
                </a:cubicBezTo>
                <a:cubicBezTo>
                  <a:pt x="1524730" y="850959"/>
                  <a:pt x="2070154" y="305535"/>
                  <a:pt x="2743195" y="304800"/>
                </a:cubicBezTo>
                <a:close/>
                <a:moveTo>
                  <a:pt x="2743195" y="3352800"/>
                </a:moveTo>
                <a:cubicBezTo>
                  <a:pt x="1720591" y="3352800"/>
                  <a:pt x="786188" y="2768822"/>
                  <a:pt x="304795" y="1828800"/>
                </a:cubicBezTo>
                <a:cubicBezTo>
                  <a:pt x="575536" y="1297297"/>
                  <a:pt x="1008509" y="865826"/>
                  <a:pt x="1540949" y="596932"/>
                </a:cubicBezTo>
                <a:cubicBezTo>
                  <a:pt x="1342163" y="854297"/>
                  <a:pt x="1219195" y="1173194"/>
                  <a:pt x="1219195" y="1524000"/>
                </a:cubicBezTo>
                <a:cubicBezTo>
                  <a:pt x="1219195" y="2365682"/>
                  <a:pt x="1901513" y="3048000"/>
                  <a:pt x="2743195" y="3048000"/>
                </a:cubicBezTo>
                <a:cubicBezTo>
                  <a:pt x="3584877" y="3048000"/>
                  <a:pt x="4267195" y="2365682"/>
                  <a:pt x="4267195" y="1524000"/>
                </a:cubicBezTo>
                <a:cubicBezTo>
                  <a:pt x="4267195" y="1173194"/>
                  <a:pt x="4144227" y="854297"/>
                  <a:pt x="3945440" y="596932"/>
                </a:cubicBezTo>
                <a:cubicBezTo>
                  <a:pt x="4477881" y="865826"/>
                  <a:pt x="4910853" y="1297297"/>
                  <a:pt x="5181595" y="1828800"/>
                </a:cubicBezTo>
                <a:cubicBezTo>
                  <a:pt x="4700297" y="2768822"/>
                  <a:pt x="3765799" y="3352800"/>
                  <a:pt x="2743195" y="335280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59" name="Graphic 60">
            <a:extLst>
              <a:ext uri="{FF2B5EF4-FFF2-40B4-BE49-F238E27FC236}">
                <a16:creationId xmlns:a16="http://schemas.microsoft.com/office/drawing/2014/main" id="{DAE3354E-1837-468B-8F7B-C1F712890CB3}"/>
              </a:ext>
            </a:extLst>
          </p:cNvPr>
          <p:cNvSpPr>
            <a:spLocks noChangeAspect="1"/>
          </p:cNvSpPr>
          <p:nvPr/>
        </p:nvSpPr>
        <p:spPr>
          <a:xfrm>
            <a:off x="6392105" y="4921529"/>
            <a:ext cx="368834" cy="368834"/>
          </a:xfrm>
          <a:custGeom>
            <a:avLst/>
            <a:gdLst>
              <a:gd name="connsiteX0" fmla="*/ 3352800 w 4876800"/>
              <a:gd name="connsiteY0" fmla="*/ 2362200 h 4876800"/>
              <a:gd name="connsiteX1" fmla="*/ 3352800 w 4876800"/>
              <a:gd name="connsiteY1" fmla="*/ 2209800 h 4876800"/>
              <a:gd name="connsiteX2" fmla="*/ 3276600 w 4876800"/>
              <a:gd name="connsiteY2" fmla="*/ 2133600 h 4876800"/>
              <a:gd name="connsiteX3" fmla="*/ 1600200 w 4876800"/>
              <a:gd name="connsiteY3" fmla="*/ 2133600 h 4876800"/>
              <a:gd name="connsiteX4" fmla="*/ 1524000 w 4876800"/>
              <a:gd name="connsiteY4" fmla="*/ 2209800 h 4876800"/>
              <a:gd name="connsiteX5" fmla="*/ 1524000 w 4876800"/>
              <a:gd name="connsiteY5" fmla="*/ 2362200 h 4876800"/>
              <a:gd name="connsiteX6" fmla="*/ 1600200 w 4876800"/>
              <a:gd name="connsiteY6" fmla="*/ 2438400 h 4876800"/>
              <a:gd name="connsiteX7" fmla="*/ 3276600 w 4876800"/>
              <a:gd name="connsiteY7" fmla="*/ 2438400 h 4876800"/>
              <a:gd name="connsiteX8" fmla="*/ 3352800 w 4876800"/>
              <a:gd name="connsiteY8" fmla="*/ 2362200 h 4876800"/>
              <a:gd name="connsiteX9" fmla="*/ 1600200 w 4876800"/>
              <a:gd name="connsiteY9" fmla="*/ 1828800 h 4876800"/>
              <a:gd name="connsiteX10" fmla="*/ 3276600 w 4876800"/>
              <a:gd name="connsiteY10" fmla="*/ 1828800 h 4876800"/>
              <a:gd name="connsiteX11" fmla="*/ 3352800 w 4876800"/>
              <a:gd name="connsiteY11" fmla="*/ 1752600 h 4876800"/>
              <a:gd name="connsiteX12" fmla="*/ 3352800 w 4876800"/>
              <a:gd name="connsiteY12" fmla="*/ 1600200 h 4876800"/>
              <a:gd name="connsiteX13" fmla="*/ 3276600 w 4876800"/>
              <a:gd name="connsiteY13" fmla="*/ 1524000 h 4876800"/>
              <a:gd name="connsiteX14" fmla="*/ 1600200 w 4876800"/>
              <a:gd name="connsiteY14" fmla="*/ 1524000 h 4876800"/>
              <a:gd name="connsiteX15" fmla="*/ 1524000 w 4876800"/>
              <a:gd name="connsiteY15" fmla="*/ 1600200 h 4876800"/>
              <a:gd name="connsiteX16" fmla="*/ 1524000 w 4876800"/>
              <a:gd name="connsiteY16" fmla="*/ 1752600 h 4876800"/>
              <a:gd name="connsiteX17" fmla="*/ 1600200 w 4876800"/>
              <a:gd name="connsiteY17" fmla="*/ 1828800 h 4876800"/>
              <a:gd name="connsiteX18" fmla="*/ 4710970 w 4876800"/>
              <a:gd name="connsiteY18" fmla="*/ 1567053 h 4876800"/>
              <a:gd name="connsiteX19" fmla="*/ 4267200 w 4876800"/>
              <a:gd name="connsiteY19" fmla="*/ 1209580 h 4876800"/>
              <a:gd name="connsiteX20" fmla="*/ 4267200 w 4876800"/>
              <a:gd name="connsiteY20" fmla="*/ 914400 h 4876800"/>
              <a:gd name="connsiteX21" fmla="*/ 3962400 w 4876800"/>
              <a:gd name="connsiteY21" fmla="*/ 609600 h 4876800"/>
              <a:gd name="connsiteX22" fmla="*/ 3519773 w 4876800"/>
              <a:gd name="connsiteY22" fmla="*/ 609600 h 4876800"/>
              <a:gd name="connsiteX23" fmla="*/ 3422618 w 4876800"/>
              <a:gd name="connsiteY23" fmla="*/ 532067 h 4876800"/>
              <a:gd name="connsiteX24" fmla="*/ 2438400 w 4876800"/>
              <a:gd name="connsiteY24" fmla="*/ 0 h 4876800"/>
              <a:gd name="connsiteX25" fmla="*/ 1454087 w 4876800"/>
              <a:gd name="connsiteY25" fmla="*/ 532067 h 4876800"/>
              <a:gd name="connsiteX26" fmla="*/ 1356932 w 4876800"/>
              <a:gd name="connsiteY26" fmla="*/ 609600 h 4876800"/>
              <a:gd name="connsiteX27" fmla="*/ 914400 w 4876800"/>
              <a:gd name="connsiteY27" fmla="*/ 609600 h 4876800"/>
              <a:gd name="connsiteX28" fmla="*/ 609600 w 4876800"/>
              <a:gd name="connsiteY28" fmla="*/ 914400 h 4876800"/>
              <a:gd name="connsiteX29" fmla="*/ 609600 w 4876800"/>
              <a:gd name="connsiteY29" fmla="*/ 1209485 h 4876800"/>
              <a:gd name="connsiteX30" fmla="*/ 166878 w 4876800"/>
              <a:gd name="connsiteY30" fmla="*/ 1566005 h 4876800"/>
              <a:gd name="connsiteX31" fmla="*/ 0 w 4876800"/>
              <a:gd name="connsiteY31" fmla="*/ 1919097 h 4876800"/>
              <a:gd name="connsiteX32" fmla="*/ 0 w 4876800"/>
              <a:gd name="connsiteY32" fmla="*/ 4419600 h 4876800"/>
              <a:gd name="connsiteX33" fmla="*/ 457200 w 4876800"/>
              <a:gd name="connsiteY33" fmla="*/ 4876800 h 4876800"/>
              <a:gd name="connsiteX34" fmla="*/ 4419600 w 4876800"/>
              <a:gd name="connsiteY34" fmla="*/ 4876800 h 4876800"/>
              <a:gd name="connsiteX35" fmla="*/ 4876800 w 4876800"/>
              <a:gd name="connsiteY35" fmla="*/ 4419600 h 4876800"/>
              <a:gd name="connsiteX36" fmla="*/ 4876800 w 4876800"/>
              <a:gd name="connsiteY36" fmla="*/ 1919383 h 4876800"/>
              <a:gd name="connsiteX37" fmla="*/ 4710970 w 4876800"/>
              <a:gd name="connsiteY37" fmla="*/ 1567053 h 4876800"/>
              <a:gd name="connsiteX38" fmla="*/ 2438400 w 4876800"/>
              <a:gd name="connsiteY38" fmla="*/ 304800 h 4876800"/>
              <a:gd name="connsiteX39" fmla="*/ 3039809 w 4876800"/>
              <a:gd name="connsiteY39" fmla="*/ 609600 h 4876800"/>
              <a:gd name="connsiteX40" fmla="*/ 1837373 w 4876800"/>
              <a:gd name="connsiteY40" fmla="*/ 609600 h 4876800"/>
              <a:gd name="connsiteX41" fmla="*/ 2438400 w 4876800"/>
              <a:gd name="connsiteY41" fmla="*/ 304800 h 4876800"/>
              <a:gd name="connsiteX42" fmla="*/ 914400 w 4876800"/>
              <a:gd name="connsiteY42" fmla="*/ 914400 h 4876800"/>
              <a:gd name="connsiteX43" fmla="*/ 3962400 w 4876800"/>
              <a:gd name="connsiteY43" fmla="*/ 914400 h 4876800"/>
              <a:gd name="connsiteX44" fmla="*/ 3962400 w 4876800"/>
              <a:gd name="connsiteY44" fmla="*/ 2565559 h 4876800"/>
              <a:gd name="connsiteX45" fmla="*/ 3137630 w 4876800"/>
              <a:gd name="connsiteY45" fmla="*/ 3226022 h 4876800"/>
              <a:gd name="connsiteX46" fmla="*/ 2438400 w 4876800"/>
              <a:gd name="connsiteY46" fmla="*/ 3657600 h 4876800"/>
              <a:gd name="connsiteX47" fmla="*/ 1739170 w 4876800"/>
              <a:gd name="connsiteY47" fmla="*/ 3225927 h 4876800"/>
              <a:gd name="connsiteX48" fmla="*/ 914400 w 4876800"/>
              <a:gd name="connsiteY48" fmla="*/ 2565464 h 4876800"/>
              <a:gd name="connsiteX49" fmla="*/ 914400 w 4876800"/>
              <a:gd name="connsiteY49" fmla="*/ 914400 h 4876800"/>
              <a:gd name="connsiteX50" fmla="*/ 304800 w 4876800"/>
              <a:gd name="connsiteY50" fmla="*/ 1919097 h 4876800"/>
              <a:gd name="connsiteX51" fmla="*/ 360426 w 4876800"/>
              <a:gd name="connsiteY51" fmla="*/ 1801368 h 4876800"/>
              <a:gd name="connsiteX52" fmla="*/ 609600 w 4876800"/>
              <a:gd name="connsiteY52" fmla="*/ 1600581 h 4876800"/>
              <a:gd name="connsiteX53" fmla="*/ 609600 w 4876800"/>
              <a:gd name="connsiteY53" fmla="*/ 2320195 h 4876800"/>
              <a:gd name="connsiteX54" fmla="*/ 304800 w 4876800"/>
              <a:gd name="connsiteY54" fmla="*/ 2074640 h 4876800"/>
              <a:gd name="connsiteX55" fmla="*/ 304800 w 4876800"/>
              <a:gd name="connsiteY55" fmla="*/ 1919097 h 4876800"/>
              <a:gd name="connsiteX56" fmla="*/ 4572000 w 4876800"/>
              <a:gd name="connsiteY56" fmla="*/ 4419600 h 4876800"/>
              <a:gd name="connsiteX57" fmla="*/ 4419600 w 4876800"/>
              <a:gd name="connsiteY57" fmla="*/ 4572000 h 4876800"/>
              <a:gd name="connsiteX58" fmla="*/ 457200 w 4876800"/>
              <a:gd name="connsiteY58" fmla="*/ 4572000 h 4876800"/>
              <a:gd name="connsiteX59" fmla="*/ 304800 w 4876800"/>
              <a:gd name="connsiteY59" fmla="*/ 4419600 h 4876800"/>
              <a:gd name="connsiteX60" fmla="*/ 304800 w 4876800"/>
              <a:gd name="connsiteY60" fmla="*/ 2466118 h 4876800"/>
              <a:gd name="connsiteX61" fmla="*/ 1549527 w 4876800"/>
              <a:gd name="connsiteY61" fmla="*/ 3464528 h 4876800"/>
              <a:gd name="connsiteX62" fmla="*/ 2438400 w 4876800"/>
              <a:gd name="connsiteY62" fmla="*/ 3962305 h 4876800"/>
              <a:gd name="connsiteX63" fmla="*/ 3327178 w 4876800"/>
              <a:gd name="connsiteY63" fmla="*/ 3464528 h 4876800"/>
              <a:gd name="connsiteX64" fmla="*/ 4572000 w 4876800"/>
              <a:gd name="connsiteY64" fmla="*/ 2466023 h 4876800"/>
              <a:gd name="connsiteX65" fmla="*/ 4572000 w 4876800"/>
              <a:gd name="connsiteY65" fmla="*/ 4419600 h 4876800"/>
              <a:gd name="connsiteX66" fmla="*/ 4572000 w 4876800"/>
              <a:gd name="connsiteY66" fmla="*/ 2074640 h 4876800"/>
              <a:gd name="connsiteX67" fmla="*/ 4267200 w 4876800"/>
              <a:gd name="connsiteY67" fmla="*/ 2320290 h 4876800"/>
              <a:gd name="connsiteX68" fmla="*/ 4267200 w 4876800"/>
              <a:gd name="connsiteY68" fmla="*/ 1600772 h 4876800"/>
              <a:gd name="connsiteX69" fmla="*/ 4516755 w 4876800"/>
              <a:gd name="connsiteY69" fmla="*/ 1801939 h 4876800"/>
              <a:gd name="connsiteX70" fmla="*/ 4572000 w 4876800"/>
              <a:gd name="connsiteY70" fmla="*/ 1919383 h 4876800"/>
              <a:gd name="connsiteX71" fmla="*/ 4572000 w 4876800"/>
              <a:gd name="connsiteY71" fmla="*/ 207464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4876800" h="4876800">
                <a:moveTo>
                  <a:pt x="3352800" y="2362200"/>
                </a:moveTo>
                <a:lnTo>
                  <a:pt x="3352800" y="2209800"/>
                </a:lnTo>
                <a:cubicBezTo>
                  <a:pt x="3352800" y="2167700"/>
                  <a:pt x="3318701" y="2133600"/>
                  <a:pt x="3276600" y="2133600"/>
                </a:cubicBezTo>
                <a:lnTo>
                  <a:pt x="1600200" y="2133600"/>
                </a:lnTo>
                <a:cubicBezTo>
                  <a:pt x="1558100" y="2133600"/>
                  <a:pt x="1524000" y="2167700"/>
                  <a:pt x="1524000" y="2209800"/>
                </a:cubicBezTo>
                <a:lnTo>
                  <a:pt x="1524000" y="2362200"/>
                </a:lnTo>
                <a:cubicBezTo>
                  <a:pt x="1524000" y="2404301"/>
                  <a:pt x="1558100" y="2438400"/>
                  <a:pt x="1600200" y="2438400"/>
                </a:cubicBezTo>
                <a:lnTo>
                  <a:pt x="3276600" y="2438400"/>
                </a:lnTo>
                <a:cubicBezTo>
                  <a:pt x="3318701" y="2438400"/>
                  <a:pt x="3352800" y="2404301"/>
                  <a:pt x="3352800" y="2362200"/>
                </a:cubicBezTo>
                <a:close/>
                <a:moveTo>
                  <a:pt x="1600200" y="1828800"/>
                </a:moveTo>
                <a:lnTo>
                  <a:pt x="3276600" y="1828800"/>
                </a:lnTo>
                <a:cubicBezTo>
                  <a:pt x="3318701" y="1828800"/>
                  <a:pt x="3352800" y="1794701"/>
                  <a:pt x="3352800" y="1752600"/>
                </a:cubicBezTo>
                <a:lnTo>
                  <a:pt x="3352800" y="1600200"/>
                </a:lnTo>
                <a:cubicBezTo>
                  <a:pt x="3352800" y="1558100"/>
                  <a:pt x="3318701" y="1524000"/>
                  <a:pt x="3276600" y="1524000"/>
                </a:cubicBezTo>
                <a:lnTo>
                  <a:pt x="1600200" y="1524000"/>
                </a:lnTo>
                <a:cubicBezTo>
                  <a:pt x="1558100" y="1524000"/>
                  <a:pt x="1524000" y="1558100"/>
                  <a:pt x="1524000" y="1600200"/>
                </a:cubicBezTo>
                <a:lnTo>
                  <a:pt x="1524000" y="1752600"/>
                </a:lnTo>
                <a:cubicBezTo>
                  <a:pt x="1524000" y="1794701"/>
                  <a:pt x="1558100" y="1828800"/>
                  <a:pt x="1600200" y="1828800"/>
                </a:cubicBezTo>
                <a:close/>
                <a:moveTo>
                  <a:pt x="4710970" y="1567053"/>
                </a:moveTo>
                <a:cubicBezTo>
                  <a:pt x="4692110" y="1551527"/>
                  <a:pt x="4499610" y="1396460"/>
                  <a:pt x="4267200" y="1209580"/>
                </a:cubicBezTo>
                <a:lnTo>
                  <a:pt x="4267200" y="914400"/>
                </a:lnTo>
                <a:cubicBezTo>
                  <a:pt x="4267200" y="746093"/>
                  <a:pt x="4130707" y="609600"/>
                  <a:pt x="3962400" y="609600"/>
                </a:cubicBezTo>
                <a:lnTo>
                  <a:pt x="3519773" y="609600"/>
                </a:lnTo>
                <a:cubicBezTo>
                  <a:pt x="3480435" y="578072"/>
                  <a:pt x="3446336" y="550926"/>
                  <a:pt x="3422618" y="532067"/>
                </a:cubicBezTo>
                <a:cubicBezTo>
                  <a:pt x="3212116" y="363760"/>
                  <a:pt x="2852166" y="0"/>
                  <a:pt x="2438400" y="0"/>
                </a:cubicBezTo>
                <a:cubicBezTo>
                  <a:pt x="2026825" y="0"/>
                  <a:pt x="1670304" y="359283"/>
                  <a:pt x="1454087" y="532067"/>
                </a:cubicBezTo>
                <a:cubicBezTo>
                  <a:pt x="1429988" y="551212"/>
                  <a:pt x="1395984" y="578453"/>
                  <a:pt x="1356932" y="609600"/>
                </a:cubicBezTo>
                <a:lnTo>
                  <a:pt x="914400" y="609600"/>
                </a:lnTo>
                <a:cubicBezTo>
                  <a:pt x="746093" y="609600"/>
                  <a:pt x="609600" y="746093"/>
                  <a:pt x="609600" y="914400"/>
                </a:cubicBezTo>
                <a:lnTo>
                  <a:pt x="609600" y="1209485"/>
                </a:lnTo>
                <a:cubicBezTo>
                  <a:pt x="376047" y="1397222"/>
                  <a:pt x="183356" y="1552480"/>
                  <a:pt x="166878" y="1566005"/>
                </a:cubicBezTo>
                <a:cubicBezTo>
                  <a:pt x="61255" y="1652830"/>
                  <a:pt x="33" y="1782368"/>
                  <a:pt x="0" y="1919097"/>
                </a:cubicBezTo>
                <a:lnTo>
                  <a:pt x="0" y="4419600"/>
                </a:lnTo>
                <a:cubicBezTo>
                  <a:pt x="0" y="4672108"/>
                  <a:pt x="204692" y="4876800"/>
                  <a:pt x="457200" y="4876800"/>
                </a:cubicBezTo>
                <a:lnTo>
                  <a:pt x="4419600" y="4876800"/>
                </a:lnTo>
                <a:cubicBezTo>
                  <a:pt x="4672108" y="4876800"/>
                  <a:pt x="4876800" y="4672108"/>
                  <a:pt x="4876800" y="4419600"/>
                </a:cubicBezTo>
                <a:lnTo>
                  <a:pt x="4876800" y="1919383"/>
                </a:lnTo>
                <a:cubicBezTo>
                  <a:pt x="4876800" y="1783080"/>
                  <a:pt x="4816031" y="1653826"/>
                  <a:pt x="4710970" y="1567053"/>
                </a:cubicBezTo>
                <a:close/>
                <a:moveTo>
                  <a:pt x="2438400" y="304800"/>
                </a:moveTo>
                <a:cubicBezTo>
                  <a:pt x="2645759" y="304800"/>
                  <a:pt x="2863596" y="464058"/>
                  <a:pt x="3039809" y="609600"/>
                </a:cubicBezTo>
                <a:lnTo>
                  <a:pt x="1837373" y="609600"/>
                </a:lnTo>
                <a:cubicBezTo>
                  <a:pt x="2013871" y="464153"/>
                  <a:pt x="2231898" y="304800"/>
                  <a:pt x="2438400" y="304800"/>
                </a:cubicBezTo>
                <a:close/>
                <a:moveTo>
                  <a:pt x="914400" y="914400"/>
                </a:moveTo>
                <a:lnTo>
                  <a:pt x="3962400" y="914400"/>
                </a:lnTo>
                <a:lnTo>
                  <a:pt x="3962400" y="2565559"/>
                </a:lnTo>
                <a:cubicBezTo>
                  <a:pt x="3654457" y="2813209"/>
                  <a:pt x="3340418" y="3065050"/>
                  <a:pt x="3137630" y="3226022"/>
                </a:cubicBezTo>
                <a:cubicBezTo>
                  <a:pt x="2977134" y="3353943"/>
                  <a:pt x="2659571" y="3661124"/>
                  <a:pt x="2438400" y="3657600"/>
                </a:cubicBezTo>
                <a:cubicBezTo>
                  <a:pt x="2217325" y="3661220"/>
                  <a:pt x="1899666" y="3353943"/>
                  <a:pt x="1739170" y="3225927"/>
                </a:cubicBezTo>
                <a:cubicBezTo>
                  <a:pt x="1536383" y="3064955"/>
                  <a:pt x="1222534" y="2813209"/>
                  <a:pt x="914400" y="2565464"/>
                </a:cubicBezTo>
                <a:lnTo>
                  <a:pt x="914400" y="914400"/>
                </a:lnTo>
                <a:close/>
                <a:moveTo>
                  <a:pt x="304800" y="1919097"/>
                </a:moveTo>
                <a:cubicBezTo>
                  <a:pt x="304800" y="1873377"/>
                  <a:pt x="325088" y="1830419"/>
                  <a:pt x="360426" y="1801368"/>
                </a:cubicBezTo>
                <a:cubicBezTo>
                  <a:pt x="372237" y="1791653"/>
                  <a:pt x="471107" y="1712024"/>
                  <a:pt x="609600" y="1600581"/>
                </a:cubicBezTo>
                <a:lnTo>
                  <a:pt x="609600" y="2320195"/>
                </a:lnTo>
                <a:cubicBezTo>
                  <a:pt x="499777" y="2231803"/>
                  <a:pt x="395192" y="2147507"/>
                  <a:pt x="304800" y="2074640"/>
                </a:cubicBezTo>
                <a:lnTo>
                  <a:pt x="304800" y="1919097"/>
                </a:lnTo>
                <a:close/>
                <a:moveTo>
                  <a:pt x="4572000" y="4419600"/>
                </a:moveTo>
                <a:cubicBezTo>
                  <a:pt x="4572000" y="4503611"/>
                  <a:pt x="4503611" y="4572000"/>
                  <a:pt x="4419600" y="4572000"/>
                </a:cubicBezTo>
                <a:lnTo>
                  <a:pt x="457200" y="4572000"/>
                </a:lnTo>
                <a:cubicBezTo>
                  <a:pt x="373190" y="4572000"/>
                  <a:pt x="304800" y="4503611"/>
                  <a:pt x="304800" y="4419600"/>
                </a:cubicBezTo>
                <a:lnTo>
                  <a:pt x="304800" y="2466118"/>
                </a:lnTo>
                <a:cubicBezTo>
                  <a:pt x="711994" y="2794159"/>
                  <a:pt x="1250728" y="3227356"/>
                  <a:pt x="1549527" y="3464528"/>
                </a:cubicBezTo>
                <a:cubicBezTo>
                  <a:pt x="1744694" y="3620357"/>
                  <a:pt x="2089976" y="3964877"/>
                  <a:pt x="2438400" y="3962305"/>
                </a:cubicBezTo>
                <a:cubicBezTo>
                  <a:pt x="2785586" y="3964781"/>
                  <a:pt x="3126772" y="3624548"/>
                  <a:pt x="3327178" y="3464528"/>
                </a:cubicBezTo>
                <a:cubicBezTo>
                  <a:pt x="3626358" y="3227070"/>
                  <a:pt x="4164711" y="2794064"/>
                  <a:pt x="4572000" y="2466023"/>
                </a:cubicBezTo>
                <a:lnTo>
                  <a:pt x="4572000" y="4419600"/>
                </a:lnTo>
                <a:close/>
                <a:moveTo>
                  <a:pt x="4572000" y="2074640"/>
                </a:moveTo>
                <a:cubicBezTo>
                  <a:pt x="4480370" y="2148459"/>
                  <a:pt x="4378929" y="2230279"/>
                  <a:pt x="4267200" y="2320290"/>
                </a:cubicBezTo>
                <a:lnTo>
                  <a:pt x="4267200" y="1600772"/>
                </a:lnTo>
                <a:cubicBezTo>
                  <a:pt x="4404741" y="1711452"/>
                  <a:pt x="4503420" y="1790986"/>
                  <a:pt x="4516755" y="1801939"/>
                </a:cubicBezTo>
                <a:cubicBezTo>
                  <a:pt x="4551903" y="1830991"/>
                  <a:pt x="4572000" y="1873758"/>
                  <a:pt x="4572000" y="1919383"/>
                </a:cubicBezTo>
                <a:lnTo>
                  <a:pt x="4572000" y="2074640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12336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E13CB8A-87EA-441A-9A46-0ED1835338D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7508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E13CB8A-87EA-441A-9A46-0ED1835338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7E29E2-7E98-4C99-90AA-241235C586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Transparenz </a:t>
            </a:r>
            <a:r>
              <a:rPr lang="de-DE"/>
              <a:t>und Traceability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E7B4B5-E60E-4C7D-B88A-C353B4EED4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 dirty="0">
                <a:solidFill>
                  <a:schemeClr val="accent4"/>
                </a:solidFill>
              </a:rPr>
              <a:t>PTA – Vorstellung </a:t>
            </a:r>
            <a:r>
              <a:rPr lang="de-DE" noProof="0" dirty="0" err="1">
                <a:solidFill>
                  <a:schemeClr val="accent4"/>
                </a:solidFill>
              </a:rPr>
              <a:t>Inflectra</a:t>
            </a:r>
            <a:endParaRPr lang="de-DE" noProof="0" dirty="0">
              <a:solidFill>
                <a:schemeClr val="accent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98D16D-0D62-49D6-A2C6-8C230B76E9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F58692B-9CFC-42D8-9B64-0B547ADAD28E}" type="slidenum">
              <a:rPr lang="de-DE" noProof="0" smtClean="0"/>
              <a:pPr/>
              <a:t>11</a:t>
            </a:fld>
            <a:endParaRPr lang="de-DE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8316DF-9856-4AF6-9D33-406D66B007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0000" y="1664804"/>
            <a:ext cx="11232000" cy="1354621"/>
          </a:xfrm>
        </p:spPr>
        <p:txBody>
          <a:bodyPr/>
          <a:lstStyle/>
          <a:p>
            <a:r>
              <a:rPr lang="de-DE" dirty="0"/>
              <a:t>Intuitive und durchgängige Darstellung in SpiraTest, SpiraTeam und SpiraPlan</a:t>
            </a:r>
          </a:p>
          <a:p>
            <a:pPr lvl="2"/>
            <a:r>
              <a:rPr lang="de-DE" dirty="0"/>
              <a:t>Die Spira-Produkte bieten eine </a:t>
            </a:r>
            <a:r>
              <a:rPr lang="de-DE" b="1" dirty="0">
                <a:latin typeface="Segoe UI" panose="020B0502040204020203" pitchFamily="34" charset="0"/>
                <a:cs typeface="Segoe UI" panose="020B0502040204020203" pitchFamily="34" charset="0"/>
              </a:rPr>
              <a:t>hervorragende Transparenz und Traceability</a:t>
            </a:r>
            <a:r>
              <a:rPr lang="de-DE" dirty="0"/>
              <a:t> für die Anforderungen, Testfälle, Testergebnisse usw. sowie eine </a:t>
            </a:r>
            <a:r>
              <a:rPr lang="de-DE" b="1" dirty="0">
                <a:latin typeface="Segoe UI" panose="020B0502040204020203" pitchFamily="34" charset="0"/>
                <a:cs typeface="Segoe UI" panose="020B0502040204020203" pitchFamily="34" charset="0"/>
              </a:rPr>
              <a:t>intuitive Benutzerführung</a:t>
            </a:r>
          </a:p>
          <a:p>
            <a:pPr lvl="2"/>
            <a:r>
              <a:rPr lang="de-DE" dirty="0"/>
              <a:t>Hierzu ein Beispiel für die Darstellung der abhängigen Daten für Anforderungen:</a:t>
            </a:r>
          </a:p>
        </p:txBody>
      </p:sp>
      <p:pic>
        <p:nvPicPr>
          <p:cNvPr id="9" name="Grafik 20">
            <a:extLst>
              <a:ext uri="{FF2B5EF4-FFF2-40B4-BE49-F238E27FC236}">
                <a16:creationId xmlns:a16="http://schemas.microsoft.com/office/drawing/2014/main" id="{8DBF85CF-2F3D-4C5A-B6CE-EEB361465A6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68606" y="3057089"/>
            <a:ext cx="6254789" cy="1938369"/>
          </a:xfrm>
          <a:prstGeom prst="rect">
            <a:avLst/>
          </a:prstGeom>
          <a:ln w="6350">
            <a:solidFill>
              <a:schemeClr val="accent6"/>
            </a:solidFill>
          </a:ln>
        </p:spPr>
      </p:pic>
      <p:sp>
        <p:nvSpPr>
          <p:cNvPr id="10" name="Rechteck 29">
            <a:extLst>
              <a:ext uri="{FF2B5EF4-FFF2-40B4-BE49-F238E27FC236}">
                <a16:creationId xmlns:a16="http://schemas.microsoft.com/office/drawing/2014/main" id="{E62DE683-1109-430E-8E6E-AE7896D249EA}"/>
              </a:ext>
            </a:extLst>
          </p:cNvPr>
          <p:cNvSpPr/>
          <p:nvPr/>
        </p:nvSpPr>
        <p:spPr>
          <a:xfrm>
            <a:off x="2968606" y="3472888"/>
            <a:ext cx="2929838" cy="1529808"/>
          </a:xfrm>
          <a:prstGeom prst="rect">
            <a:avLst/>
          </a:prstGeom>
          <a:noFill/>
          <a:ln w="19050">
            <a:solidFill>
              <a:srgbClr val="00B0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Rechteck 31">
            <a:extLst>
              <a:ext uri="{FF2B5EF4-FFF2-40B4-BE49-F238E27FC236}">
                <a16:creationId xmlns:a16="http://schemas.microsoft.com/office/drawing/2014/main" id="{95CEFBB0-6687-4344-A1D1-1A0A8CABA2BA}"/>
              </a:ext>
            </a:extLst>
          </p:cNvPr>
          <p:cNvSpPr/>
          <p:nvPr/>
        </p:nvSpPr>
        <p:spPr>
          <a:xfrm>
            <a:off x="8480709" y="3472888"/>
            <a:ext cx="742686" cy="1529808"/>
          </a:xfrm>
          <a:prstGeom prst="rect">
            <a:avLst/>
          </a:prstGeom>
          <a:noFill/>
          <a:ln w="19050">
            <a:solidFill>
              <a:srgbClr val="00B0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Rechteck 37">
            <a:extLst>
              <a:ext uri="{FF2B5EF4-FFF2-40B4-BE49-F238E27FC236}">
                <a16:creationId xmlns:a16="http://schemas.microsoft.com/office/drawing/2014/main" id="{6FD8626C-0830-41F5-8F1F-5A846E62DB5D}"/>
              </a:ext>
            </a:extLst>
          </p:cNvPr>
          <p:cNvSpPr/>
          <p:nvPr/>
        </p:nvSpPr>
        <p:spPr>
          <a:xfrm>
            <a:off x="5898444" y="3472888"/>
            <a:ext cx="1019982" cy="1529808"/>
          </a:xfrm>
          <a:prstGeom prst="rect">
            <a:avLst/>
          </a:prstGeom>
          <a:noFill/>
          <a:ln w="19050">
            <a:solidFill>
              <a:srgbClr val="00B0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Rechteck 38">
            <a:extLst>
              <a:ext uri="{FF2B5EF4-FFF2-40B4-BE49-F238E27FC236}">
                <a16:creationId xmlns:a16="http://schemas.microsoft.com/office/drawing/2014/main" id="{CFECC23A-96E2-49E5-BBCD-897473FF3A3F}"/>
              </a:ext>
            </a:extLst>
          </p:cNvPr>
          <p:cNvSpPr/>
          <p:nvPr/>
        </p:nvSpPr>
        <p:spPr>
          <a:xfrm>
            <a:off x="6918425" y="3472888"/>
            <a:ext cx="1562284" cy="1529808"/>
          </a:xfrm>
          <a:prstGeom prst="rect">
            <a:avLst/>
          </a:prstGeom>
          <a:noFill/>
          <a:ln w="19050">
            <a:solidFill>
              <a:srgbClr val="00B07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9AC0D43-0838-4847-B391-D3E06FB40353}"/>
              </a:ext>
            </a:extLst>
          </p:cNvPr>
          <p:cNvSpPr txBox="1">
            <a:spLocks/>
          </p:cNvSpPr>
          <p:nvPr/>
        </p:nvSpPr>
        <p:spPr bwMode="gray">
          <a:xfrm>
            <a:off x="3465256" y="5217788"/>
            <a:ext cx="1936538" cy="4326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400" dirty="0"/>
              <a:t>Hierarchische Gliederung der </a:t>
            </a:r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Anforderungen</a:t>
            </a:r>
            <a:r>
              <a:rPr lang="de-DE" sz="1400" dirty="0"/>
              <a:t> 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E86EEF6B-9B89-4158-A047-4DA3291409C1}"/>
              </a:ext>
            </a:extLst>
          </p:cNvPr>
          <p:cNvSpPr txBox="1">
            <a:spLocks/>
          </p:cNvSpPr>
          <p:nvPr/>
        </p:nvSpPr>
        <p:spPr bwMode="gray">
          <a:xfrm>
            <a:off x="5440165" y="5716092"/>
            <a:ext cx="1936538" cy="6656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Testabdeckung</a:t>
            </a:r>
            <a:r>
              <a:rPr lang="de-DE" sz="1400" dirty="0"/>
              <a:t> für die Anforderungen und </a:t>
            </a:r>
            <a:r>
              <a:rPr lang="de-DE" sz="1400" b="1" dirty="0">
                <a:latin typeface="Segoe UI" panose="020B0502040204020203" pitchFamily="34" charset="0"/>
                <a:cs typeface="Segoe UI" panose="020B0502040204020203" pitchFamily="34" charset="0"/>
              </a:rPr>
              <a:t>Testergebnisse</a:t>
            </a:r>
            <a:r>
              <a:rPr lang="de-DE" sz="1400" dirty="0"/>
              <a:t> (farblich)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C5E1E189-D6E9-490C-B1EA-2E1C17F01A57}"/>
              </a:ext>
            </a:extLst>
          </p:cNvPr>
          <p:cNvSpPr txBox="1">
            <a:spLocks/>
          </p:cNvSpPr>
          <p:nvPr/>
        </p:nvSpPr>
        <p:spPr bwMode="gray">
          <a:xfrm>
            <a:off x="7076044" y="5217788"/>
            <a:ext cx="1247046" cy="4326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400" dirty="0"/>
              <a:t>Priorität und</a:t>
            </a:r>
            <a:br>
              <a:rPr lang="de-DE" sz="1400" dirty="0"/>
            </a:br>
            <a:r>
              <a:rPr lang="de-DE" sz="1400" dirty="0"/>
              <a:t>Umsetzung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12757238-B890-4ED0-B575-09353C460756}"/>
              </a:ext>
            </a:extLst>
          </p:cNvPr>
          <p:cNvSpPr txBox="1">
            <a:spLocks/>
          </p:cNvSpPr>
          <p:nvPr/>
        </p:nvSpPr>
        <p:spPr bwMode="gray">
          <a:xfrm>
            <a:off x="8224030" y="5716092"/>
            <a:ext cx="1247046" cy="4326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sz="1400" dirty="0"/>
              <a:t>Status der Anforderungen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E415317-0A72-4897-AC1D-C7D2956EF679}"/>
              </a:ext>
            </a:extLst>
          </p:cNvPr>
          <p:cNvCxnSpPr>
            <a:cxnSpLocks/>
          </p:cNvCxnSpPr>
          <p:nvPr/>
        </p:nvCxnSpPr>
        <p:spPr>
          <a:xfrm flipV="1">
            <a:off x="4433525" y="5037762"/>
            <a:ext cx="0" cy="148601"/>
          </a:xfrm>
          <a:prstGeom prst="straightConnector1">
            <a:avLst/>
          </a:prstGeom>
          <a:ln>
            <a:solidFill>
              <a:srgbClr val="00B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0BF26BE3-63A4-4E27-8D78-13450E8C62BE}"/>
              </a:ext>
            </a:extLst>
          </p:cNvPr>
          <p:cNvCxnSpPr>
            <a:cxnSpLocks/>
          </p:cNvCxnSpPr>
          <p:nvPr/>
        </p:nvCxnSpPr>
        <p:spPr>
          <a:xfrm flipV="1">
            <a:off x="7699567" y="5037762"/>
            <a:ext cx="0" cy="148601"/>
          </a:xfrm>
          <a:prstGeom prst="straightConnector1">
            <a:avLst/>
          </a:prstGeom>
          <a:ln>
            <a:solidFill>
              <a:srgbClr val="00B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2EA1E80D-6597-42CE-BF00-1032162C152E}"/>
              </a:ext>
            </a:extLst>
          </p:cNvPr>
          <p:cNvCxnSpPr>
            <a:cxnSpLocks/>
          </p:cNvCxnSpPr>
          <p:nvPr/>
        </p:nvCxnSpPr>
        <p:spPr>
          <a:xfrm flipV="1">
            <a:off x="6408434" y="5037763"/>
            <a:ext cx="0" cy="612683"/>
          </a:xfrm>
          <a:prstGeom prst="straightConnector1">
            <a:avLst/>
          </a:prstGeom>
          <a:ln>
            <a:solidFill>
              <a:srgbClr val="00B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874FF8B-C03D-4C8A-B7BB-6A83FDAE1057}"/>
              </a:ext>
            </a:extLst>
          </p:cNvPr>
          <p:cNvCxnSpPr>
            <a:cxnSpLocks/>
          </p:cNvCxnSpPr>
          <p:nvPr/>
        </p:nvCxnSpPr>
        <p:spPr>
          <a:xfrm flipV="1">
            <a:off x="8847553" y="5037763"/>
            <a:ext cx="0" cy="612683"/>
          </a:xfrm>
          <a:prstGeom prst="straightConnector1">
            <a:avLst/>
          </a:prstGeom>
          <a:ln>
            <a:solidFill>
              <a:srgbClr val="00B07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52062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8B4553-9217-45E1-A5D5-82200BA768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3149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F8B4553-9217-45E1-A5D5-82200BA768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7E29E2-7E98-4C99-90AA-241235C586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01" y="849054"/>
            <a:ext cx="11231473" cy="467820"/>
          </a:xfrm>
        </p:spPr>
        <p:txBody>
          <a:bodyPr vert="horz"/>
          <a:lstStyle/>
          <a:p>
            <a:r>
              <a:rPr lang="de-DE" dirty="0"/>
              <a:t>Schnittstellen „</a:t>
            </a:r>
            <a:r>
              <a:rPr lang="de-DE"/>
              <a:t>Out-of-the-box“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E7B4B5-E60E-4C7D-B88A-C353B4EED4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 dirty="0">
                <a:solidFill>
                  <a:schemeClr val="accent4"/>
                </a:solidFill>
              </a:rPr>
              <a:t>PTA – Vorstellung </a:t>
            </a:r>
            <a:r>
              <a:rPr lang="de-DE" noProof="0" dirty="0" err="1">
                <a:solidFill>
                  <a:schemeClr val="accent4"/>
                </a:solidFill>
              </a:rPr>
              <a:t>Inflectra</a:t>
            </a:r>
            <a:endParaRPr lang="de-DE" noProof="0" dirty="0">
              <a:solidFill>
                <a:schemeClr val="accent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98D16D-0D62-49D6-A2C6-8C230B76E9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F58692B-9CFC-42D8-9B64-0B547ADAD28E}" type="slidenum">
              <a:rPr lang="de-DE" noProof="0" smtClean="0"/>
              <a:pPr/>
              <a:t>12</a:t>
            </a:fld>
            <a:endParaRPr lang="de-DE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8316DF-9856-4AF6-9D33-406D66B007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0000" y="1664804"/>
            <a:ext cx="11232000" cy="697396"/>
          </a:xfrm>
        </p:spPr>
        <p:txBody>
          <a:bodyPr/>
          <a:lstStyle/>
          <a:p>
            <a:r>
              <a:rPr lang="de-DE"/>
              <a:t>Integration von anderen Tools</a:t>
            </a:r>
          </a:p>
          <a:p>
            <a:pPr lvl="2"/>
            <a:r>
              <a:rPr lang="de-DE"/>
              <a:t>Alle </a:t>
            </a:r>
            <a:r>
              <a:rPr lang="de-DE" dirty="0"/>
              <a:t>drei Spira-Produkte bieten umfangreiche </a:t>
            </a:r>
            <a:r>
              <a:rPr lang="de-DE" b="1" dirty="0">
                <a:latin typeface="Segoe UI" panose="020B0502040204020203" pitchFamily="34" charset="0"/>
                <a:cs typeface="Segoe UI" panose="020B0502040204020203" pitchFamily="34" charset="0"/>
              </a:rPr>
              <a:t>Plug-Ins und Add-Ons für die Integration</a:t>
            </a:r>
            <a:r>
              <a:rPr lang="de-DE" dirty="0"/>
              <a:t> an: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D6287C5-751C-408B-B052-BA9063719A0D}"/>
              </a:ext>
            </a:extLst>
          </p:cNvPr>
          <p:cNvSpPr txBox="1">
            <a:spLocks/>
          </p:cNvSpPr>
          <p:nvPr/>
        </p:nvSpPr>
        <p:spPr bwMode="gray">
          <a:xfrm>
            <a:off x="480000" y="6049107"/>
            <a:ext cx="11232000" cy="3240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Eine Liste der Addons/Pluggins ist hier zu finden:      </a:t>
            </a:r>
            <a:r>
              <a:rPr lang="de-DE" dirty="0">
                <a:solidFill>
                  <a:schemeClr val="tx1"/>
                </a:solidFill>
                <a:hlinkClick r:id="rId7"/>
              </a:rPr>
              <a:t>https://www.inflectra.com/SpiraTest/Downloads.aspx</a:t>
            </a:r>
            <a:endParaRPr lang="de-DE" dirty="0"/>
          </a:p>
        </p:txBody>
      </p:sp>
      <p:sp>
        <p:nvSpPr>
          <p:cNvPr id="26" name="Graphic 541">
            <a:extLst>
              <a:ext uri="{FF2B5EF4-FFF2-40B4-BE49-F238E27FC236}">
                <a16:creationId xmlns:a16="http://schemas.microsoft.com/office/drawing/2014/main" id="{01462BDE-CB8D-4B6D-845D-CD48F8A22020}"/>
              </a:ext>
            </a:extLst>
          </p:cNvPr>
          <p:cNvSpPr>
            <a:spLocks noChangeAspect="1"/>
          </p:cNvSpPr>
          <p:nvPr/>
        </p:nvSpPr>
        <p:spPr>
          <a:xfrm>
            <a:off x="5209852" y="6075285"/>
            <a:ext cx="233999" cy="234000"/>
          </a:xfrm>
          <a:custGeom>
            <a:avLst/>
            <a:gdLst>
              <a:gd name="connsiteX0" fmla="*/ 2868441 w 4876811"/>
              <a:gd name="connsiteY0" fmla="*/ 3759552 h 4876821"/>
              <a:gd name="connsiteX1" fmla="*/ 2114061 w 4876811"/>
              <a:gd name="connsiteY1" fmla="*/ 4513837 h 4876821"/>
              <a:gd name="connsiteX2" fmla="*/ 362985 w 4876811"/>
              <a:gd name="connsiteY2" fmla="*/ 4513837 h 4876821"/>
              <a:gd name="connsiteX3" fmla="*/ 362985 w 4876811"/>
              <a:gd name="connsiteY3" fmla="*/ 2762761 h 4876821"/>
              <a:gd name="connsiteX4" fmla="*/ 1117269 w 4876811"/>
              <a:gd name="connsiteY4" fmla="*/ 2008381 h 4876821"/>
              <a:gd name="connsiteX5" fmla="*/ 1150912 w 4876811"/>
              <a:gd name="connsiteY5" fmla="*/ 1975967 h 4876821"/>
              <a:gd name="connsiteX6" fmla="*/ 1343393 w 4876811"/>
              <a:gd name="connsiteY6" fmla="*/ 2054891 h 4876821"/>
              <a:gd name="connsiteX7" fmla="*/ 1354975 w 4876811"/>
              <a:gd name="connsiteY7" fmla="*/ 2191899 h 4876821"/>
              <a:gd name="connsiteX8" fmla="*/ 1322619 w 4876811"/>
              <a:gd name="connsiteY8" fmla="*/ 2288063 h 4876821"/>
              <a:gd name="connsiteX9" fmla="*/ 605386 w 4876811"/>
              <a:gd name="connsiteY9" fmla="*/ 3005163 h 4876821"/>
              <a:gd name="connsiteX10" fmla="*/ 605386 w 4876811"/>
              <a:gd name="connsiteY10" fmla="*/ 4271416 h 4876821"/>
              <a:gd name="connsiteX11" fmla="*/ 1871640 w 4876811"/>
              <a:gd name="connsiteY11" fmla="*/ 4271416 h 4876821"/>
              <a:gd name="connsiteX12" fmla="*/ 2626020 w 4876811"/>
              <a:gd name="connsiteY12" fmla="*/ 3517036 h 4876821"/>
              <a:gd name="connsiteX13" fmla="*/ 2629449 w 4876811"/>
              <a:gd name="connsiteY13" fmla="*/ 3513607 h 4876821"/>
              <a:gd name="connsiteX14" fmla="*/ 2625925 w 4876811"/>
              <a:gd name="connsiteY14" fmla="*/ 2250783 h 4876821"/>
              <a:gd name="connsiteX15" fmla="*/ 2363178 w 4876811"/>
              <a:gd name="connsiteY15" fmla="*/ 2068769 h 4876821"/>
              <a:gd name="connsiteX16" fmla="*/ 2295226 w 4876811"/>
              <a:gd name="connsiteY16" fmla="*/ 1957613 h 4876821"/>
              <a:gd name="connsiteX17" fmla="*/ 2322144 w 4876811"/>
              <a:gd name="connsiteY17" fmla="*/ 1812271 h 4876821"/>
              <a:gd name="connsiteX18" fmla="*/ 2473773 w 4876811"/>
              <a:gd name="connsiteY18" fmla="*/ 1742929 h 4876821"/>
              <a:gd name="connsiteX19" fmla="*/ 2868441 w 4876811"/>
              <a:gd name="connsiteY19" fmla="*/ 2008371 h 4876821"/>
              <a:gd name="connsiteX20" fmla="*/ 2868441 w 4876811"/>
              <a:gd name="connsiteY20" fmla="*/ 3759552 h 4876821"/>
              <a:gd name="connsiteX21" fmla="*/ 2008371 w 4876811"/>
              <a:gd name="connsiteY21" fmla="*/ 2868450 h 4876821"/>
              <a:gd name="connsiteX22" fmla="*/ 2403040 w 4876811"/>
              <a:gd name="connsiteY22" fmla="*/ 3133893 h 4876821"/>
              <a:gd name="connsiteX23" fmla="*/ 2554668 w 4876811"/>
              <a:gd name="connsiteY23" fmla="*/ 3064551 h 4876821"/>
              <a:gd name="connsiteX24" fmla="*/ 2581586 w 4876811"/>
              <a:gd name="connsiteY24" fmla="*/ 2919209 h 4876821"/>
              <a:gd name="connsiteX25" fmla="*/ 2513635 w 4876811"/>
              <a:gd name="connsiteY25" fmla="*/ 2808052 h 4876821"/>
              <a:gd name="connsiteX26" fmla="*/ 2250887 w 4876811"/>
              <a:gd name="connsiteY26" fmla="*/ 2626039 h 4876821"/>
              <a:gd name="connsiteX27" fmla="*/ 2247363 w 4876811"/>
              <a:gd name="connsiteY27" fmla="*/ 1363214 h 4876821"/>
              <a:gd name="connsiteX28" fmla="*/ 2250792 w 4876811"/>
              <a:gd name="connsiteY28" fmla="*/ 1359785 h 4876821"/>
              <a:gd name="connsiteX29" fmla="*/ 3005172 w 4876811"/>
              <a:gd name="connsiteY29" fmla="*/ 605405 h 4876821"/>
              <a:gd name="connsiteX30" fmla="*/ 4271426 w 4876811"/>
              <a:gd name="connsiteY30" fmla="*/ 605405 h 4876821"/>
              <a:gd name="connsiteX31" fmla="*/ 4271426 w 4876811"/>
              <a:gd name="connsiteY31" fmla="*/ 1871659 h 4876821"/>
              <a:gd name="connsiteX32" fmla="*/ 3554193 w 4876811"/>
              <a:gd name="connsiteY32" fmla="*/ 2588758 h 4876821"/>
              <a:gd name="connsiteX33" fmla="*/ 3521837 w 4876811"/>
              <a:gd name="connsiteY33" fmla="*/ 2684923 h 4876821"/>
              <a:gd name="connsiteX34" fmla="*/ 3533419 w 4876811"/>
              <a:gd name="connsiteY34" fmla="*/ 2821930 h 4876821"/>
              <a:gd name="connsiteX35" fmla="*/ 3725900 w 4876811"/>
              <a:gd name="connsiteY35" fmla="*/ 2900854 h 4876821"/>
              <a:gd name="connsiteX36" fmla="*/ 3759543 w 4876811"/>
              <a:gd name="connsiteY36" fmla="*/ 2868441 h 4876821"/>
              <a:gd name="connsiteX37" fmla="*/ 4513827 w 4876811"/>
              <a:gd name="connsiteY37" fmla="*/ 2114061 h 4876821"/>
              <a:gd name="connsiteX38" fmla="*/ 4513827 w 4876811"/>
              <a:gd name="connsiteY38" fmla="*/ 362985 h 4876821"/>
              <a:gd name="connsiteX39" fmla="*/ 2762751 w 4876811"/>
              <a:gd name="connsiteY39" fmla="*/ 362985 h 4876821"/>
              <a:gd name="connsiteX40" fmla="*/ 2008371 w 4876811"/>
              <a:gd name="connsiteY40" fmla="*/ 1117269 h 4876821"/>
              <a:gd name="connsiteX41" fmla="*/ 2008371 w 4876811"/>
              <a:gd name="connsiteY41" fmla="*/ 2868450 h 4876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4876811" h="4876821">
                <a:moveTo>
                  <a:pt x="2868441" y="3759552"/>
                </a:moveTo>
                <a:lnTo>
                  <a:pt x="2114061" y="4513837"/>
                </a:lnTo>
                <a:cubicBezTo>
                  <a:pt x="1630400" y="4997697"/>
                  <a:pt x="846883" y="4997936"/>
                  <a:pt x="362985" y="4513837"/>
                </a:cubicBezTo>
                <a:cubicBezTo>
                  <a:pt x="-120876" y="4030177"/>
                  <a:pt x="-121114" y="3246660"/>
                  <a:pt x="362985" y="2762761"/>
                </a:cubicBezTo>
                <a:lnTo>
                  <a:pt x="1117269" y="2008381"/>
                </a:lnTo>
                <a:cubicBezTo>
                  <a:pt x="1128283" y="1997370"/>
                  <a:pt x="1139499" y="1986564"/>
                  <a:pt x="1150912" y="1975967"/>
                </a:cubicBezTo>
                <a:cubicBezTo>
                  <a:pt x="1222826" y="1909245"/>
                  <a:pt x="1339459" y="1956879"/>
                  <a:pt x="1343393" y="2054891"/>
                </a:cubicBezTo>
                <a:cubicBezTo>
                  <a:pt x="1345231" y="2100678"/>
                  <a:pt x="1349089" y="2146398"/>
                  <a:pt x="1354975" y="2191899"/>
                </a:cubicBezTo>
                <a:cubicBezTo>
                  <a:pt x="1359557" y="2227303"/>
                  <a:pt x="1347870" y="2262832"/>
                  <a:pt x="1322619" y="2288063"/>
                </a:cubicBezTo>
                <a:cubicBezTo>
                  <a:pt x="1165647" y="2444931"/>
                  <a:pt x="606891" y="3003658"/>
                  <a:pt x="605386" y="3005163"/>
                </a:cubicBezTo>
                <a:cubicBezTo>
                  <a:pt x="255457" y="3355292"/>
                  <a:pt x="255524" y="3921353"/>
                  <a:pt x="605386" y="4271416"/>
                </a:cubicBezTo>
                <a:cubicBezTo>
                  <a:pt x="955516" y="4621346"/>
                  <a:pt x="1521577" y="4621279"/>
                  <a:pt x="1871640" y="4271416"/>
                </a:cubicBezTo>
                <a:lnTo>
                  <a:pt x="2626020" y="3517036"/>
                </a:lnTo>
                <a:lnTo>
                  <a:pt x="2629449" y="3513607"/>
                </a:lnTo>
                <a:cubicBezTo>
                  <a:pt x="2975216" y="3164306"/>
                  <a:pt x="2973682" y="2598540"/>
                  <a:pt x="2625925" y="2250783"/>
                </a:cubicBezTo>
                <a:cubicBezTo>
                  <a:pt x="2547686" y="2172544"/>
                  <a:pt x="2458504" y="2111908"/>
                  <a:pt x="2363178" y="2068769"/>
                </a:cubicBezTo>
                <a:cubicBezTo>
                  <a:pt x="2319686" y="2049091"/>
                  <a:pt x="2292445" y="2005266"/>
                  <a:pt x="2295226" y="1957613"/>
                </a:cubicBezTo>
                <a:cubicBezTo>
                  <a:pt x="2298096" y="1908231"/>
                  <a:pt x="2307139" y="1859404"/>
                  <a:pt x="2322144" y="1812271"/>
                </a:cubicBezTo>
                <a:cubicBezTo>
                  <a:pt x="2342175" y="1749396"/>
                  <a:pt x="2412927" y="1717392"/>
                  <a:pt x="2473773" y="1742929"/>
                </a:cubicBezTo>
                <a:cubicBezTo>
                  <a:pt x="2617343" y="1803165"/>
                  <a:pt x="2751779" y="1891709"/>
                  <a:pt x="2868441" y="2008371"/>
                </a:cubicBezTo>
                <a:cubicBezTo>
                  <a:pt x="3351244" y="2491184"/>
                  <a:pt x="3351158" y="3276816"/>
                  <a:pt x="2868441" y="3759552"/>
                </a:cubicBezTo>
                <a:close/>
                <a:moveTo>
                  <a:pt x="2008371" y="2868450"/>
                </a:moveTo>
                <a:cubicBezTo>
                  <a:pt x="2125034" y="2985112"/>
                  <a:pt x="2259469" y="3073657"/>
                  <a:pt x="2403040" y="3133893"/>
                </a:cubicBezTo>
                <a:cubicBezTo>
                  <a:pt x="2463885" y="3159420"/>
                  <a:pt x="2534637" y="3127416"/>
                  <a:pt x="2554668" y="3064551"/>
                </a:cubicBezTo>
                <a:cubicBezTo>
                  <a:pt x="2569673" y="3017417"/>
                  <a:pt x="2578716" y="2968590"/>
                  <a:pt x="2581586" y="2919209"/>
                </a:cubicBezTo>
                <a:cubicBezTo>
                  <a:pt x="2584367" y="2871555"/>
                  <a:pt x="2557116" y="2827731"/>
                  <a:pt x="2513635" y="2808052"/>
                </a:cubicBezTo>
                <a:cubicBezTo>
                  <a:pt x="2418308" y="2764923"/>
                  <a:pt x="2329126" y="2704287"/>
                  <a:pt x="2250887" y="2626039"/>
                </a:cubicBezTo>
                <a:cubicBezTo>
                  <a:pt x="1903130" y="2278281"/>
                  <a:pt x="1901596" y="1712515"/>
                  <a:pt x="2247363" y="1363214"/>
                </a:cubicBezTo>
                <a:lnTo>
                  <a:pt x="2250792" y="1359785"/>
                </a:lnTo>
                <a:lnTo>
                  <a:pt x="3005172" y="605405"/>
                </a:lnTo>
                <a:cubicBezTo>
                  <a:pt x="3355235" y="255543"/>
                  <a:pt x="3921296" y="255476"/>
                  <a:pt x="4271426" y="605405"/>
                </a:cubicBezTo>
                <a:cubicBezTo>
                  <a:pt x="4621289" y="955468"/>
                  <a:pt x="4621355" y="1521530"/>
                  <a:pt x="4271426" y="1871659"/>
                </a:cubicBezTo>
                <a:cubicBezTo>
                  <a:pt x="4269930" y="1873154"/>
                  <a:pt x="3711175" y="2431891"/>
                  <a:pt x="3554193" y="2588758"/>
                </a:cubicBezTo>
                <a:cubicBezTo>
                  <a:pt x="3528942" y="2613999"/>
                  <a:pt x="3517255" y="2649518"/>
                  <a:pt x="3521837" y="2684923"/>
                </a:cubicBezTo>
                <a:cubicBezTo>
                  <a:pt x="3527717" y="2730399"/>
                  <a:pt x="3531582" y="2776112"/>
                  <a:pt x="3533419" y="2821930"/>
                </a:cubicBezTo>
                <a:cubicBezTo>
                  <a:pt x="3537353" y="2919952"/>
                  <a:pt x="3653996" y="2967577"/>
                  <a:pt x="3725900" y="2900854"/>
                </a:cubicBezTo>
                <a:cubicBezTo>
                  <a:pt x="3737315" y="2890260"/>
                  <a:pt x="3748531" y="2879454"/>
                  <a:pt x="3759543" y="2868441"/>
                </a:cubicBezTo>
                <a:lnTo>
                  <a:pt x="4513827" y="2114061"/>
                </a:lnTo>
                <a:cubicBezTo>
                  <a:pt x="4997926" y="1630162"/>
                  <a:pt x="4997688" y="846645"/>
                  <a:pt x="4513827" y="362985"/>
                </a:cubicBezTo>
                <a:cubicBezTo>
                  <a:pt x="4029938" y="-121114"/>
                  <a:pt x="3246412" y="-120876"/>
                  <a:pt x="2762751" y="362985"/>
                </a:cubicBezTo>
                <a:lnTo>
                  <a:pt x="2008371" y="1117269"/>
                </a:lnTo>
                <a:cubicBezTo>
                  <a:pt x="1525654" y="1600016"/>
                  <a:pt x="1525568" y="2385647"/>
                  <a:pt x="2008371" y="286845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23" name="Rechteck 25">
            <a:extLst>
              <a:ext uri="{FF2B5EF4-FFF2-40B4-BE49-F238E27FC236}">
                <a16:creationId xmlns:a16="http://schemas.microsoft.com/office/drawing/2014/main" id="{832B501B-8447-47F1-A2CE-A89B813BE14B}"/>
              </a:ext>
            </a:extLst>
          </p:cNvPr>
          <p:cNvSpPr/>
          <p:nvPr/>
        </p:nvSpPr>
        <p:spPr>
          <a:xfrm>
            <a:off x="479425" y="2434197"/>
            <a:ext cx="5585014" cy="8254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Bef>
                <a:spcPts val="600"/>
              </a:spcBef>
            </a:pPr>
            <a:r>
              <a:rPr lang="de-DE" sz="1100" b="1" dirty="0">
                <a:solidFill>
                  <a:schemeClr val="tx1"/>
                </a:solidFill>
                <a:latin typeface="+mj-lt"/>
              </a:rPr>
              <a:t>IDE (Entwicklungsumgebungen)</a:t>
            </a:r>
          </a:p>
        </p:txBody>
      </p:sp>
      <p:sp>
        <p:nvSpPr>
          <p:cNvPr id="25" name="Rechteck 26">
            <a:extLst>
              <a:ext uri="{FF2B5EF4-FFF2-40B4-BE49-F238E27FC236}">
                <a16:creationId xmlns:a16="http://schemas.microsoft.com/office/drawing/2014/main" id="{35C78721-F0C5-48AD-A708-8B07DA59B692}"/>
              </a:ext>
            </a:extLst>
          </p:cNvPr>
          <p:cNvSpPr/>
          <p:nvPr/>
        </p:nvSpPr>
        <p:spPr>
          <a:xfrm>
            <a:off x="479425" y="3323178"/>
            <a:ext cx="5585014" cy="8254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Bef>
                <a:spcPts val="600"/>
              </a:spcBef>
            </a:pPr>
            <a:r>
              <a:rPr lang="de-DE" sz="1100" b="1" dirty="0">
                <a:solidFill>
                  <a:schemeClr val="tx1"/>
                </a:solidFill>
                <a:latin typeface="+mj-lt"/>
              </a:rPr>
              <a:t>Buildserver</a:t>
            </a:r>
          </a:p>
        </p:txBody>
      </p:sp>
      <p:sp>
        <p:nvSpPr>
          <p:cNvPr id="27" name="Rechteck 27">
            <a:extLst>
              <a:ext uri="{FF2B5EF4-FFF2-40B4-BE49-F238E27FC236}">
                <a16:creationId xmlns:a16="http://schemas.microsoft.com/office/drawing/2014/main" id="{87D151E7-617E-4AE6-82A5-95D53DCF2162}"/>
              </a:ext>
            </a:extLst>
          </p:cNvPr>
          <p:cNvSpPr/>
          <p:nvPr/>
        </p:nvSpPr>
        <p:spPr>
          <a:xfrm>
            <a:off x="479425" y="4212158"/>
            <a:ext cx="5585014" cy="8254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Bef>
                <a:spcPts val="600"/>
              </a:spcBef>
            </a:pPr>
            <a:r>
              <a:rPr lang="de-DE" sz="1100" b="1" dirty="0">
                <a:solidFill>
                  <a:schemeClr val="tx1"/>
                </a:solidFill>
                <a:latin typeface="+mj-lt"/>
              </a:rPr>
              <a:t>Modellierung &amp; Anforderung</a:t>
            </a:r>
          </a:p>
        </p:txBody>
      </p:sp>
      <p:sp>
        <p:nvSpPr>
          <p:cNvPr id="28" name="Rechteck 28">
            <a:extLst>
              <a:ext uri="{FF2B5EF4-FFF2-40B4-BE49-F238E27FC236}">
                <a16:creationId xmlns:a16="http://schemas.microsoft.com/office/drawing/2014/main" id="{CC96538F-CF6B-4A65-AD42-D40CF72E28A8}"/>
              </a:ext>
            </a:extLst>
          </p:cNvPr>
          <p:cNvSpPr/>
          <p:nvPr/>
        </p:nvSpPr>
        <p:spPr>
          <a:xfrm>
            <a:off x="479425" y="5101139"/>
            <a:ext cx="5585014" cy="8254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Bef>
                <a:spcPts val="600"/>
              </a:spcBef>
            </a:pPr>
            <a:r>
              <a:rPr lang="de-DE" sz="1100" b="1" dirty="0">
                <a:solidFill>
                  <a:schemeClr val="tx1"/>
                </a:solidFill>
                <a:latin typeface="+mj-lt"/>
              </a:rPr>
              <a:t>SourceCode-Managgement</a:t>
            </a:r>
          </a:p>
        </p:txBody>
      </p:sp>
      <p:sp>
        <p:nvSpPr>
          <p:cNvPr id="29" name="Rechteck 29">
            <a:extLst>
              <a:ext uri="{FF2B5EF4-FFF2-40B4-BE49-F238E27FC236}">
                <a16:creationId xmlns:a16="http://schemas.microsoft.com/office/drawing/2014/main" id="{0F67D747-D125-4E4E-BD48-A5B5297A61FC}"/>
              </a:ext>
            </a:extLst>
          </p:cNvPr>
          <p:cNvSpPr/>
          <p:nvPr/>
        </p:nvSpPr>
        <p:spPr>
          <a:xfrm>
            <a:off x="6127561" y="2434197"/>
            <a:ext cx="5585014" cy="8254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Bef>
                <a:spcPts val="600"/>
              </a:spcBef>
            </a:pPr>
            <a:r>
              <a:rPr lang="de-DE" sz="1100" b="1" dirty="0">
                <a:solidFill>
                  <a:schemeClr val="tx1"/>
                </a:solidFill>
                <a:latin typeface="+mj-lt"/>
              </a:rPr>
              <a:t>Unittest</a:t>
            </a:r>
          </a:p>
        </p:txBody>
      </p:sp>
      <p:sp>
        <p:nvSpPr>
          <p:cNvPr id="30" name="Rechteck 30">
            <a:extLst>
              <a:ext uri="{FF2B5EF4-FFF2-40B4-BE49-F238E27FC236}">
                <a16:creationId xmlns:a16="http://schemas.microsoft.com/office/drawing/2014/main" id="{5DD459D9-46B4-46C0-BC19-D4677CA255D5}"/>
              </a:ext>
            </a:extLst>
          </p:cNvPr>
          <p:cNvSpPr/>
          <p:nvPr/>
        </p:nvSpPr>
        <p:spPr>
          <a:xfrm>
            <a:off x="6127561" y="3323178"/>
            <a:ext cx="5585014" cy="8254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Bef>
                <a:spcPts val="600"/>
              </a:spcBef>
            </a:pPr>
            <a:r>
              <a:rPr lang="de-DE" sz="1100" b="1" dirty="0">
                <a:solidFill>
                  <a:schemeClr val="tx1"/>
                </a:solidFill>
                <a:latin typeface="+mj-lt"/>
              </a:rPr>
              <a:t>Fehlermanagement</a:t>
            </a:r>
          </a:p>
        </p:txBody>
      </p:sp>
      <p:sp>
        <p:nvSpPr>
          <p:cNvPr id="31" name="Rechteck 31">
            <a:extLst>
              <a:ext uri="{FF2B5EF4-FFF2-40B4-BE49-F238E27FC236}">
                <a16:creationId xmlns:a16="http://schemas.microsoft.com/office/drawing/2014/main" id="{0BD6AE41-E40E-435D-BB47-004CE6547342}"/>
              </a:ext>
            </a:extLst>
          </p:cNvPr>
          <p:cNvSpPr/>
          <p:nvPr/>
        </p:nvSpPr>
        <p:spPr>
          <a:xfrm>
            <a:off x="6127561" y="4212158"/>
            <a:ext cx="5585014" cy="8254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Bef>
                <a:spcPts val="600"/>
              </a:spcBef>
            </a:pPr>
            <a:r>
              <a:rPr lang="de-DE" sz="1100" b="1" dirty="0">
                <a:solidFill>
                  <a:schemeClr val="tx1"/>
                </a:solidFill>
                <a:latin typeface="+mj-lt"/>
              </a:rPr>
              <a:t>Funktionaler Test</a:t>
            </a:r>
          </a:p>
        </p:txBody>
      </p:sp>
      <p:sp>
        <p:nvSpPr>
          <p:cNvPr id="32" name="Rechteck 32">
            <a:extLst>
              <a:ext uri="{FF2B5EF4-FFF2-40B4-BE49-F238E27FC236}">
                <a16:creationId xmlns:a16="http://schemas.microsoft.com/office/drawing/2014/main" id="{786370FE-271A-4D5F-9045-91FE72DD57FA}"/>
              </a:ext>
            </a:extLst>
          </p:cNvPr>
          <p:cNvSpPr/>
          <p:nvPr/>
        </p:nvSpPr>
        <p:spPr>
          <a:xfrm>
            <a:off x="6127561" y="5101139"/>
            <a:ext cx="5585014" cy="8254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l">
              <a:spcBef>
                <a:spcPts val="600"/>
              </a:spcBef>
            </a:pPr>
            <a:r>
              <a:rPr lang="de-DE" sz="1100" b="1" dirty="0">
                <a:solidFill>
                  <a:schemeClr val="tx1"/>
                </a:solidFill>
                <a:latin typeface="+mj-lt"/>
              </a:rPr>
              <a:t>Performancetest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84A358FB-1F58-4FB5-9254-0A29592F443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6577" r="59318" b="77450"/>
          <a:stretch/>
        </p:blipFill>
        <p:spPr>
          <a:xfrm>
            <a:off x="2895727" y="2542137"/>
            <a:ext cx="3020886" cy="609600"/>
          </a:xfrm>
          <a:custGeom>
            <a:avLst/>
            <a:gdLst>
              <a:gd name="connsiteX0" fmla="*/ 0 w 3020886"/>
              <a:gd name="connsiteY0" fmla="*/ 0 h 609600"/>
              <a:gd name="connsiteX1" fmla="*/ 3020886 w 3020886"/>
              <a:gd name="connsiteY1" fmla="*/ 0 h 609600"/>
              <a:gd name="connsiteX2" fmla="*/ 3020886 w 3020886"/>
              <a:gd name="connsiteY2" fmla="*/ 609600 h 609600"/>
              <a:gd name="connsiteX3" fmla="*/ 0 w 3020886"/>
              <a:gd name="connsiteY3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0886" h="609600">
                <a:moveTo>
                  <a:pt x="0" y="0"/>
                </a:moveTo>
                <a:lnTo>
                  <a:pt x="3020886" y="0"/>
                </a:lnTo>
                <a:lnTo>
                  <a:pt x="3020886" y="609600"/>
                </a:lnTo>
                <a:lnTo>
                  <a:pt x="0" y="609600"/>
                </a:lnTo>
                <a:close/>
              </a:path>
            </a:pathLst>
          </a:cu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428C8E99-AE55-4B99-AB82-7E13EC6507D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30041" r="90404" b="53986"/>
          <a:stretch/>
        </p:blipFill>
        <p:spPr>
          <a:xfrm>
            <a:off x="2566653" y="3431118"/>
            <a:ext cx="712535" cy="609600"/>
          </a:xfrm>
          <a:custGeom>
            <a:avLst/>
            <a:gdLst>
              <a:gd name="connsiteX0" fmla="*/ 0 w 3020886"/>
              <a:gd name="connsiteY0" fmla="*/ 0 h 771691"/>
              <a:gd name="connsiteX1" fmla="*/ 3020886 w 3020886"/>
              <a:gd name="connsiteY1" fmla="*/ 0 h 771691"/>
              <a:gd name="connsiteX2" fmla="*/ 3020886 w 3020886"/>
              <a:gd name="connsiteY2" fmla="*/ 771691 h 771691"/>
              <a:gd name="connsiteX3" fmla="*/ 0 w 3020886"/>
              <a:gd name="connsiteY3" fmla="*/ 771691 h 771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0886" h="771691">
                <a:moveTo>
                  <a:pt x="0" y="0"/>
                </a:moveTo>
                <a:lnTo>
                  <a:pt x="3020886" y="0"/>
                </a:lnTo>
                <a:lnTo>
                  <a:pt x="3020886" y="771691"/>
                </a:lnTo>
                <a:lnTo>
                  <a:pt x="0" y="771691"/>
                </a:lnTo>
                <a:close/>
              </a:path>
            </a:pathLst>
          </a:cu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52827EB6-4494-4A58-9069-E9911FBED9D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9340" t="29082" r="68662" b="53986"/>
          <a:stretch/>
        </p:blipFill>
        <p:spPr>
          <a:xfrm>
            <a:off x="3427751" y="3412821"/>
            <a:ext cx="1633538" cy="646195"/>
          </a:xfrm>
          <a:custGeom>
            <a:avLst/>
            <a:gdLst>
              <a:gd name="connsiteX0" fmla="*/ 0 w 3020886"/>
              <a:gd name="connsiteY0" fmla="*/ 0 h 771691"/>
              <a:gd name="connsiteX1" fmla="*/ 3020886 w 3020886"/>
              <a:gd name="connsiteY1" fmla="*/ 0 h 771691"/>
              <a:gd name="connsiteX2" fmla="*/ 3020886 w 3020886"/>
              <a:gd name="connsiteY2" fmla="*/ 771691 h 771691"/>
              <a:gd name="connsiteX3" fmla="*/ 0 w 3020886"/>
              <a:gd name="connsiteY3" fmla="*/ 771691 h 771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0886" h="771691">
                <a:moveTo>
                  <a:pt x="0" y="0"/>
                </a:moveTo>
                <a:lnTo>
                  <a:pt x="3020886" y="0"/>
                </a:lnTo>
                <a:lnTo>
                  <a:pt x="3020886" y="771691"/>
                </a:lnTo>
                <a:lnTo>
                  <a:pt x="0" y="771691"/>
                </a:lnTo>
                <a:close/>
              </a:path>
            </a:pathLst>
          </a:cu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3C61897C-55D6-442C-8E54-B2A92726D98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31530" t="26797" r="60132" b="54988"/>
          <a:stretch/>
        </p:blipFill>
        <p:spPr>
          <a:xfrm>
            <a:off x="5209852" y="3388326"/>
            <a:ext cx="619125" cy="695184"/>
          </a:xfrm>
          <a:custGeom>
            <a:avLst/>
            <a:gdLst>
              <a:gd name="connsiteX0" fmla="*/ 0 w 3020886"/>
              <a:gd name="connsiteY0" fmla="*/ 0 h 771691"/>
              <a:gd name="connsiteX1" fmla="*/ 3020886 w 3020886"/>
              <a:gd name="connsiteY1" fmla="*/ 0 h 771691"/>
              <a:gd name="connsiteX2" fmla="*/ 3020886 w 3020886"/>
              <a:gd name="connsiteY2" fmla="*/ 771691 h 771691"/>
              <a:gd name="connsiteX3" fmla="*/ 0 w 3020886"/>
              <a:gd name="connsiteY3" fmla="*/ 771691 h 771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0886" h="771691">
                <a:moveTo>
                  <a:pt x="0" y="0"/>
                </a:moveTo>
                <a:lnTo>
                  <a:pt x="3020886" y="0"/>
                </a:lnTo>
                <a:lnTo>
                  <a:pt x="3020886" y="771691"/>
                </a:lnTo>
                <a:lnTo>
                  <a:pt x="0" y="771691"/>
                </a:lnTo>
                <a:close/>
              </a:path>
            </a:pathLst>
          </a:cu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86B1DAA4-976B-4126-B82D-8F7BF8E09F4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53581" r="59318" b="32110"/>
          <a:stretch/>
        </p:blipFill>
        <p:spPr>
          <a:xfrm>
            <a:off x="2863909" y="4351848"/>
            <a:ext cx="3020886" cy="546100"/>
          </a:xfrm>
          <a:custGeom>
            <a:avLst/>
            <a:gdLst>
              <a:gd name="connsiteX0" fmla="*/ 0 w 3020886"/>
              <a:gd name="connsiteY0" fmla="*/ 0 h 546100"/>
              <a:gd name="connsiteX1" fmla="*/ 3020886 w 3020886"/>
              <a:gd name="connsiteY1" fmla="*/ 0 h 546100"/>
              <a:gd name="connsiteX2" fmla="*/ 3020886 w 3020886"/>
              <a:gd name="connsiteY2" fmla="*/ 546100 h 546100"/>
              <a:gd name="connsiteX3" fmla="*/ 0 w 3020886"/>
              <a:gd name="connsiteY3" fmla="*/ 546100 h 546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0886" h="546100">
                <a:moveTo>
                  <a:pt x="0" y="0"/>
                </a:moveTo>
                <a:lnTo>
                  <a:pt x="3020886" y="0"/>
                </a:lnTo>
                <a:lnTo>
                  <a:pt x="3020886" y="546100"/>
                </a:lnTo>
                <a:lnTo>
                  <a:pt x="0" y="546100"/>
                </a:lnTo>
                <a:close/>
              </a:path>
            </a:pathLst>
          </a:cu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7661376B-1B88-4CF8-B94A-D00B7F912F7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79280" r="59318"/>
          <a:stretch/>
        </p:blipFill>
        <p:spPr>
          <a:xfrm>
            <a:off x="2863909" y="5168173"/>
            <a:ext cx="2641284" cy="691412"/>
          </a:xfrm>
          <a:custGeom>
            <a:avLst/>
            <a:gdLst>
              <a:gd name="connsiteX0" fmla="*/ 0 w 3020886"/>
              <a:gd name="connsiteY0" fmla="*/ 0 h 790781"/>
              <a:gd name="connsiteX1" fmla="*/ 3020886 w 3020886"/>
              <a:gd name="connsiteY1" fmla="*/ 0 h 790781"/>
              <a:gd name="connsiteX2" fmla="*/ 3020886 w 3020886"/>
              <a:gd name="connsiteY2" fmla="*/ 790781 h 790781"/>
              <a:gd name="connsiteX3" fmla="*/ 0 w 3020886"/>
              <a:gd name="connsiteY3" fmla="*/ 790781 h 790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0886" h="790781">
                <a:moveTo>
                  <a:pt x="0" y="0"/>
                </a:moveTo>
                <a:lnTo>
                  <a:pt x="3020886" y="0"/>
                </a:lnTo>
                <a:lnTo>
                  <a:pt x="3020886" y="790781"/>
                </a:lnTo>
                <a:lnTo>
                  <a:pt x="0" y="790781"/>
                </a:lnTo>
                <a:close/>
              </a:path>
            </a:pathLst>
          </a:cu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7F77D1AD-710F-45AA-A189-DFDF384CF33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2669" t="6244" b="77783"/>
          <a:stretch/>
        </p:blipFill>
        <p:spPr>
          <a:xfrm>
            <a:off x="7167673" y="2542137"/>
            <a:ext cx="4257199" cy="609600"/>
          </a:xfrm>
          <a:custGeom>
            <a:avLst/>
            <a:gdLst>
              <a:gd name="connsiteX0" fmla="*/ 0 w 4257199"/>
              <a:gd name="connsiteY0" fmla="*/ 0 h 609600"/>
              <a:gd name="connsiteX1" fmla="*/ 4257199 w 4257199"/>
              <a:gd name="connsiteY1" fmla="*/ 0 h 609600"/>
              <a:gd name="connsiteX2" fmla="*/ 4257199 w 4257199"/>
              <a:gd name="connsiteY2" fmla="*/ 609600 h 609600"/>
              <a:gd name="connsiteX3" fmla="*/ 0 w 4257199"/>
              <a:gd name="connsiteY3" fmla="*/ 609600 h 60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7199" h="609600">
                <a:moveTo>
                  <a:pt x="0" y="0"/>
                </a:moveTo>
                <a:lnTo>
                  <a:pt x="4257199" y="0"/>
                </a:lnTo>
                <a:lnTo>
                  <a:pt x="4257199" y="609600"/>
                </a:lnTo>
                <a:lnTo>
                  <a:pt x="0" y="609600"/>
                </a:lnTo>
                <a:close/>
              </a:path>
            </a:pathLst>
          </a:custGeom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9A83A142-105D-4F56-A9EC-B29EA823A7FF}"/>
              </a:ext>
            </a:extLst>
          </p:cNvPr>
          <p:cNvGrpSpPr/>
          <p:nvPr/>
        </p:nvGrpSpPr>
        <p:grpSpPr>
          <a:xfrm>
            <a:off x="7639149" y="3354928"/>
            <a:ext cx="3898802" cy="704796"/>
            <a:chOff x="7639149" y="3354928"/>
            <a:chExt cx="3898802" cy="704796"/>
          </a:xfrm>
        </p:grpSpPr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ACE06884-3919-4761-B5A1-BB1223C955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42669" t="27918" r="1876" b="54160"/>
            <a:stretch/>
          </p:blipFill>
          <p:spPr>
            <a:xfrm>
              <a:off x="7639149" y="3412113"/>
              <a:ext cx="3898802" cy="647611"/>
            </a:xfrm>
            <a:custGeom>
              <a:avLst/>
              <a:gdLst>
                <a:gd name="connsiteX0" fmla="*/ 0 w 4257199"/>
                <a:gd name="connsiteY0" fmla="*/ 0 h 684000"/>
                <a:gd name="connsiteX1" fmla="*/ 4257199 w 4257199"/>
                <a:gd name="connsiteY1" fmla="*/ 0 h 684000"/>
                <a:gd name="connsiteX2" fmla="*/ 4257199 w 4257199"/>
                <a:gd name="connsiteY2" fmla="*/ 684000 h 684000"/>
                <a:gd name="connsiteX3" fmla="*/ 0 w 4257199"/>
                <a:gd name="connsiteY3" fmla="*/ 684000 h 68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7199" h="684000">
                  <a:moveTo>
                    <a:pt x="0" y="0"/>
                  </a:moveTo>
                  <a:lnTo>
                    <a:pt x="4257199" y="0"/>
                  </a:lnTo>
                  <a:lnTo>
                    <a:pt x="4257199" y="684000"/>
                  </a:lnTo>
                  <a:lnTo>
                    <a:pt x="0" y="684000"/>
                  </a:lnTo>
                  <a:close/>
                </a:path>
              </a:pathLst>
            </a:custGeom>
          </p:spPr>
        </p:pic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3978F985-1986-4493-870A-8AB0EFDAEEDE}"/>
                </a:ext>
              </a:extLst>
            </p:cNvPr>
            <p:cNvSpPr/>
            <p:nvPr/>
          </p:nvSpPr>
          <p:spPr>
            <a:xfrm>
              <a:off x="7689850" y="3354928"/>
              <a:ext cx="1339850" cy="1563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/>
            <a:lstStyle/>
            <a:p>
              <a:pPr marL="216000" indent="-216000" algn="l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dirty="0" err="1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7FB8246-1B82-406B-89C5-7621A79F6E0B}"/>
              </a:ext>
            </a:extLst>
          </p:cNvPr>
          <p:cNvGrpSpPr/>
          <p:nvPr/>
        </p:nvGrpSpPr>
        <p:grpSpPr>
          <a:xfrm>
            <a:off x="7689850" y="4260541"/>
            <a:ext cx="3715937" cy="728715"/>
            <a:chOff x="7689850" y="4260541"/>
            <a:chExt cx="3715937" cy="728715"/>
          </a:xfrm>
        </p:grpSpPr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C5745EBA-3A0C-444E-8285-26BBC19E05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42669" t="48674" b="29450"/>
            <a:stretch/>
          </p:blipFill>
          <p:spPr>
            <a:xfrm>
              <a:off x="7689850" y="4260541"/>
              <a:ext cx="3715937" cy="728715"/>
            </a:xfrm>
            <a:custGeom>
              <a:avLst/>
              <a:gdLst>
                <a:gd name="connsiteX0" fmla="*/ 0 w 4257199"/>
                <a:gd name="connsiteY0" fmla="*/ 0 h 834859"/>
                <a:gd name="connsiteX1" fmla="*/ 4257199 w 4257199"/>
                <a:gd name="connsiteY1" fmla="*/ 0 h 834859"/>
                <a:gd name="connsiteX2" fmla="*/ 4257199 w 4257199"/>
                <a:gd name="connsiteY2" fmla="*/ 834859 h 834859"/>
                <a:gd name="connsiteX3" fmla="*/ 0 w 4257199"/>
                <a:gd name="connsiteY3" fmla="*/ 834859 h 834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257199" h="834859">
                  <a:moveTo>
                    <a:pt x="0" y="0"/>
                  </a:moveTo>
                  <a:lnTo>
                    <a:pt x="4257199" y="0"/>
                  </a:lnTo>
                  <a:lnTo>
                    <a:pt x="4257199" y="834859"/>
                  </a:lnTo>
                  <a:lnTo>
                    <a:pt x="0" y="834859"/>
                  </a:lnTo>
                  <a:close/>
                </a:path>
              </a:pathLst>
            </a:custGeom>
          </p:spPr>
        </p:pic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9AA6D8B4-3B24-4429-9F1E-1E8ED507D487}"/>
                </a:ext>
              </a:extLst>
            </p:cNvPr>
            <p:cNvSpPr/>
            <p:nvPr/>
          </p:nvSpPr>
          <p:spPr>
            <a:xfrm>
              <a:off x="7778997" y="4298828"/>
              <a:ext cx="1412627" cy="1563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t"/>
            <a:lstStyle/>
            <a:p>
              <a:pPr marL="216000" indent="-216000" algn="l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dirty="0" err="1">
                <a:solidFill>
                  <a:schemeClr val="bg1"/>
                </a:solidFill>
                <a:latin typeface="+mn-lt"/>
              </a:endParaRPr>
            </a:p>
          </p:txBody>
        </p:sp>
      </p:grpSp>
      <p:pic>
        <p:nvPicPr>
          <p:cNvPr id="51" name="Picture 50">
            <a:extLst>
              <a:ext uri="{FF2B5EF4-FFF2-40B4-BE49-F238E27FC236}">
                <a16:creationId xmlns:a16="http://schemas.microsoft.com/office/drawing/2014/main" id="{802629DD-4B02-4093-AA9B-5541E793741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42669" t="78499" r="12610" b="8146"/>
          <a:stretch/>
        </p:blipFill>
        <p:spPr>
          <a:xfrm>
            <a:off x="7889677" y="5259040"/>
            <a:ext cx="3320867" cy="509678"/>
          </a:xfrm>
          <a:custGeom>
            <a:avLst/>
            <a:gdLst>
              <a:gd name="connsiteX0" fmla="*/ 0 w 4257199"/>
              <a:gd name="connsiteY0" fmla="*/ 0 h 509678"/>
              <a:gd name="connsiteX1" fmla="*/ 4257199 w 4257199"/>
              <a:gd name="connsiteY1" fmla="*/ 0 h 509678"/>
              <a:gd name="connsiteX2" fmla="*/ 4257199 w 4257199"/>
              <a:gd name="connsiteY2" fmla="*/ 509678 h 509678"/>
              <a:gd name="connsiteX3" fmla="*/ 0 w 4257199"/>
              <a:gd name="connsiteY3" fmla="*/ 509678 h 509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7199" h="509678">
                <a:moveTo>
                  <a:pt x="0" y="0"/>
                </a:moveTo>
                <a:lnTo>
                  <a:pt x="4257199" y="0"/>
                </a:lnTo>
                <a:lnTo>
                  <a:pt x="4257199" y="509678"/>
                </a:lnTo>
                <a:lnTo>
                  <a:pt x="0" y="509678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751035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1E7645D-5182-4BF9-B725-F12AC02FD7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2604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1E7645D-5182-4BF9-B725-F12AC02FD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7E29E2-7E98-4C99-90AA-241235C586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Rapise</a:t>
            </a:r>
            <a:r>
              <a:rPr lang="de-DE" baseline="30000" dirty="0"/>
              <a:t>®</a:t>
            </a:r>
            <a:r>
              <a:rPr lang="de-DE" dirty="0"/>
              <a:t> – </a:t>
            </a:r>
            <a:r>
              <a:rPr lang="de-DE"/>
              <a:t>intelligente Testautomation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E7B4B5-E60E-4C7D-B88A-C353B4EED4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 dirty="0">
                <a:solidFill>
                  <a:schemeClr val="accent4"/>
                </a:solidFill>
              </a:rPr>
              <a:t>PTA – Vorstellung </a:t>
            </a:r>
            <a:r>
              <a:rPr lang="de-DE" noProof="0" dirty="0" err="1">
                <a:solidFill>
                  <a:schemeClr val="accent4"/>
                </a:solidFill>
              </a:rPr>
              <a:t>Inflectra</a:t>
            </a:r>
            <a:endParaRPr lang="de-DE" noProof="0" dirty="0">
              <a:solidFill>
                <a:schemeClr val="accent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98D16D-0D62-49D6-A2C6-8C230B76E9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F58692B-9CFC-42D8-9B64-0B547ADAD28E}" type="slidenum">
              <a:rPr lang="de-DE" noProof="0" smtClean="0"/>
              <a:pPr/>
              <a:t>13</a:t>
            </a:fld>
            <a:endParaRPr lang="de-DE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8316DF-9856-4AF6-9D33-406D66B007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0000" y="1664804"/>
            <a:ext cx="11232000" cy="1361860"/>
          </a:xfrm>
        </p:spPr>
        <p:txBody>
          <a:bodyPr/>
          <a:lstStyle/>
          <a:p>
            <a:r>
              <a:rPr lang="de-DE" dirty="0"/>
              <a:t>Testautomation und RPA für Web-, Mobile- und Desktop-Anwendungen sowie API</a:t>
            </a:r>
          </a:p>
          <a:p>
            <a:pPr lvl="2"/>
            <a:r>
              <a:rPr lang="de-DE" dirty="0"/>
              <a:t>Codelose Testautomation und RPA-Plattform unter Nutzung von KI-Erkenntnissen</a:t>
            </a:r>
          </a:p>
          <a:p>
            <a:pPr lvl="2"/>
            <a:r>
              <a:rPr lang="de-DE" dirty="0"/>
              <a:t>Unterstützt sowohl Web-, Mobile- und Desktop-Anwendungen als auch API</a:t>
            </a:r>
          </a:p>
          <a:p>
            <a:pPr lvl="2"/>
            <a:r>
              <a:rPr lang="de-DE" dirty="0"/>
              <a:t>Selbstheilende Funktionalität, welche die Kosten für die Wartung der Tests reduzier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AD80C2F-9EAD-42D0-92D0-AAFEF5F42EA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0000" y="3374594"/>
            <a:ext cx="5449644" cy="2808312"/>
          </a:xfrm>
          <a:prstGeom prst="rect">
            <a:avLst/>
          </a:prstGeom>
          <a:ln w="6350">
            <a:solidFill>
              <a:schemeClr val="accent5"/>
            </a:solidFill>
          </a:ln>
        </p:spPr>
      </p:pic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026514D-0134-44BE-9F3A-B83A664D7A19}"/>
              </a:ext>
            </a:extLst>
          </p:cNvPr>
          <p:cNvSpPr txBox="1">
            <a:spLocks/>
          </p:cNvSpPr>
          <p:nvPr/>
        </p:nvSpPr>
        <p:spPr bwMode="gray">
          <a:xfrm>
            <a:off x="6275388" y="3374594"/>
            <a:ext cx="5434219" cy="3287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pezielle Unterstützung von: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234775-F23C-4E8C-8FDE-0C96D7360DEC}"/>
              </a:ext>
            </a:extLst>
          </p:cNvPr>
          <p:cNvSpPr/>
          <p:nvPr/>
        </p:nvSpPr>
        <p:spPr>
          <a:xfrm>
            <a:off x="6275387" y="3765028"/>
            <a:ext cx="2686844" cy="1177189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B4B371C-03B6-4C07-B626-E43A248E4C53}"/>
              </a:ext>
            </a:extLst>
          </p:cNvPr>
          <p:cNvSpPr/>
          <p:nvPr/>
        </p:nvSpPr>
        <p:spPr>
          <a:xfrm>
            <a:off x="6275387" y="5005717"/>
            <a:ext cx="2686844" cy="1177189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E9EBE8B-CD07-4E6C-AFD8-22A392E263DE}"/>
              </a:ext>
            </a:extLst>
          </p:cNvPr>
          <p:cNvSpPr/>
          <p:nvPr/>
        </p:nvSpPr>
        <p:spPr>
          <a:xfrm>
            <a:off x="9025730" y="3765028"/>
            <a:ext cx="2686844" cy="1177189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C9B892D-E534-4831-85F2-9C6425D3550E}"/>
              </a:ext>
            </a:extLst>
          </p:cNvPr>
          <p:cNvSpPr/>
          <p:nvPr/>
        </p:nvSpPr>
        <p:spPr>
          <a:xfrm>
            <a:off x="9025730" y="5005717"/>
            <a:ext cx="2686844" cy="1177189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7" name="Picture 2" descr="Image result for sap logo">
            <a:extLst>
              <a:ext uri="{FF2B5EF4-FFF2-40B4-BE49-F238E27FC236}">
                <a16:creationId xmlns:a16="http://schemas.microsoft.com/office/drawing/2014/main" id="{1A4E0802-08E6-4D47-AE99-0393BCF708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729542" y="3901931"/>
            <a:ext cx="1778535" cy="90338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41DCC05D-8B38-4B9E-87DF-457407EC13C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9732" y="3908106"/>
            <a:ext cx="1418840" cy="89103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BA9FB32-4DF5-4C98-8F0F-2CBCC41B0BA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7298" y="5149816"/>
            <a:ext cx="2303022" cy="88899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2391443-B721-4182-A52E-C8616BAD74B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5895" y="5212784"/>
            <a:ext cx="2426514" cy="763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0743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8FE842A-5996-489F-AB00-19FA839CE35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1640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8FE842A-5996-489F-AB00-19FA839CE3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7E29E2-7E98-4C99-90AA-241235C586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Referenzkunde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E7B4B5-E60E-4C7D-B88A-C353B4EED4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 dirty="0">
                <a:solidFill>
                  <a:schemeClr val="accent4"/>
                </a:solidFill>
              </a:rPr>
              <a:t>PTA – Vorstellung </a:t>
            </a:r>
            <a:r>
              <a:rPr lang="de-DE" noProof="0" dirty="0" err="1">
                <a:solidFill>
                  <a:schemeClr val="accent4"/>
                </a:solidFill>
              </a:rPr>
              <a:t>Inflectra</a:t>
            </a:r>
            <a:endParaRPr lang="de-DE" noProof="0" dirty="0">
              <a:solidFill>
                <a:schemeClr val="accent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98D16D-0D62-49D6-A2C6-8C230B76E9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F58692B-9CFC-42D8-9B64-0B547ADAD28E}" type="slidenum">
              <a:rPr lang="de-DE" noProof="0" smtClean="0"/>
              <a:pPr/>
              <a:t>14</a:t>
            </a:fld>
            <a:endParaRPr lang="de-DE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8316DF-9856-4AF6-9D33-406D66B007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0000" y="1664804"/>
            <a:ext cx="11232000" cy="278296"/>
          </a:xfrm>
        </p:spPr>
        <p:txBody>
          <a:bodyPr/>
          <a:lstStyle/>
          <a:p>
            <a:r>
              <a:rPr lang="de-DE" dirty="0"/>
              <a:t>Deutsche Kunden von </a:t>
            </a:r>
            <a:r>
              <a:rPr lang="de-DE" dirty="0" err="1"/>
              <a:t>Inflectra</a:t>
            </a:r>
            <a:endParaRPr lang="de-DE" dirty="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D381DB5E-28F6-4253-8341-74BF0E266A1E}"/>
              </a:ext>
            </a:extLst>
          </p:cNvPr>
          <p:cNvSpPr txBox="1">
            <a:spLocks/>
          </p:cNvSpPr>
          <p:nvPr/>
        </p:nvSpPr>
        <p:spPr bwMode="gray">
          <a:xfrm>
            <a:off x="480000" y="6049107"/>
            <a:ext cx="11232000" cy="3240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Eine Übersicht aller Kunden siehe      </a:t>
            </a:r>
            <a:r>
              <a:rPr lang="de-DE" sz="1800" dirty="0">
                <a:hlinkClick r:id="rId6"/>
              </a:rPr>
              <a:t>https://www.inflectra.com/Company/Customers.aspx</a:t>
            </a:r>
            <a:endParaRPr lang="de-DE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EB55A95-2708-4F5F-92EA-3038FB6D1B9B}"/>
              </a:ext>
            </a:extLst>
          </p:cNvPr>
          <p:cNvSpPr/>
          <p:nvPr/>
        </p:nvSpPr>
        <p:spPr>
          <a:xfrm>
            <a:off x="479902" y="2085976"/>
            <a:ext cx="2712919" cy="8546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03CD988-B79E-4D29-90EB-AD17323BFE84}"/>
              </a:ext>
            </a:extLst>
          </p:cNvPr>
          <p:cNvSpPr/>
          <p:nvPr/>
        </p:nvSpPr>
        <p:spPr>
          <a:xfrm>
            <a:off x="479902" y="3067657"/>
            <a:ext cx="2712919" cy="8546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6D0F74E-5B1F-4FA1-89FA-7CB52A35EB6D}"/>
              </a:ext>
            </a:extLst>
          </p:cNvPr>
          <p:cNvSpPr/>
          <p:nvPr/>
        </p:nvSpPr>
        <p:spPr>
          <a:xfrm>
            <a:off x="479902" y="4049338"/>
            <a:ext cx="2712919" cy="8546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E15B71F-FD05-4446-9382-C1746E13913B}"/>
              </a:ext>
            </a:extLst>
          </p:cNvPr>
          <p:cNvSpPr/>
          <p:nvPr/>
        </p:nvSpPr>
        <p:spPr>
          <a:xfrm>
            <a:off x="479902" y="5031019"/>
            <a:ext cx="2712919" cy="8546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7DEB788-E7AF-4825-91F8-AF6C61C562AA}"/>
              </a:ext>
            </a:extLst>
          </p:cNvPr>
          <p:cNvSpPr/>
          <p:nvPr/>
        </p:nvSpPr>
        <p:spPr>
          <a:xfrm>
            <a:off x="3319820" y="2085976"/>
            <a:ext cx="2712919" cy="8546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B392013-D7B6-4083-839A-0F75BB52DEAD}"/>
              </a:ext>
            </a:extLst>
          </p:cNvPr>
          <p:cNvSpPr/>
          <p:nvPr/>
        </p:nvSpPr>
        <p:spPr>
          <a:xfrm>
            <a:off x="3319820" y="3067657"/>
            <a:ext cx="2712919" cy="8546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29C6C35-404C-4CB8-8A05-A83BA4F5C2A9}"/>
              </a:ext>
            </a:extLst>
          </p:cNvPr>
          <p:cNvSpPr/>
          <p:nvPr/>
        </p:nvSpPr>
        <p:spPr>
          <a:xfrm>
            <a:off x="3319820" y="4049338"/>
            <a:ext cx="2712919" cy="8546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CDC58F2-9744-42B9-AF03-D9EEE7673D2D}"/>
              </a:ext>
            </a:extLst>
          </p:cNvPr>
          <p:cNvSpPr/>
          <p:nvPr/>
        </p:nvSpPr>
        <p:spPr>
          <a:xfrm>
            <a:off x="3319820" y="5031019"/>
            <a:ext cx="2712919" cy="8546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C45CCF0-1B4B-4C8B-ADAD-57225739850C}"/>
              </a:ext>
            </a:extLst>
          </p:cNvPr>
          <p:cNvSpPr/>
          <p:nvPr/>
        </p:nvSpPr>
        <p:spPr>
          <a:xfrm>
            <a:off x="6159739" y="2085976"/>
            <a:ext cx="2712919" cy="8546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2AD1A01-4E4B-4F31-AD88-929F0166A176}"/>
              </a:ext>
            </a:extLst>
          </p:cNvPr>
          <p:cNvSpPr/>
          <p:nvPr/>
        </p:nvSpPr>
        <p:spPr>
          <a:xfrm>
            <a:off x="6159739" y="3067657"/>
            <a:ext cx="2712919" cy="8546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BB33D73-72E8-4EEB-9597-8D7741A24957}"/>
              </a:ext>
            </a:extLst>
          </p:cNvPr>
          <p:cNvSpPr/>
          <p:nvPr/>
        </p:nvSpPr>
        <p:spPr>
          <a:xfrm>
            <a:off x="6159739" y="4049338"/>
            <a:ext cx="2712919" cy="8546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0CE7923-3ABD-40FD-80BB-48EB6C2F7D3F}"/>
              </a:ext>
            </a:extLst>
          </p:cNvPr>
          <p:cNvSpPr/>
          <p:nvPr/>
        </p:nvSpPr>
        <p:spPr>
          <a:xfrm>
            <a:off x="6159739" y="5031019"/>
            <a:ext cx="2712919" cy="8546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723F8BE-3937-4237-9EB1-833C2C5B9516}"/>
              </a:ext>
            </a:extLst>
          </p:cNvPr>
          <p:cNvSpPr/>
          <p:nvPr/>
        </p:nvSpPr>
        <p:spPr>
          <a:xfrm>
            <a:off x="8999658" y="2085976"/>
            <a:ext cx="2712919" cy="8546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85E3D7C-D5DE-40E9-A18B-3B1306629204}"/>
              </a:ext>
            </a:extLst>
          </p:cNvPr>
          <p:cNvSpPr/>
          <p:nvPr/>
        </p:nvSpPr>
        <p:spPr>
          <a:xfrm>
            <a:off x="8999658" y="3067657"/>
            <a:ext cx="2712919" cy="8546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C05032F-DC6F-46CC-A2E2-9154F287BC6F}"/>
              </a:ext>
            </a:extLst>
          </p:cNvPr>
          <p:cNvSpPr/>
          <p:nvPr/>
        </p:nvSpPr>
        <p:spPr>
          <a:xfrm>
            <a:off x="8999658" y="4049338"/>
            <a:ext cx="2712919" cy="8546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246BE79-B43D-4DE5-824D-4D259AAA4A4C}"/>
              </a:ext>
            </a:extLst>
          </p:cNvPr>
          <p:cNvSpPr/>
          <p:nvPr/>
        </p:nvSpPr>
        <p:spPr>
          <a:xfrm>
            <a:off x="8999658" y="5031019"/>
            <a:ext cx="2712919" cy="854681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42" name="Grafik 42">
            <a:extLst>
              <a:ext uri="{FF2B5EF4-FFF2-40B4-BE49-F238E27FC236}">
                <a16:creationId xmlns:a16="http://schemas.microsoft.com/office/drawing/2014/main" id="{D9AB4CA5-6038-4276-83BD-E4360E3FF19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4992" t="25818" r="14655" b="13080"/>
          <a:stretch/>
        </p:blipFill>
        <p:spPr>
          <a:xfrm>
            <a:off x="980155" y="2180347"/>
            <a:ext cx="1712413" cy="665938"/>
          </a:xfrm>
          <a:prstGeom prst="rect">
            <a:avLst/>
          </a:prstGeom>
        </p:spPr>
      </p:pic>
      <p:pic>
        <p:nvPicPr>
          <p:cNvPr id="43" name="Grafik 43">
            <a:extLst>
              <a:ext uri="{FF2B5EF4-FFF2-40B4-BE49-F238E27FC236}">
                <a16:creationId xmlns:a16="http://schemas.microsoft.com/office/drawing/2014/main" id="{0BA4D44B-9769-4CCF-A599-09C84104DEE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44" b="16503"/>
          <a:stretch/>
        </p:blipFill>
        <p:spPr>
          <a:xfrm>
            <a:off x="4232767" y="2173795"/>
            <a:ext cx="887024" cy="679042"/>
          </a:xfrm>
          <a:prstGeom prst="rect">
            <a:avLst/>
          </a:prstGeom>
        </p:spPr>
      </p:pic>
      <p:pic>
        <p:nvPicPr>
          <p:cNvPr id="44" name="Grafik 44">
            <a:extLst>
              <a:ext uri="{FF2B5EF4-FFF2-40B4-BE49-F238E27FC236}">
                <a16:creationId xmlns:a16="http://schemas.microsoft.com/office/drawing/2014/main" id="{9AAC11EE-E007-49E8-8839-B259D84C666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8250" y="2276371"/>
            <a:ext cx="1935897" cy="473891"/>
          </a:xfrm>
          <a:prstGeom prst="rect">
            <a:avLst/>
          </a:prstGeom>
        </p:spPr>
      </p:pic>
      <p:pic>
        <p:nvPicPr>
          <p:cNvPr id="45" name="Grafik 31">
            <a:extLst>
              <a:ext uri="{FF2B5EF4-FFF2-40B4-BE49-F238E27FC236}">
                <a16:creationId xmlns:a16="http://schemas.microsoft.com/office/drawing/2014/main" id="{2043E330-1311-49EF-A1DF-2B9C71DC76B8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5391" t="21233" r="4557" b="21234"/>
          <a:stretch/>
        </p:blipFill>
        <p:spPr>
          <a:xfrm>
            <a:off x="9602890" y="2136702"/>
            <a:ext cx="1506454" cy="753228"/>
          </a:xfrm>
          <a:prstGeom prst="rect">
            <a:avLst/>
          </a:prstGeom>
        </p:spPr>
      </p:pic>
      <p:pic>
        <p:nvPicPr>
          <p:cNvPr id="46" name="Grafik 40">
            <a:extLst>
              <a:ext uri="{FF2B5EF4-FFF2-40B4-BE49-F238E27FC236}">
                <a16:creationId xmlns:a16="http://schemas.microsoft.com/office/drawing/2014/main" id="{06A7CD8C-4EE7-4DF5-BAF2-56D6E5E5127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46818" y="3228784"/>
            <a:ext cx="1779086" cy="532427"/>
          </a:xfrm>
          <a:prstGeom prst="rect">
            <a:avLst/>
          </a:prstGeom>
        </p:spPr>
      </p:pic>
      <p:pic>
        <p:nvPicPr>
          <p:cNvPr id="47" name="Grafik 38">
            <a:extLst>
              <a:ext uri="{FF2B5EF4-FFF2-40B4-BE49-F238E27FC236}">
                <a16:creationId xmlns:a16="http://schemas.microsoft.com/office/drawing/2014/main" id="{8E2890C3-08A7-4FF6-BF54-71CE813B5EA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61197" y="3304547"/>
            <a:ext cx="2030164" cy="380901"/>
          </a:xfrm>
          <a:prstGeom prst="rect">
            <a:avLst/>
          </a:prstGeom>
        </p:spPr>
      </p:pic>
      <p:pic>
        <p:nvPicPr>
          <p:cNvPr id="48" name="Grafik 33">
            <a:extLst>
              <a:ext uri="{FF2B5EF4-FFF2-40B4-BE49-F238E27FC236}">
                <a16:creationId xmlns:a16="http://schemas.microsoft.com/office/drawing/2014/main" id="{E0991290-1CF6-415B-88CE-2618998BB9A2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6362" y="3245298"/>
            <a:ext cx="1619672" cy="499399"/>
          </a:xfrm>
          <a:prstGeom prst="rect">
            <a:avLst/>
          </a:prstGeom>
        </p:spPr>
      </p:pic>
      <p:pic>
        <p:nvPicPr>
          <p:cNvPr id="49" name="Grafik 19">
            <a:extLst>
              <a:ext uri="{FF2B5EF4-FFF2-40B4-BE49-F238E27FC236}">
                <a16:creationId xmlns:a16="http://schemas.microsoft.com/office/drawing/2014/main" id="{9B52FC54-FED2-4A7F-B694-2C85137D0D5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1795" y="3176209"/>
            <a:ext cx="1048645" cy="637576"/>
          </a:xfrm>
          <a:prstGeom prst="rect">
            <a:avLst/>
          </a:prstGeom>
        </p:spPr>
      </p:pic>
      <p:pic>
        <p:nvPicPr>
          <p:cNvPr id="50" name="Grafik 34">
            <a:extLst>
              <a:ext uri="{FF2B5EF4-FFF2-40B4-BE49-F238E27FC236}">
                <a16:creationId xmlns:a16="http://schemas.microsoft.com/office/drawing/2014/main" id="{E70D4D97-0BDA-4F88-96A5-E8E02CF76E7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68289" y="4250338"/>
            <a:ext cx="1536145" cy="452681"/>
          </a:xfrm>
          <a:prstGeom prst="rect">
            <a:avLst/>
          </a:prstGeom>
        </p:spPr>
      </p:pic>
      <p:pic>
        <p:nvPicPr>
          <p:cNvPr id="51" name="Grafik 41">
            <a:extLst>
              <a:ext uri="{FF2B5EF4-FFF2-40B4-BE49-F238E27FC236}">
                <a16:creationId xmlns:a16="http://schemas.microsoft.com/office/drawing/2014/main" id="{B47E5216-9F47-472E-9F09-9213AA30AFB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2336" y="4163624"/>
            <a:ext cx="1747886" cy="626108"/>
          </a:xfrm>
          <a:prstGeom prst="rect">
            <a:avLst/>
          </a:prstGeom>
        </p:spPr>
      </p:pic>
      <p:pic>
        <p:nvPicPr>
          <p:cNvPr id="52" name="Grafik 35">
            <a:extLst>
              <a:ext uri="{FF2B5EF4-FFF2-40B4-BE49-F238E27FC236}">
                <a16:creationId xmlns:a16="http://schemas.microsoft.com/office/drawing/2014/main" id="{E00D2DF4-811F-49EF-A0DE-258BE1C6DE5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454446" y="4225635"/>
            <a:ext cx="2123504" cy="502087"/>
          </a:xfrm>
          <a:prstGeom prst="rect">
            <a:avLst/>
          </a:prstGeom>
        </p:spPr>
      </p:pic>
      <p:pic>
        <p:nvPicPr>
          <p:cNvPr id="53" name="Grafik 37">
            <a:extLst>
              <a:ext uri="{FF2B5EF4-FFF2-40B4-BE49-F238E27FC236}">
                <a16:creationId xmlns:a16="http://schemas.microsoft.com/office/drawing/2014/main" id="{751C4FD1-2828-40FC-AB25-174699A8B681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8760" y="4129321"/>
            <a:ext cx="694715" cy="694715"/>
          </a:xfrm>
          <a:prstGeom prst="rect">
            <a:avLst/>
          </a:prstGeom>
        </p:spPr>
      </p:pic>
      <p:pic>
        <p:nvPicPr>
          <p:cNvPr id="54" name="Grafik 20">
            <a:extLst>
              <a:ext uri="{FF2B5EF4-FFF2-40B4-BE49-F238E27FC236}">
                <a16:creationId xmlns:a16="http://schemas.microsoft.com/office/drawing/2014/main" id="{1ACBCC9C-9BC9-4C4E-BB7F-55E5E971CE8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92460" y="5086599"/>
            <a:ext cx="1887803" cy="743520"/>
          </a:xfrm>
          <a:prstGeom prst="rect">
            <a:avLst/>
          </a:prstGeom>
        </p:spPr>
      </p:pic>
      <p:pic>
        <p:nvPicPr>
          <p:cNvPr id="55" name="Grafik 36">
            <a:extLst>
              <a:ext uri="{FF2B5EF4-FFF2-40B4-BE49-F238E27FC236}">
                <a16:creationId xmlns:a16="http://schemas.microsoft.com/office/drawing/2014/main" id="{B0FBEBA2-B78D-4F7D-A162-281CFA280602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928039" y="5153520"/>
            <a:ext cx="1496481" cy="609678"/>
          </a:xfrm>
          <a:prstGeom prst="rect">
            <a:avLst/>
          </a:prstGeom>
        </p:spPr>
      </p:pic>
      <p:pic>
        <p:nvPicPr>
          <p:cNvPr id="56" name="Grafik 39">
            <a:extLst>
              <a:ext uri="{FF2B5EF4-FFF2-40B4-BE49-F238E27FC236}">
                <a16:creationId xmlns:a16="http://schemas.microsoft.com/office/drawing/2014/main" id="{5A0A1D2D-A341-42E5-A250-67EC15043497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824199" y="5097897"/>
            <a:ext cx="1383998" cy="720925"/>
          </a:xfrm>
          <a:prstGeom prst="rect">
            <a:avLst/>
          </a:prstGeom>
        </p:spPr>
      </p:pic>
      <p:pic>
        <p:nvPicPr>
          <p:cNvPr id="57" name="Grafik 22">
            <a:extLst>
              <a:ext uri="{FF2B5EF4-FFF2-40B4-BE49-F238E27FC236}">
                <a16:creationId xmlns:a16="http://schemas.microsoft.com/office/drawing/2014/main" id="{9F1C8903-FCDF-4FAD-A135-09AA9B05748E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t="13842" b="13842"/>
          <a:stretch/>
        </p:blipFill>
        <p:spPr>
          <a:xfrm>
            <a:off x="9461722" y="5160833"/>
            <a:ext cx="1788790" cy="595052"/>
          </a:xfrm>
          <a:prstGeom prst="rect">
            <a:avLst/>
          </a:prstGeom>
        </p:spPr>
      </p:pic>
      <p:sp>
        <p:nvSpPr>
          <p:cNvPr id="59" name="Graphic 541">
            <a:extLst>
              <a:ext uri="{FF2B5EF4-FFF2-40B4-BE49-F238E27FC236}">
                <a16:creationId xmlns:a16="http://schemas.microsoft.com/office/drawing/2014/main" id="{2C4F49D4-7B06-4C57-AB84-0A9626716871}"/>
              </a:ext>
            </a:extLst>
          </p:cNvPr>
          <p:cNvSpPr>
            <a:spLocks noChangeAspect="1"/>
          </p:cNvSpPr>
          <p:nvPr/>
        </p:nvSpPr>
        <p:spPr>
          <a:xfrm>
            <a:off x="3727127" y="6075285"/>
            <a:ext cx="233999" cy="234000"/>
          </a:xfrm>
          <a:custGeom>
            <a:avLst/>
            <a:gdLst>
              <a:gd name="connsiteX0" fmla="*/ 2868441 w 4876811"/>
              <a:gd name="connsiteY0" fmla="*/ 3759552 h 4876821"/>
              <a:gd name="connsiteX1" fmla="*/ 2114061 w 4876811"/>
              <a:gd name="connsiteY1" fmla="*/ 4513837 h 4876821"/>
              <a:gd name="connsiteX2" fmla="*/ 362985 w 4876811"/>
              <a:gd name="connsiteY2" fmla="*/ 4513837 h 4876821"/>
              <a:gd name="connsiteX3" fmla="*/ 362985 w 4876811"/>
              <a:gd name="connsiteY3" fmla="*/ 2762761 h 4876821"/>
              <a:gd name="connsiteX4" fmla="*/ 1117269 w 4876811"/>
              <a:gd name="connsiteY4" fmla="*/ 2008381 h 4876821"/>
              <a:gd name="connsiteX5" fmla="*/ 1150912 w 4876811"/>
              <a:gd name="connsiteY5" fmla="*/ 1975967 h 4876821"/>
              <a:gd name="connsiteX6" fmla="*/ 1343393 w 4876811"/>
              <a:gd name="connsiteY6" fmla="*/ 2054891 h 4876821"/>
              <a:gd name="connsiteX7" fmla="*/ 1354975 w 4876811"/>
              <a:gd name="connsiteY7" fmla="*/ 2191899 h 4876821"/>
              <a:gd name="connsiteX8" fmla="*/ 1322619 w 4876811"/>
              <a:gd name="connsiteY8" fmla="*/ 2288063 h 4876821"/>
              <a:gd name="connsiteX9" fmla="*/ 605386 w 4876811"/>
              <a:gd name="connsiteY9" fmla="*/ 3005163 h 4876821"/>
              <a:gd name="connsiteX10" fmla="*/ 605386 w 4876811"/>
              <a:gd name="connsiteY10" fmla="*/ 4271416 h 4876821"/>
              <a:gd name="connsiteX11" fmla="*/ 1871640 w 4876811"/>
              <a:gd name="connsiteY11" fmla="*/ 4271416 h 4876821"/>
              <a:gd name="connsiteX12" fmla="*/ 2626020 w 4876811"/>
              <a:gd name="connsiteY12" fmla="*/ 3517036 h 4876821"/>
              <a:gd name="connsiteX13" fmla="*/ 2629449 w 4876811"/>
              <a:gd name="connsiteY13" fmla="*/ 3513607 h 4876821"/>
              <a:gd name="connsiteX14" fmla="*/ 2625925 w 4876811"/>
              <a:gd name="connsiteY14" fmla="*/ 2250783 h 4876821"/>
              <a:gd name="connsiteX15" fmla="*/ 2363178 w 4876811"/>
              <a:gd name="connsiteY15" fmla="*/ 2068769 h 4876821"/>
              <a:gd name="connsiteX16" fmla="*/ 2295226 w 4876811"/>
              <a:gd name="connsiteY16" fmla="*/ 1957613 h 4876821"/>
              <a:gd name="connsiteX17" fmla="*/ 2322144 w 4876811"/>
              <a:gd name="connsiteY17" fmla="*/ 1812271 h 4876821"/>
              <a:gd name="connsiteX18" fmla="*/ 2473773 w 4876811"/>
              <a:gd name="connsiteY18" fmla="*/ 1742929 h 4876821"/>
              <a:gd name="connsiteX19" fmla="*/ 2868441 w 4876811"/>
              <a:gd name="connsiteY19" fmla="*/ 2008371 h 4876821"/>
              <a:gd name="connsiteX20" fmla="*/ 2868441 w 4876811"/>
              <a:gd name="connsiteY20" fmla="*/ 3759552 h 4876821"/>
              <a:gd name="connsiteX21" fmla="*/ 2008371 w 4876811"/>
              <a:gd name="connsiteY21" fmla="*/ 2868450 h 4876821"/>
              <a:gd name="connsiteX22" fmla="*/ 2403040 w 4876811"/>
              <a:gd name="connsiteY22" fmla="*/ 3133893 h 4876821"/>
              <a:gd name="connsiteX23" fmla="*/ 2554668 w 4876811"/>
              <a:gd name="connsiteY23" fmla="*/ 3064551 h 4876821"/>
              <a:gd name="connsiteX24" fmla="*/ 2581586 w 4876811"/>
              <a:gd name="connsiteY24" fmla="*/ 2919209 h 4876821"/>
              <a:gd name="connsiteX25" fmla="*/ 2513635 w 4876811"/>
              <a:gd name="connsiteY25" fmla="*/ 2808052 h 4876821"/>
              <a:gd name="connsiteX26" fmla="*/ 2250887 w 4876811"/>
              <a:gd name="connsiteY26" fmla="*/ 2626039 h 4876821"/>
              <a:gd name="connsiteX27" fmla="*/ 2247363 w 4876811"/>
              <a:gd name="connsiteY27" fmla="*/ 1363214 h 4876821"/>
              <a:gd name="connsiteX28" fmla="*/ 2250792 w 4876811"/>
              <a:gd name="connsiteY28" fmla="*/ 1359785 h 4876821"/>
              <a:gd name="connsiteX29" fmla="*/ 3005172 w 4876811"/>
              <a:gd name="connsiteY29" fmla="*/ 605405 h 4876821"/>
              <a:gd name="connsiteX30" fmla="*/ 4271426 w 4876811"/>
              <a:gd name="connsiteY30" fmla="*/ 605405 h 4876821"/>
              <a:gd name="connsiteX31" fmla="*/ 4271426 w 4876811"/>
              <a:gd name="connsiteY31" fmla="*/ 1871659 h 4876821"/>
              <a:gd name="connsiteX32" fmla="*/ 3554193 w 4876811"/>
              <a:gd name="connsiteY32" fmla="*/ 2588758 h 4876821"/>
              <a:gd name="connsiteX33" fmla="*/ 3521837 w 4876811"/>
              <a:gd name="connsiteY33" fmla="*/ 2684923 h 4876821"/>
              <a:gd name="connsiteX34" fmla="*/ 3533419 w 4876811"/>
              <a:gd name="connsiteY34" fmla="*/ 2821930 h 4876821"/>
              <a:gd name="connsiteX35" fmla="*/ 3725900 w 4876811"/>
              <a:gd name="connsiteY35" fmla="*/ 2900854 h 4876821"/>
              <a:gd name="connsiteX36" fmla="*/ 3759543 w 4876811"/>
              <a:gd name="connsiteY36" fmla="*/ 2868441 h 4876821"/>
              <a:gd name="connsiteX37" fmla="*/ 4513827 w 4876811"/>
              <a:gd name="connsiteY37" fmla="*/ 2114061 h 4876821"/>
              <a:gd name="connsiteX38" fmla="*/ 4513827 w 4876811"/>
              <a:gd name="connsiteY38" fmla="*/ 362985 h 4876821"/>
              <a:gd name="connsiteX39" fmla="*/ 2762751 w 4876811"/>
              <a:gd name="connsiteY39" fmla="*/ 362985 h 4876821"/>
              <a:gd name="connsiteX40" fmla="*/ 2008371 w 4876811"/>
              <a:gd name="connsiteY40" fmla="*/ 1117269 h 4876821"/>
              <a:gd name="connsiteX41" fmla="*/ 2008371 w 4876811"/>
              <a:gd name="connsiteY41" fmla="*/ 2868450 h 4876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4876811" h="4876821">
                <a:moveTo>
                  <a:pt x="2868441" y="3759552"/>
                </a:moveTo>
                <a:lnTo>
                  <a:pt x="2114061" y="4513837"/>
                </a:lnTo>
                <a:cubicBezTo>
                  <a:pt x="1630400" y="4997697"/>
                  <a:pt x="846883" y="4997936"/>
                  <a:pt x="362985" y="4513837"/>
                </a:cubicBezTo>
                <a:cubicBezTo>
                  <a:pt x="-120876" y="4030177"/>
                  <a:pt x="-121114" y="3246660"/>
                  <a:pt x="362985" y="2762761"/>
                </a:cubicBezTo>
                <a:lnTo>
                  <a:pt x="1117269" y="2008381"/>
                </a:lnTo>
                <a:cubicBezTo>
                  <a:pt x="1128283" y="1997370"/>
                  <a:pt x="1139499" y="1986564"/>
                  <a:pt x="1150912" y="1975967"/>
                </a:cubicBezTo>
                <a:cubicBezTo>
                  <a:pt x="1222826" y="1909245"/>
                  <a:pt x="1339459" y="1956879"/>
                  <a:pt x="1343393" y="2054891"/>
                </a:cubicBezTo>
                <a:cubicBezTo>
                  <a:pt x="1345231" y="2100678"/>
                  <a:pt x="1349089" y="2146398"/>
                  <a:pt x="1354975" y="2191899"/>
                </a:cubicBezTo>
                <a:cubicBezTo>
                  <a:pt x="1359557" y="2227303"/>
                  <a:pt x="1347870" y="2262832"/>
                  <a:pt x="1322619" y="2288063"/>
                </a:cubicBezTo>
                <a:cubicBezTo>
                  <a:pt x="1165647" y="2444931"/>
                  <a:pt x="606891" y="3003658"/>
                  <a:pt x="605386" y="3005163"/>
                </a:cubicBezTo>
                <a:cubicBezTo>
                  <a:pt x="255457" y="3355292"/>
                  <a:pt x="255524" y="3921353"/>
                  <a:pt x="605386" y="4271416"/>
                </a:cubicBezTo>
                <a:cubicBezTo>
                  <a:pt x="955516" y="4621346"/>
                  <a:pt x="1521577" y="4621279"/>
                  <a:pt x="1871640" y="4271416"/>
                </a:cubicBezTo>
                <a:lnTo>
                  <a:pt x="2626020" y="3517036"/>
                </a:lnTo>
                <a:lnTo>
                  <a:pt x="2629449" y="3513607"/>
                </a:lnTo>
                <a:cubicBezTo>
                  <a:pt x="2975216" y="3164306"/>
                  <a:pt x="2973682" y="2598540"/>
                  <a:pt x="2625925" y="2250783"/>
                </a:cubicBezTo>
                <a:cubicBezTo>
                  <a:pt x="2547686" y="2172544"/>
                  <a:pt x="2458504" y="2111908"/>
                  <a:pt x="2363178" y="2068769"/>
                </a:cubicBezTo>
                <a:cubicBezTo>
                  <a:pt x="2319686" y="2049091"/>
                  <a:pt x="2292445" y="2005266"/>
                  <a:pt x="2295226" y="1957613"/>
                </a:cubicBezTo>
                <a:cubicBezTo>
                  <a:pt x="2298096" y="1908231"/>
                  <a:pt x="2307139" y="1859404"/>
                  <a:pt x="2322144" y="1812271"/>
                </a:cubicBezTo>
                <a:cubicBezTo>
                  <a:pt x="2342175" y="1749396"/>
                  <a:pt x="2412927" y="1717392"/>
                  <a:pt x="2473773" y="1742929"/>
                </a:cubicBezTo>
                <a:cubicBezTo>
                  <a:pt x="2617343" y="1803165"/>
                  <a:pt x="2751779" y="1891709"/>
                  <a:pt x="2868441" y="2008371"/>
                </a:cubicBezTo>
                <a:cubicBezTo>
                  <a:pt x="3351244" y="2491184"/>
                  <a:pt x="3351158" y="3276816"/>
                  <a:pt x="2868441" y="3759552"/>
                </a:cubicBezTo>
                <a:close/>
                <a:moveTo>
                  <a:pt x="2008371" y="2868450"/>
                </a:moveTo>
                <a:cubicBezTo>
                  <a:pt x="2125034" y="2985112"/>
                  <a:pt x="2259469" y="3073657"/>
                  <a:pt x="2403040" y="3133893"/>
                </a:cubicBezTo>
                <a:cubicBezTo>
                  <a:pt x="2463885" y="3159420"/>
                  <a:pt x="2534637" y="3127416"/>
                  <a:pt x="2554668" y="3064551"/>
                </a:cubicBezTo>
                <a:cubicBezTo>
                  <a:pt x="2569673" y="3017417"/>
                  <a:pt x="2578716" y="2968590"/>
                  <a:pt x="2581586" y="2919209"/>
                </a:cubicBezTo>
                <a:cubicBezTo>
                  <a:pt x="2584367" y="2871555"/>
                  <a:pt x="2557116" y="2827731"/>
                  <a:pt x="2513635" y="2808052"/>
                </a:cubicBezTo>
                <a:cubicBezTo>
                  <a:pt x="2418308" y="2764923"/>
                  <a:pt x="2329126" y="2704287"/>
                  <a:pt x="2250887" y="2626039"/>
                </a:cubicBezTo>
                <a:cubicBezTo>
                  <a:pt x="1903130" y="2278281"/>
                  <a:pt x="1901596" y="1712515"/>
                  <a:pt x="2247363" y="1363214"/>
                </a:cubicBezTo>
                <a:lnTo>
                  <a:pt x="2250792" y="1359785"/>
                </a:lnTo>
                <a:lnTo>
                  <a:pt x="3005172" y="605405"/>
                </a:lnTo>
                <a:cubicBezTo>
                  <a:pt x="3355235" y="255543"/>
                  <a:pt x="3921296" y="255476"/>
                  <a:pt x="4271426" y="605405"/>
                </a:cubicBezTo>
                <a:cubicBezTo>
                  <a:pt x="4621289" y="955468"/>
                  <a:pt x="4621355" y="1521530"/>
                  <a:pt x="4271426" y="1871659"/>
                </a:cubicBezTo>
                <a:cubicBezTo>
                  <a:pt x="4269930" y="1873154"/>
                  <a:pt x="3711175" y="2431891"/>
                  <a:pt x="3554193" y="2588758"/>
                </a:cubicBezTo>
                <a:cubicBezTo>
                  <a:pt x="3528942" y="2613999"/>
                  <a:pt x="3517255" y="2649518"/>
                  <a:pt x="3521837" y="2684923"/>
                </a:cubicBezTo>
                <a:cubicBezTo>
                  <a:pt x="3527717" y="2730399"/>
                  <a:pt x="3531582" y="2776112"/>
                  <a:pt x="3533419" y="2821930"/>
                </a:cubicBezTo>
                <a:cubicBezTo>
                  <a:pt x="3537353" y="2919952"/>
                  <a:pt x="3653996" y="2967577"/>
                  <a:pt x="3725900" y="2900854"/>
                </a:cubicBezTo>
                <a:cubicBezTo>
                  <a:pt x="3737315" y="2890260"/>
                  <a:pt x="3748531" y="2879454"/>
                  <a:pt x="3759543" y="2868441"/>
                </a:cubicBezTo>
                <a:lnTo>
                  <a:pt x="4513827" y="2114061"/>
                </a:lnTo>
                <a:cubicBezTo>
                  <a:pt x="4997926" y="1630162"/>
                  <a:pt x="4997688" y="846645"/>
                  <a:pt x="4513827" y="362985"/>
                </a:cubicBezTo>
                <a:cubicBezTo>
                  <a:pt x="4029938" y="-121114"/>
                  <a:pt x="3246412" y="-120876"/>
                  <a:pt x="2762751" y="362985"/>
                </a:cubicBezTo>
                <a:lnTo>
                  <a:pt x="2008371" y="1117269"/>
                </a:lnTo>
                <a:cubicBezTo>
                  <a:pt x="1525654" y="1600016"/>
                  <a:pt x="1525568" y="2385647"/>
                  <a:pt x="2008371" y="286845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83802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B5A45386-3C6E-4A6B-ABB3-27DE9DF3E2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7793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B5A45386-3C6E-4A6B-ABB3-27DE9DF3E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621DA415-35A2-4A56-B44C-65F784A7B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Portfolio der PTA</a:t>
            </a:r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1E784E0-206A-4531-8BB2-DBD698362E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0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36689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CFE0650-41CF-43F3-B166-C0159CB87C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191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CFE0650-41CF-43F3-B166-C0159CB87C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7E29E2-7E98-4C99-90AA-241235C586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Unternehmensprofil </a:t>
            </a:r>
            <a:r>
              <a:rPr lang="de-DE"/>
              <a:t>PTA GmbH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E7B4B5-E60E-4C7D-B88A-C353B4EED4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 dirty="0">
                <a:solidFill>
                  <a:schemeClr val="accent4"/>
                </a:solidFill>
              </a:rPr>
              <a:t>PTA – Vorstellung </a:t>
            </a:r>
            <a:r>
              <a:rPr lang="de-DE" noProof="0" dirty="0" err="1">
                <a:solidFill>
                  <a:schemeClr val="accent4"/>
                </a:solidFill>
              </a:rPr>
              <a:t>Inflectra</a:t>
            </a:r>
            <a:endParaRPr lang="de-DE" noProof="0" dirty="0">
              <a:solidFill>
                <a:schemeClr val="accent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98D16D-0D62-49D6-A2C6-8C230B76E9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F58692B-9CFC-42D8-9B64-0B547ADAD28E}" type="slidenum">
              <a:rPr lang="de-DE" noProof="0" smtClean="0"/>
              <a:pPr/>
              <a:t>16</a:t>
            </a:fld>
            <a:endParaRPr lang="de-DE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8316DF-9856-4AF6-9D33-406D66B007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0000" y="1664804"/>
            <a:ext cx="11232000" cy="316396"/>
          </a:xfrm>
        </p:spPr>
        <p:txBody>
          <a:bodyPr/>
          <a:lstStyle/>
          <a:p>
            <a:r>
              <a:rPr lang="de-DE"/>
              <a:t>Unser Markt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DB6101B-A577-4DEF-BE88-E8FB16D1B289}"/>
              </a:ext>
            </a:extLst>
          </p:cNvPr>
          <p:cNvSpPr txBox="1">
            <a:spLocks/>
          </p:cNvSpPr>
          <p:nvPr/>
        </p:nvSpPr>
        <p:spPr bwMode="gray">
          <a:xfrm>
            <a:off x="480000" y="2049246"/>
            <a:ext cx="6321580" cy="433250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600" dirty="0"/>
              <a:t>Die PTA GmbH Unternehmensberatung betreut </a:t>
            </a:r>
            <a:r>
              <a:rPr lang="de-DE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seit 1969</a:t>
            </a:r>
            <a:r>
              <a:rPr lang="de-DE" sz="1600" dirty="0"/>
              <a:t> Kunden </a:t>
            </a:r>
            <a:br>
              <a:rPr lang="de-DE" sz="1600" dirty="0"/>
            </a:br>
            <a:r>
              <a:rPr lang="de-DE" sz="1600" dirty="0"/>
              <a:t>in </a:t>
            </a:r>
            <a:r>
              <a:rPr lang="de-DE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Organisations- und Informationstechnologie-Projekten</a:t>
            </a:r>
            <a:r>
              <a:rPr lang="de-DE" sz="1600" dirty="0"/>
              <a:t>. </a:t>
            </a:r>
          </a:p>
          <a:p>
            <a:pPr lvl="1"/>
            <a:r>
              <a:rPr lang="de-DE" sz="1600" dirty="0"/>
              <a:t>Von der Projektidee über die Konzeption und Entwicklung bis zur Einführung und Betreuung stehen wir Ihnen mit ca. </a:t>
            </a:r>
            <a:r>
              <a:rPr lang="de-DE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400 Mitarbeitern</a:t>
            </a:r>
            <a:r>
              <a:rPr lang="de-DE" sz="1600" dirty="0"/>
              <a:t> </a:t>
            </a:r>
            <a:br>
              <a:rPr lang="de-DE" sz="1600" dirty="0"/>
            </a:br>
            <a:r>
              <a:rPr lang="de-DE" sz="1600" dirty="0"/>
              <a:t>in der PTA-Gruppe als kompetenter Partner zur Seite. </a:t>
            </a:r>
          </a:p>
          <a:p>
            <a:pPr lvl="1"/>
            <a:r>
              <a:rPr lang="de-DE" sz="1600" dirty="0"/>
              <a:t>Wir unterstützen unsere Kunden aus verschiedenen Branchen an </a:t>
            </a:r>
            <a:br>
              <a:rPr lang="de-DE" sz="1600" dirty="0"/>
            </a:br>
            <a:r>
              <a:rPr lang="de-DE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12 Standorten in Deutschland und der Schweiz</a:t>
            </a:r>
            <a:r>
              <a:rPr lang="de-DE" sz="1600" dirty="0"/>
              <a:t> vor Ort und gewährleisten so eine zuverlässige, reaktionsschnelle und kostengünstige Leistung.</a:t>
            </a:r>
          </a:p>
          <a:p>
            <a:pPr lvl="1"/>
            <a:r>
              <a:rPr lang="de-DE" sz="1600" dirty="0"/>
              <a:t>Zu unseren langjährigen Kunden zählen große Unternehmen und internationale Konzerne, wobei auch Rollout-Projekte in die Landesgesellschaften von unseren Mitarbeitern betreut werden. </a:t>
            </a:r>
          </a:p>
          <a:p>
            <a:pPr lvl="1"/>
            <a:r>
              <a:rPr lang="de-DE" sz="1600" dirty="0"/>
              <a:t>Die PTA verfolgt konsequent das Ziel, ihre Kunden auf dem </a:t>
            </a:r>
            <a:r>
              <a:rPr lang="de-DE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Weg in die Digitalisierung</a:t>
            </a:r>
            <a:r>
              <a:rPr lang="de-DE" sz="1600" dirty="0"/>
              <a:t> zu begleiten. Ausgehend vom umfassenden Ansatz einer Digitalen Business Plattform (DBP+) werden pragmatische Lösungen erarbeitet, die immer den größtmöglichen Kundenerfolg im Fokus haben.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E3A1F09-4079-460C-AE12-E58A9FA90591}"/>
              </a:ext>
            </a:extLst>
          </p:cNvPr>
          <p:cNvGrpSpPr/>
          <p:nvPr/>
        </p:nvGrpSpPr>
        <p:grpSpPr>
          <a:xfrm>
            <a:off x="8100079" y="1664804"/>
            <a:ext cx="2887942" cy="4709445"/>
            <a:chOff x="10748029" y="2092151"/>
            <a:chExt cx="2887942" cy="4709445"/>
          </a:xfrm>
        </p:grpSpPr>
        <p:grpSp>
          <p:nvGrpSpPr>
            <p:cNvPr id="12" name="Gruppieren 2">
              <a:extLst>
                <a:ext uri="{FF2B5EF4-FFF2-40B4-BE49-F238E27FC236}">
                  <a16:creationId xmlns:a16="http://schemas.microsoft.com/office/drawing/2014/main" id="{6B7F5D83-85D8-4074-8801-A95FA45BE2AE}"/>
                </a:ext>
              </a:extLst>
            </p:cNvPr>
            <p:cNvGrpSpPr/>
            <p:nvPr/>
          </p:nvGrpSpPr>
          <p:grpSpPr>
            <a:xfrm>
              <a:off x="10748029" y="2092151"/>
              <a:ext cx="2887942" cy="3967415"/>
              <a:chOff x="214282" y="1635125"/>
              <a:chExt cx="2616201" cy="3594101"/>
            </a:xfrm>
            <a:solidFill>
              <a:schemeClr val="accent6"/>
            </a:solidFill>
          </p:grpSpPr>
          <p:grpSp>
            <p:nvGrpSpPr>
              <p:cNvPr id="13" name="Gruppieren 370">
                <a:extLst>
                  <a:ext uri="{FF2B5EF4-FFF2-40B4-BE49-F238E27FC236}">
                    <a16:creationId xmlns:a16="http://schemas.microsoft.com/office/drawing/2014/main" id="{2D7550A1-303D-493D-B875-C362E81EACFE}"/>
                  </a:ext>
                </a:extLst>
              </p:cNvPr>
              <p:cNvGrpSpPr/>
              <p:nvPr/>
            </p:nvGrpSpPr>
            <p:grpSpPr>
              <a:xfrm>
                <a:off x="239103" y="3527427"/>
                <a:ext cx="695112" cy="927894"/>
                <a:chOff x="-64216" y="4151991"/>
                <a:chExt cx="761692" cy="1016771"/>
              </a:xfrm>
              <a:grpFill/>
            </p:grpSpPr>
            <p:sp>
              <p:nvSpPr>
                <p:cNvPr id="61" name="Rheinlandpfalz">
                  <a:extLst>
                    <a:ext uri="{FF2B5EF4-FFF2-40B4-BE49-F238E27FC236}">
                      <a16:creationId xmlns:a16="http://schemas.microsoft.com/office/drawing/2014/main" id="{62C164A6-6EF4-4D00-8521-917C03770D3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-64216" y="4151991"/>
                  <a:ext cx="761692" cy="1016771"/>
                </a:xfrm>
                <a:custGeom>
                  <a:avLst/>
                  <a:gdLst>
                    <a:gd name="connsiteX0" fmla="*/ 293920 w 761692"/>
                    <a:gd name="connsiteY0" fmla="*/ 899918 h 1016771"/>
                    <a:gd name="connsiteX1" fmla="*/ 307483 w 761692"/>
                    <a:gd name="connsiteY1" fmla="*/ 901613 h 1016771"/>
                    <a:gd name="connsiteX2" fmla="*/ 311729 w 761692"/>
                    <a:gd name="connsiteY2" fmla="*/ 903178 h 1016771"/>
                    <a:gd name="connsiteX3" fmla="*/ 299363 w 761692"/>
                    <a:gd name="connsiteY3" fmla="*/ 901632 h 1016771"/>
                    <a:gd name="connsiteX4" fmla="*/ 288734 w 761692"/>
                    <a:gd name="connsiteY4" fmla="*/ 903403 h 1016771"/>
                    <a:gd name="connsiteX5" fmla="*/ 286963 w 761692"/>
                    <a:gd name="connsiteY5" fmla="*/ 910489 h 1016771"/>
                    <a:gd name="connsiteX6" fmla="*/ 283420 w 761692"/>
                    <a:gd name="connsiteY6" fmla="*/ 915803 h 1016771"/>
                    <a:gd name="connsiteX7" fmla="*/ 271021 w 761692"/>
                    <a:gd name="connsiteY7" fmla="*/ 912260 h 1016771"/>
                    <a:gd name="connsiteX8" fmla="*/ 270666 w 761692"/>
                    <a:gd name="connsiteY8" fmla="*/ 911196 h 1016771"/>
                    <a:gd name="connsiteX9" fmla="*/ 278662 w 761692"/>
                    <a:gd name="connsiteY9" fmla="*/ 913481 h 1016771"/>
                    <a:gd name="connsiteX10" fmla="*/ 282053 w 761692"/>
                    <a:gd name="connsiteY10" fmla="*/ 908395 h 1016771"/>
                    <a:gd name="connsiteX11" fmla="*/ 283748 w 761692"/>
                    <a:gd name="connsiteY11" fmla="*/ 901613 h 1016771"/>
                    <a:gd name="connsiteX12" fmla="*/ 293920 w 761692"/>
                    <a:gd name="connsiteY12" fmla="*/ 899918 h 1016771"/>
                    <a:gd name="connsiteX13" fmla="*/ 222919 w 761692"/>
                    <a:gd name="connsiteY13" fmla="*/ 879608 h 1016771"/>
                    <a:gd name="connsiteX14" fmla="*/ 243060 w 761692"/>
                    <a:gd name="connsiteY14" fmla="*/ 882965 h 1016771"/>
                    <a:gd name="connsiteX15" fmla="*/ 243990 w 761692"/>
                    <a:gd name="connsiteY15" fmla="*/ 883546 h 1016771"/>
                    <a:gd name="connsiteX16" fmla="*/ 224965 w 761692"/>
                    <a:gd name="connsiteY16" fmla="*/ 880375 h 1016771"/>
                    <a:gd name="connsiteX17" fmla="*/ 222919 w 761692"/>
                    <a:gd name="connsiteY17" fmla="*/ 879608 h 1016771"/>
                    <a:gd name="connsiteX18" fmla="*/ 159250 w 761692"/>
                    <a:gd name="connsiteY18" fmla="*/ 829179 h 1016771"/>
                    <a:gd name="connsiteX19" fmla="*/ 159989 w 761692"/>
                    <a:gd name="connsiteY19" fmla="*/ 830410 h 1016771"/>
                    <a:gd name="connsiteX20" fmla="*/ 151512 w 761692"/>
                    <a:gd name="connsiteY20" fmla="*/ 838886 h 1016771"/>
                    <a:gd name="connsiteX21" fmla="*/ 149817 w 761692"/>
                    <a:gd name="connsiteY21" fmla="*/ 840582 h 1016771"/>
                    <a:gd name="connsiteX22" fmla="*/ 148122 w 761692"/>
                    <a:gd name="connsiteY22" fmla="*/ 842277 h 1016771"/>
                    <a:gd name="connsiteX23" fmla="*/ 146426 w 761692"/>
                    <a:gd name="connsiteY23" fmla="*/ 843972 h 1016771"/>
                    <a:gd name="connsiteX24" fmla="*/ 141340 w 761692"/>
                    <a:gd name="connsiteY24" fmla="*/ 849058 h 1016771"/>
                    <a:gd name="connsiteX25" fmla="*/ 141340 w 761692"/>
                    <a:gd name="connsiteY25" fmla="*/ 850754 h 1016771"/>
                    <a:gd name="connsiteX26" fmla="*/ 139645 w 761692"/>
                    <a:gd name="connsiteY26" fmla="*/ 852449 h 1016771"/>
                    <a:gd name="connsiteX27" fmla="*/ 139645 w 761692"/>
                    <a:gd name="connsiteY27" fmla="*/ 860925 h 1016771"/>
                    <a:gd name="connsiteX28" fmla="*/ 148122 w 761692"/>
                    <a:gd name="connsiteY28" fmla="*/ 867707 h 1016771"/>
                    <a:gd name="connsiteX29" fmla="*/ 158294 w 761692"/>
                    <a:gd name="connsiteY29" fmla="*/ 879574 h 1016771"/>
                    <a:gd name="connsiteX30" fmla="*/ 175247 w 761692"/>
                    <a:gd name="connsiteY30" fmla="*/ 889746 h 1016771"/>
                    <a:gd name="connsiteX31" fmla="*/ 188810 w 761692"/>
                    <a:gd name="connsiteY31" fmla="*/ 893137 h 1016771"/>
                    <a:gd name="connsiteX32" fmla="*/ 195591 w 761692"/>
                    <a:gd name="connsiteY32" fmla="*/ 893137 h 1016771"/>
                    <a:gd name="connsiteX33" fmla="*/ 202372 w 761692"/>
                    <a:gd name="connsiteY33" fmla="*/ 886355 h 1016771"/>
                    <a:gd name="connsiteX34" fmla="*/ 200677 w 761692"/>
                    <a:gd name="connsiteY34" fmla="*/ 877879 h 1016771"/>
                    <a:gd name="connsiteX35" fmla="*/ 209154 w 761692"/>
                    <a:gd name="connsiteY35" fmla="*/ 874488 h 1016771"/>
                    <a:gd name="connsiteX36" fmla="*/ 210740 w 761692"/>
                    <a:gd name="connsiteY36" fmla="*/ 875083 h 1016771"/>
                    <a:gd name="connsiteX37" fmla="*/ 201937 w 761692"/>
                    <a:gd name="connsiteY37" fmla="*/ 878604 h 1016771"/>
                    <a:gd name="connsiteX38" fmla="*/ 203708 w 761692"/>
                    <a:gd name="connsiteY38" fmla="*/ 887461 h 1016771"/>
                    <a:gd name="connsiteX39" fmla="*/ 196623 w 761692"/>
                    <a:gd name="connsiteY39" fmla="*/ 894546 h 1016771"/>
                    <a:gd name="connsiteX40" fmla="*/ 189537 w 761692"/>
                    <a:gd name="connsiteY40" fmla="*/ 894546 h 1016771"/>
                    <a:gd name="connsiteX41" fmla="*/ 175366 w 761692"/>
                    <a:gd name="connsiteY41" fmla="*/ 891003 h 1016771"/>
                    <a:gd name="connsiteX42" fmla="*/ 157653 w 761692"/>
                    <a:gd name="connsiteY42" fmla="*/ 880375 h 1016771"/>
                    <a:gd name="connsiteX43" fmla="*/ 147024 w 761692"/>
                    <a:gd name="connsiteY43" fmla="*/ 867975 h 1016771"/>
                    <a:gd name="connsiteX44" fmla="*/ 138167 w 761692"/>
                    <a:gd name="connsiteY44" fmla="*/ 860890 h 1016771"/>
                    <a:gd name="connsiteX45" fmla="*/ 138167 w 761692"/>
                    <a:gd name="connsiteY45" fmla="*/ 852033 h 1016771"/>
                    <a:gd name="connsiteX46" fmla="*/ 139939 w 761692"/>
                    <a:gd name="connsiteY46" fmla="*/ 850262 h 1016771"/>
                    <a:gd name="connsiteX47" fmla="*/ 139939 w 761692"/>
                    <a:gd name="connsiteY47" fmla="*/ 848490 h 1016771"/>
                    <a:gd name="connsiteX48" fmla="*/ 145253 w 761692"/>
                    <a:gd name="connsiteY48" fmla="*/ 843176 h 1016771"/>
                    <a:gd name="connsiteX49" fmla="*/ 147024 w 761692"/>
                    <a:gd name="connsiteY49" fmla="*/ 841405 h 1016771"/>
                    <a:gd name="connsiteX50" fmla="*/ 148796 w 761692"/>
                    <a:gd name="connsiteY50" fmla="*/ 839633 h 1016771"/>
                    <a:gd name="connsiteX51" fmla="*/ 150567 w 761692"/>
                    <a:gd name="connsiteY51" fmla="*/ 837862 h 1016771"/>
                    <a:gd name="connsiteX52" fmla="*/ 159250 w 761692"/>
                    <a:gd name="connsiteY52" fmla="*/ 829179 h 1016771"/>
                    <a:gd name="connsiteX53" fmla="*/ 116476 w 761692"/>
                    <a:gd name="connsiteY53" fmla="*/ 741349 h 1016771"/>
                    <a:gd name="connsiteX54" fmla="*/ 117606 w 761692"/>
                    <a:gd name="connsiteY54" fmla="*/ 742253 h 1016771"/>
                    <a:gd name="connsiteX55" fmla="*/ 122692 w 761692"/>
                    <a:gd name="connsiteY55" fmla="*/ 759206 h 1016771"/>
                    <a:gd name="connsiteX56" fmla="*/ 126082 w 761692"/>
                    <a:gd name="connsiteY56" fmla="*/ 771073 h 1016771"/>
                    <a:gd name="connsiteX57" fmla="*/ 129473 w 761692"/>
                    <a:gd name="connsiteY57" fmla="*/ 782940 h 1016771"/>
                    <a:gd name="connsiteX58" fmla="*/ 132864 w 761692"/>
                    <a:gd name="connsiteY58" fmla="*/ 793112 h 1016771"/>
                    <a:gd name="connsiteX59" fmla="*/ 136254 w 761692"/>
                    <a:gd name="connsiteY59" fmla="*/ 810066 h 1016771"/>
                    <a:gd name="connsiteX60" fmla="*/ 139058 w 761692"/>
                    <a:gd name="connsiteY60" fmla="*/ 818476 h 1016771"/>
                    <a:gd name="connsiteX61" fmla="*/ 138167 w 761692"/>
                    <a:gd name="connsiteY61" fmla="*/ 818377 h 1016771"/>
                    <a:gd name="connsiteX62" fmla="*/ 134625 w 761692"/>
                    <a:gd name="connsiteY62" fmla="*/ 807749 h 1016771"/>
                    <a:gd name="connsiteX63" fmla="*/ 131082 w 761692"/>
                    <a:gd name="connsiteY63" fmla="*/ 790035 h 1016771"/>
                    <a:gd name="connsiteX64" fmla="*/ 127539 w 761692"/>
                    <a:gd name="connsiteY64" fmla="*/ 779407 h 1016771"/>
                    <a:gd name="connsiteX65" fmla="*/ 123996 w 761692"/>
                    <a:gd name="connsiteY65" fmla="*/ 767007 h 1016771"/>
                    <a:gd name="connsiteX66" fmla="*/ 120454 w 761692"/>
                    <a:gd name="connsiteY66" fmla="*/ 754607 h 1016771"/>
                    <a:gd name="connsiteX67" fmla="*/ 116476 w 761692"/>
                    <a:gd name="connsiteY67" fmla="*/ 741349 h 1016771"/>
                    <a:gd name="connsiteX68" fmla="*/ 554441 w 761692"/>
                    <a:gd name="connsiteY68" fmla="*/ 0 h 1016771"/>
                    <a:gd name="connsiteX69" fmla="*/ 570383 w 761692"/>
                    <a:gd name="connsiteY69" fmla="*/ 3543 h 1016771"/>
                    <a:gd name="connsiteX70" fmla="*/ 577469 w 761692"/>
                    <a:gd name="connsiteY70" fmla="*/ 8857 h 1016771"/>
                    <a:gd name="connsiteX71" fmla="*/ 582783 w 761692"/>
                    <a:gd name="connsiteY71" fmla="*/ 17714 h 1016771"/>
                    <a:gd name="connsiteX72" fmla="*/ 582783 w 761692"/>
                    <a:gd name="connsiteY72" fmla="*/ 24799 h 1016771"/>
                    <a:gd name="connsiteX73" fmla="*/ 588097 w 761692"/>
                    <a:gd name="connsiteY73" fmla="*/ 33656 h 1016771"/>
                    <a:gd name="connsiteX74" fmla="*/ 598725 w 761692"/>
                    <a:gd name="connsiteY74" fmla="*/ 31885 h 1016771"/>
                    <a:gd name="connsiteX75" fmla="*/ 612896 w 761692"/>
                    <a:gd name="connsiteY75" fmla="*/ 37199 h 1016771"/>
                    <a:gd name="connsiteX76" fmla="*/ 618211 w 761692"/>
                    <a:gd name="connsiteY76" fmla="*/ 46056 h 1016771"/>
                    <a:gd name="connsiteX77" fmla="*/ 619982 w 761692"/>
                    <a:gd name="connsiteY77" fmla="*/ 54913 h 1016771"/>
                    <a:gd name="connsiteX78" fmla="*/ 618211 w 761692"/>
                    <a:gd name="connsiteY78" fmla="*/ 74398 h 1016771"/>
                    <a:gd name="connsiteX79" fmla="*/ 616439 w 761692"/>
                    <a:gd name="connsiteY79" fmla="*/ 85026 h 1016771"/>
                    <a:gd name="connsiteX80" fmla="*/ 621753 w 761692"/>
                    <a:gd name="connsiteY80" fmla="*/ 97426 h 1016771"/>
                    <a:gd name="connsiteX81" fmla="*/ 637696 w 761692"/>
                    <a:gd name="connsiteY81" fmla="*/ 113368 h 1016771"/>
                    <a:gd name="connsiteX82" fmla="*/ 644781 w 761692"/>
                    <a:gd name="connsiteY82" fmla="*/ 120454 h 1016771"/>
                    <a:gd name="connsiteX83" fmla="*/ 650095 w 761692"/>
                    <a:gd name="connsiteY83" fmla="*/ 136396 h 1016771"/>
                    <a:gd name="connsiteX84" fmla="*/ 655409 w 761692"/>
                    <a:gd name="connsiteY84" fmla="*/ 155881 h 1016771"/>
                    <a:gd name="connsiteX85" fmla="*/ 662495 w 761692"/>
                    <a:gd name="connsiteY85" fmla="*/ 171824 h 1016771"/>
                    <a:gd name="connsiteX86" fmla="*/ 660724 w 761692"/>
                    <a:gd name="connsiteY86" fmla="*/ 185995 h 1016771"/>
                    <a:gd name="connsiteX87" fmla="*/ 635924 w 761692"/>
                    <a:gd name="connsiteY87" fmla="*/ 194852 h 1016771"/>
                    <a:gd name="connsiteX88" fmla="*/ 619982 w 761692"/>
                    <a:gd name="connsiteY88" fmla="*/ 207251 h 1016771"/>
                    <a:gd name="connsiteX89" fmla="*/ 614668 w 761692"/>
                    <a:gd name="connsiteY89" fmla="*/ 223194 h 1016771"/>
                    <a:gd name="connsiteX90" fmla="*/ 618211 w 761692"/>
                    <a:gd name="connsiteY90" fmla="*/ 242679 h 1016771"/>
                    <a:gd name="connsiteX91" fmla="*/ 612896 w 761692"/>
                    <a:gd name="connsiteY91" fmla="*/ 256850 h 1016771"/>
                    <a:gd name="connsiteX92" fmla="*/ 625296 w 761692"/>
                    <a:gd name="connsiteY92" fmla="*/ 267478 h 1016771"/>
                    <a:gd name="connsiteX93" fmla="*/ 641238 w 761692"/>
                    <a:gd name="connsiteY93" fmla="*/ 269250 h 1016771"/>
                    <a:gd name="connsiteX94" fmla="*/ 658952 w 761692"/>
                    <a:gd name="connsiteY94" fmla="*/ 286963 h 1016771"/>
                    <a:gd name="connsiteX95" fmla="*/ 653638 w 761692"/>
                    <a:gd name="connsiteY95" fmla="*/ 309991 h 1016771"/>
                    <a:gd name="connsiteX96" fmla="*/ 653638 w 761692"/>
                    <a:gd name="connsiteY96" fmla="*/ 329476 h 1016771"/>
                    <a:gd name="connsiteX97" fmla="*/ 643010 w 761692"/>
                    <a:gd name="connsiteY97" fmla="*/ 338333 h 1016771"/>
                    <a:gd name="connsiteX98" fmla="*/ 632382 w 761692"/>
                    <a:gd name="connsiteY98" fmla="*/ 338333 h 1016771"/>
                    <a:gd name="connsiteX99" fmla="*/ 618211 w 761692"/>
                    <a:gd name="connsiteY99" fmla="*/ 357819 h 1016771"/>
                    <a:gd name="connsiteX100" fmla="*/ 609354 w 761692"/>
                    <a:gd name="connsiteY100" fmla="*/ 361361 h 1016771"/>
                    <a:gd name="connsiteX101" fmla="*/ 596954 w 761692"/>
                    <a:gd name="connsiteY101" fmla="*/ 363133 h 1016771"/>
                    <a:gd name="connsiteX102" fmla="*/ 581012 w 761692"/>
                    <a:gd name="connsiteY102" fmla="*/ 379075 h 1016771"/>
                    <a:gd name="connsiteX103" fmla="*/ 589868 w 761692"/>
                    <a:gd name="connsiteY103" fmla="*/ 393246 h 1016771"/>
                    <a:gd name="connsiteX104" fmla="*/ 586326 w 761692"/>
                    <a:gd name="connsiteY104" fmla="*/ 409189 h 1016771"/>
                    <a:gd name="connsiteX105" fmla="*/ 570383 w 761692"/>
                    <a:gd name="connsiteY105" fmla="*/ 398560 h 1016771"/>
                    <a:gd name="connsiteX106" fmla="*/ 550898 w 761692"/>
                    <a:gd name="connsiteY106" fmla="*/ 405646 h 1016771"/>
                    <a:gd name="connsiteX107" fmla="*/ 531413 w 761692"/>
                    <a:gd name="connsiteY107" fmla="*/ 425131 h 1016771"/>
                    <a:gd name="connsiteX108" fmla="*/ 543813 w 761692"/>
                    <a:gd name="connsiteY108" fmla="*/ 444616 h 1016771"/>
                    <a:gd name="connsiteX109" fmla="*/ 557984 w 761692"/>
                    <a:gd name="connsiteY109" fmla="*/ 462330 h 1016771"/>
                    <a:gd name="connsiteX110" fmla="*/ 570383 w 761692"/>
                    <a:gd name="connsiteY110" fmla="*/ 478272 h 1016771"/>
                    <a:gd name="connsiteX111" fmla="*/ 579240 w 761692"/>
                    <a:gd name="connsiteY111" fmla="*/ 485358 h 1016771"/>
                    <a:gd name="connsiteX112" fmla="*/ 602268 w 761692"/>
                    <a:gd name="connsiteY112" fmla="*/ 483586 h 1016771"/>
                    <a:gd name="connsiteX113" fmla="*/ 623525 w 761692"/>
                    <a:gd name="connsiteY113" fmla="*/ 474730 h 1016771"/>
                    <a:gd name="connsiteX114" fmla="*/ 639467 w 761692"/>
                    <a:gd name="connsiteY114" fmla="*/ 464101 h 1016771"/>
                    <a:gd name="connsiteX115" fmla="*/ 662495 w 761692"/>
                    <a:gd name="connsiteY115" fmla="*/ 464101 h 1016771"/>
                    <a:gd name="connsiteX116" fmla="*/ 673123 w 761692"/>
                    <a:gd name="connsiteY116" fmla="*/ 464101 h 1016771"/>
                    <a:gd name="connsiteX117" fmla="*/ 681980 w 761692"/>
                    <a:gd name="connsiteY117" fmla="*/ 467644 h 1016771"/>
                    <a:gd name="connsiteX118" fmla="*/ 703237 w 761692"/>
                    <a:gd name="connsiteY118" fmla="*/ 471187 h 1016771"/>
                    <a:gd name="connsiteX119" fmla="*/ 708551 w 761692"/>
                    <a:gd name="connsiteY119" fmla="*/ 474730 h 1016771"/>
                    <a:gd name="connsiteX120" fmla="*/ 722722 w 761692"/>
                    <a:gd name="connsiteY120" fmla="*/ 501300 h 1016771"/>
                    <a:gd name="connsiteX121" fmla="*/ 724493 w 761692"/>
                    <a:gd name="connsiteY121" fmla="*/ 522557 h 1016771"/>
                    <a:gd name="connsiteX122" fmla="*/ 722722 w 761692"/>
                    <a:gd name="connsiteY122" fmla="*/ 540271 h 1016771"/>
                    <a:gd name="connsiteX123" fmla="*/ 735121 w 761692"/>
                    <a:gd name="connsiteY123" fmla="*/ 552670 h 1016771"/>
                    <a:gd name="connsiteX124" fmla="*/ 735121 w 761692"/>
                    <a:gd name="connsiteY124" fmla="*/ 570384 h 1016771"/>
                    <a:gd name="connsiteX125" fmla="*/ 751064 w 761692"/>
                    <a:gd name="connsiteY125" fmla="*/ 581012 h 1016771"/>
                    <a:gd name="connsiteX126" fmla="*/ 761692 w 761692"/>
                    <a:gd name="connsiteY126" fmla="*/ 604040 h 1016771"/>
                    <a:gd name="connsiteX127" fmla="*/ 747521 w 761692"/>
                    <a:gd name="connsiteY127" fmla="*/ 616440 h 1016771"/>
                    <a:gd name="connsiteX128" fmla="*/ 728036 w 761692"/>
                    <a:gd name="connsiteY128" fmla="*/ 627068 h 1016771"/>
                    <a:gd name="connsiteX129" fmla="*/ 726264 w 761692"/>
                    <a:gd name="connsiteY129" fmla="*/ 650096 h 1016771"/>
                    <a:gd name="connsiteX130" fmla="*/ 728036 w 761692"/>
                    <a:gd name="connsiteY130" fmla="*/ 673124 h 1016771"/>
                    <a:gd name="connsiteX131" fmla="*/ 742207 w 761692"/>
                    <a:gd name="connsiteY131" fmla="*/ 689066 h 1016771"/>
                    <a:gd name="connsiteX132" fmla="*/ 742207 w 761692"/>
                    <a:gd name="connsiteY132" fmla="*/ 712094 h 1016771"/>
                    <a:gd name="connsiteX133" fmla="*/ 740435 w 761692"/>
                    <a:gd name="connsiteY133" fmla="*/ 735122 h 1016771"/>
                    <a:gd name="connsiteX134" fmla="*/ 742207 w 761692"/>
                    <a:gd name="connsiteY134" fmla="*/ 751065 h 1016771"/>
                    <a:gd name="connsiteX135" fmla="*/ 747521 w 761692"/>
                    <a:gd name="connsiteY135" fmla="*/ 768778 h 1016771"/>
                    <a:gd name="connsiteX136" fmla="*/ 759921 w 761692"/>
                    <a:gd name="connsiteY136" fmla="*/ 777635 h 1016771"/>
                    <a:gd name="connsiteX137" fmla="*/ 758149 w 761692"/>
                    <a:gd name="connsiteY137" fmla="*/ 802434 h 1016771"/>
                    <a:gd name="connsiteX138" fmla="*/ 752835 w 761692"/>
                    <a:gd name="connsiteY138" fmla="*/ 814834 h 1016771"/>
                    <a:gd name="connsiteX139" fmla="*/ 743978 w 761692"/>
                    <a:gd name="connsiteY139" fmla="*/ 827234 h 1016771"/>
                    <a:gd name="connsiteX140" fmla="*/ 743978 w 761692"/>
                    <a:gd name="connsiteY140" fmla="*/ 837862 h 1016771"/>
                    <a:gd name="connsiteX141" fmla="*/ 747521 w 761692"/>
                    <a:gd name="connsiteY141" fmla="*/ 853804 h 1016771"/>
                    <a:gd name="connsiteX142" fmla="*/ 733350 w 761692"/>
                    <a:gd name="connsiteY142" fmla="*/ 867975 h 1016771"/>
                    <a:gd name="connsiteX143" fmla="*/ 724493 w 761692"/>
                    <a:gd name="connsiteY143" fmla="*/ 880375 h 1016771"/>
                    <a:gd name="connsiteX144" fmla="*/ 722722 w 761692"/>
                    <a:gd name="connsiteY144" fmla="*/ 899860 h 1016771"/>
                    <a:gd name="connsiteX145" fmla="*/ 722722 w 761692"/>
                    <a:gd name="connsiteY145" fmla="*/ 919345 h 1016771"/>
                    <a:gd name="connsiteX146" fmla="*/ 715636 w 761692"/>
                    <a:gd name="connsiteY146" fmla="*/ 940602 h 1016771"/>
                    <a:gd name="connsiteX147" fmla="*/ 708551 w 761692"/>
                    <a:gd name="connsiteY147" fmla="*/ 954773 h 1016771"/>
                    <a:gd name="connsiteX148" fmla="*/ 699694 w 761692"/>
                    <a:gd name="connsiteY148" fmla="*/ 965401 h 1016771"/>
                    <a:gd name="connsiteX149" fmla="*/ 692608 w 761692"/>
                    <a:gd name="connsiteY149" fmla="*/ 984886 h 1016771"/>
                    <a:gd name="connsiteX150" fmla="*/ 683751 w 761692"/>
                    <a:gd name="connsiteY150" fmla="*/ 997286 h 1016771"/>
                    <a:gd name="connsiteX151" fmla="*/ 673123 w 761692"/>
                    <a:gd name="connsiteY151" fmla="*/ 1002600 h 1016771"/>
                    <a:gd name="connsiteX152" fmla="*/ 662495 w 761692"/>
                    <a:gd name="connsiteY152" fmla="*/ 1013228 h 1016771"/>
                    <a:gd name="connsiteX153" fmla="*/ 644781 w 761692"/>
                    <a:gd name="connsiteY153" fmla="*/ 1016771 h 1016771"/>
                    <a:gd name="connsiteX154" fmla="*/ 635924 w 761692"/>
                    <a:gd name="connsiteY154" fmla="*/ 1004372 h 1016771"/>
                    <a:gd name="connsiteX155" fmla="*/ 623525 w 761692"/>
                    <a:gd name="connsiteY155" fmla="*/ 997286 h 1016771"/>
                    <a:gd name="connsiteX156" fmla="*/ 614668 w 761692"/>
                    <a:gd name="connsiteY156" fmla="*/ 986658 h 1016771"/>
                    <a:gd name="connsiteX157" fmla="*/ 593411 w 761692"/>
                    <a:gd name="connsiteY157" fmla="*/ 970715 h 1016771"/>
                    <a:gd name="connsiteX158" fmla="*/ 582783 w 761692"/>
                    <a:gd name="connsiteY158" fmla="*/ 965401 h 1016771"/>
                    <a:gd name="connsiteX159" fmla="*/ 531413 w 761692"/>
                    <a:gd name="connsiteY159" fmla="*/ 965401 h 1016771"/>
                    <a:gd name="connsiteX160" fmla="*/ 511928 w 761692"/>
                    <a:gd name="connsiteY160" fmla="*/ 965401 h 1016771"/>
                    <a:gd name="connsiteX161" fmla="*/ 492443 w 761692"/>
                    <a:gd name="connsiteY161" fmla="*/ 963630 h 1016771"/>
                    <a:gd name="connsiteX162" fmla="*/ 483586 w 761692"/>
                    <a:gd name="connsiteY162" fmla="*/ 958316 h 1016771"/>
                    <a:gd name="connsiteX163" fmla="*/ 469415 w 761692"/>
                    <a:gd name="connsiteY163" fmla="*/ 954773 h 1016771"/>
                    <a:gd name="connsiteX164" fmla="*/ 460558 w 761692"/>
                    <a:gd name="connsiteY164" fmla="*/ 942373 h 1016771"/>
                    <a:gd name="connsiteX165" fmla="*/ 446387 w 761692"/>
                    <a:gd name="connsiteY165" fmla="*/ 935288 h 1016771"/>
                    <a:gd name="connsiteX166" fmla="*/ 428673 w 761692"/>
                    <a:gd name="connsiteY166" fmla="*/ 928202 h 1016771"/>
                    <a:gd name="connsiteX167" fmla="*/ 418045 w 761692"/>
                    <a:gd name="connsiteY167" fmla="*/ 917574 h 1016771"/>
                    <a:gd name="connsiteX168" fmla="*/ 421588 w 761692"/>
                    <a:gd name="connsiteY168" fmla="*/ 903403 h 1016771"/>
                    <a:gd name="connsiteX169" fmla="*/ 418045 w 761692"/>
                    <a:gd name="connsiteY169" fmla="*/ 898089 h 1016771"/>
                    <a:gd name="connsiteX170" fmla="*/ 396788 w 761692"/>
                    <a:gd name="connsiteY170" fmla="*/ 898089 h 1016771"/>
                    <a:gd name="connsiteX171" fmla="*/ 382617 w 761692"/>
                    <a:gd name="connsiteY171" fmla="*/ 896318 h 1016771"/>
                    <a:gd name="connsiteX172" fmla="*/ 380846 w 761692"/>
                    <a:gd name="connsiteY172" fmla="*/ 906946 h 1016771"/>
                    <a:gd name="connsiteX173" fmla="*/ 373761 w 761692"/>
                    <a:gd name="connsiteY173" fmla="*/ 915803 h 1016771"/>
                    <a:gd name="connsiteX174" fmla="*/ 363132 w 761692"/>
                    <a:gd name="connsiteY174" fmla="*/ 919345 h 1016771"/>
                    <a:gd name="connsiteX175" fmla="*/ 347190 w 761692"/>
                    <a:gd name="connsiteY175" fmla="*/ 915803 h 1016771"/>
                    <a:gd name="connsiteX176" fmla="*/ 342700 w 761692"/>
                    <a:gd name="connsiteY176" fmla="*/ 914149 h 1016771"/>
                    <a:gd name="connsiteX177" fmla="*/ 365124 w 761692"/>
                    <a:gd name="connsiteY177" fmla="*/ 913481 h 1016771"/>
                    <a:gd name="connsiteX178" fmla="*/ 371906 w 761692"/>
                    <a:gd name="connsiteY178" fmla="*/ 905004 h 1016771"/>
                    <a:gd name="connsiteX179" fmla="*/ 373601 w 761692"/>
                    <a:gd name="connsiteY179" fmla="*/ 894832 h 1016771"/>
                    <a:gd name="connsiteX180" fmla="*/ 387164 w 761692"/>
                    <a:gd name="connsiteY180" fmla="*/ 896527 h 1016771"/>
                    <a:gd name="connsiteX181" fmla="*/ 383773 w 761692"/>
                    <a:gd name="connsiteY181" fmla="*/ 886355 h 1016771"/>
                    <a:gd name="connsiteX182" fmla="*/ 387164 w 761692"/>
                    <a:gd name="connsiteY182" fmla="*/ 876183 h 1016771"/>
                    <a:gd name="connsiteX183" fmla="*/ 388859 w 761692"/>
                    <a:gd name="connsiteY183" fmla="*/ 867707 h 1016771"/>
                    <a:gd name="connsiteX184" fmla="*/ 380382 w 761692"/>
                    <a:gd name="connsiteY184" fmla="*/ 859230 h 1016771"/>
                    <a:gd name="connsiteX185" fmla="*/ 373601 w 761692"/>
                    <a:gd name="connsiteY185" fmla="*/ 849058 h 1016771"/>
                    <a:gd name="connsiteX186" fmla="*/ 380382 w 761692"/>
                    <a:gd name="connsiteY186" fmla="*/ 838886 h 1016771"/>
                    <a:gd name="connsiteX187" fmla="*/ 383773 w 761692"/>
                    <a:gd name="connsiteY187" fmla="*/ 833800 h 1016771"/>
                    <a:gd name="connsiteX188" fmla="*/ 388859 w 761692"/>
                    <a:gd name="connsiteY188" fmla="*/ 825324 h 1016771"/>
                    <a:gd name="connsiteX189" fmla="*/ 387164 w 761692"/>
                    <a:gd name="connsiteY189" fmla="*/ 810066 h 1016771"/>
                    <a:gd name="connsiteX190" fmla="*/ 387164 w 761692"/>
                    <a:gd name="connsiteY190" fmla="*/ 796503 h 1016771"/>
                    <a:gd name="connsiteX191" fmla="*/ 378687 w 761692"/>
                    <a:gd name="connsiteY191" fmla="*/ 789722 h 1016771"/>
                    <a:gd name="connsiteX192" fmla="*/ 366820 w 761692"/>
                    <a:gd name="connsiteY192" fmla="*/ 782940 h 1016771"/>
                    <a:gd name="connsiteX193" fmla="*/ 356648 w 761692"/>
                    <a:gd name="connsiteY193" fmla="*/ 781245 h 1016771"/>
                    <a:gd name="connsiteX194" fmla="*/ 349866 w 761692"/>
                    <a:gd name="connsiteY194" fmla="*/ 771073 h 1016771"/>
                    <a:gd name="connsiteX195" fmla="*/ 349866 w 761692"/>
                    <a:gd name="connsiteY195" fmla="*/ 752425 h 1016771"/>
                    <a:gd name="connsiteX196" fmla="*/ 353257 w 761692"/>
                    <a:gd name="connsiteY196" fmla="*/ 743948 h 1016771"/>
                    <a:gd name="connsiteX197" fmla="*/ 354952 w 761692"/>
                    <a:gd name="connsiteY197" fmla="*/ 730385 h 1016771"/>
                    <a:gd name="connsiteX198" fmla="*/ 353257 w 761692"/>
                    <a:gd name="connsiteY198" fmla="*/ 713432 h 1016771"/>
                    <a:gd name="connsiteX199" fmla="*/ 346476 w 761692"/>
                    <a:gd name="connsiteY199" fmla="*/ 701565 h 1016771"/>
                    <a:gd name="connsiteX200" fmla="*/ 332913 w 761692"/>
                    <a:gd name="connsiteY200" fmla="*/ 689697 h 1016771"/>
                    <a:gd name="connsiteX201" fmla="*/ 324436 w 761692"/>
                    <a:gd name="connsiteY201" fmla="*/ 681221 h 1016771"/>
                    <a:gd name="connsiteX202" fmla="*/ 314264 w 761692"/>
                    <a:gd name="connsiteY202" fmla="*/ 676135 h 1016771"/>
                    <a:gd name="connsiteX203" fmla="*/ 293920 w 761692"/>
                    <a:gd name="connsiteY203" fmla="*/ 669354 h 1016771"/>
                    <a:gd name="connsiteX204" fmla="*/ 282053 w 761692"/>
                    <a:gd name="connsiteY204" fmla="*/ 667658 h 1016771"/>
                    <a:gd name="connsiteX205" fmla="*/ 266795 w 761692"/>
                    <a:gd name="connsiteY205" fmla="*/ 672744 h 1016771"/>
                    <a:gd name="connsiteX206" fmla="*/ 265100 w 761692"/>
                    <a:gd name="connsiteY206" fmla="*/ 672744 h 1016771"/>
                    <a:gd name="connsiteX207" fmla="*/ 263404 w 761692"/>
                    <a:gd name="connsiteY207" fmla="*/ 671049 h 1016771"/>
                    <a:gd name="connsiteX208" fmla="*/ 260014 w 761692"/>
                    <a:gd name="connsiteY208" fmla="*/ 671049 h 1016771"/>
                    <a:gd name="connsiteX209" fmla="*/ 258318 w 761692"/>
                    <a:gd name="connsiteY209" fmla="*/ 671049 h 1016771"/>
                    <a:gd name="connsiteX210" fmla="*/ 253232 w 761692"/>
                    <a:gd name="connsiteY210" fmla="*/ 671049 h 1016771"/>
                    <a:gd name="connsiteX211" fmla="*/ 248146 w 761692"/>
                    <a:gd name="connsiteY211" fmla="*/ 672744 h 1016771"/>
                    <a:gd name="connsiteX212" fmla="*/ 248146 w 761692"/>
                    <a:gd name="connsiteY212" fmla="*/ 674440 h 1016771"/>
                    <a:gd name="connsiteX213" fmla="*/ 246451 w 761692"/>
                    <a:gd name="connsiteY213" fmla="*/ 674440 h 1016771"/>
                    <a:gd name="connsiteX214" fmla="*/ 236279 w 761692"/>
                    <a:gd name="connsiteY214" fmla="*/ 679526 h 1016771"/>
                    <a:gd name="connsiteX215" fmla="*/ 226107 w 761692"/>
                    <a:gd name="connsiteY215" fmla="*/ 684612 h 1016771"/>
                    <a:gd name="connsiteX216" fmla="*/ 217630 w 761692"/>
                    <a:gd name="connsiteY216" fmla="*/ 684612 h 1016771"/>
                    <a:gd name="connsiteX217" fmla="*/ 207458 w 761692"/>
                    <a:gd name="connsiteY217" fmla="*/ 693088 h 1016771"/>
                    <a:gd name="connsiteX218" fmla="*/ 198982 w 761692"/>
                    <a:gd name="connsiteY218" fmla="*/ 694783 h 1016771"/>
                    <a:gd name="connsiteX219" fmla="*/ 192200 w 761692"/>
                    <a:gd name="connsiteY219" fmla="*/ 699869 h 1016771"/>
                    <a:gd name="connsiteX220" fmla="*/ 178638 w 761692"/>
                    <a:gd name="connsiteY220" fmla="*/ 706651 h 1016771"/>
                    <a:gd name="connsiteX221" fmla="*/ 163380 w 761692"/>
                    <a:gd name="connsiteY221" fmla="*/ 710041 h 1016771"/>
                    <a:gd name="connsiteX222" fmla="*/ 141340 w 761692"/>
                    <a:gd name="connsiteY222" fmla="*/ 710041 h 1016771"/>
                    <a:gd name="connsiteX223" fmla="*/ 134559 w 761692"/>
                    <a:gd name="connsiteY223" fmla="*/ 716823 h 1016771"/>
                    <a:gd name="connsiteX224" fmla="*/ 127778 w 761692"/>
                    <a:gd name="connsiteY224" fmla="*/ 718518 h 1016771"/>
                    <a:gd name="connsiteX225" fmla="*/ 120996 w 761692"/>
                    <a:gd name="connsiteY225" fmla="*/ 725299 h 1016771"/>
                    <a:gd name="connsiteX226" fmla="*/ 111172 w 761692"/>
                    <a:gd name="connsiteY226" fmla="*/ 733720 h 1016771"/>
                    <a:gd name="connsiteX227" fmla="*/ 106283 w 761692"/>
                    <a:gd name="connsiteY227" fmla="*/ 729808 h 1016771"/>
                    <a:gd name="connsiteX228" fmla="*/ 92112 w 761692"/>
                    <a:gd name="connsiteY228" fmla="*/ 724494 h 1016771"/>
                    <a:gd name="connsiteX229" fmla="*/ 77941 w 761692"/>
                    <a:gd name="connsiteY229" fmla="*/ 726265 h 1016771"/>
                    <a:gd name="connsiteX230" fmla="*/ 70855 w 761692"/>
                    <a:gd name="connsiteY230" fmla="*/ 719180 h 1016771"/>
                    <a:gd name="connsiteX231" fmla="*/ 70855 w 761692"/>
                    <a:gd name="connsiteY231" fmla="*/ 699695 h 1016771"/>
                    <a:gd name="connsiteX232" fmla="*/ 81483 w 761692"/>
                    <a:gd name="connsiteY232" fmla="*/ 685524 h 1016771"/>
                    <a:gd name="connsiteX233" fmla="*/ 85026 w 761692"/>
                    <a:gd name="connsiteY233" fmla="*/ 673124 h 1016771"/>
                    <a:gd name="connsiteX234" fmla="*/ 86797 w 761692"/>
                    <a:gd name="connsiteY234" fmla="*/ 660724 h 1016771"/>
                    <a:gd name="connsiteX235" fmla="*/ 97426 w 761692"/>
                    <a:gd name="connsiteY235" fmla="*/ 650096 h 1016771"/>
                    <a:gd name="connsiteX236" fmla="*/ 102740 w 761692"/>
                    <a:gd name="connsiteY236" fmla="*/ 635925 h 1016771"/>
                    <a:gd name="connsiteX237" fmla="*/ 113368 w 761692"/>
                    <a:gd name="connsiteY237" fmla="*/ 625297 h 1016771"/>
                    <a:gd name="connsiteX238" fmla="*/ 115139 w 761692"/>
                    <a:gd name="connsiteY238" fmla="*/ 612897 h 1016771"/>
                    <a:gd name="connsiteX239" fmla="*/ 127539 w 761692"/>
                    <a:gd name="connsiteY239" fmla="*/ 609354 h 1016771"/>
                    <a:gd name="connsiteX240" fmla="*/ 136396 w 761692"/>
                    <a:gd name="connsiteY240" fmla="*/ 604040 h 1016771"/>
                    <a:gd name="connsiteX241" fmla="*/ 132853 w 761692"/>
                    <a:gd name="connsiteY241" fmla="*/ 593412 h 1016771"/>
                    <a:gd name="connsiteX242" fmla="*/ 134625 w 761692"/>
                    <a:gd name="connsiteY242" fmla="*/ 584555 h 1016771"/>
                    <a:gd name="connsiteX243" fmla="*/ 131082 w 761692"/>
                    <a:gd name="connsiteY243" fmla="*/ 575698 h 1016771"/>
                    <a:gd name="connsiteX244" fmla="*/ 120454 w 761692"/>
                    <a:gd name="connsiteY244" fmla="*/ 568613 h 1016771"/>
                    <a:gd name="connsiteX245" fmla="*/ 125768 w 761692"/>
                    <a:gd name="connsiteY245" fmla="*/ 552670 h 1016771"/>
                    <a:gd name="connsiteX246" fmla="*/ 118682 w 761692"/>
                    <a:gd name="connsiteY246" fmla="*/ 543813 h 1016771"/>
                    <a:gd name="connsiteX247" fmla="*/ 90340 w 761692"/>
                    <a:gd name="connsiteY247" fmla="*/ 543813 h 1016771"/>
                    <a:gd name="connsiteX248" fmla="*/ 86797 w 761692"/>
                    <a:gd name="connsiteY248" fmla="*/ 542042 h 1016771"/>
                    <a:gd name="connsiteX249" fmla="*/ 83255 w 761692"/>
                    <a:gd name="connsiteY249" fmla="*/ 542042 h 1016771"/>
                    <a:gd name="connsiteX250" fmla="*/ 81483 w 761692"/>
                    <a:gd name="connsiteY250" fmla="*/ 540271 h 1016771"/>
                    <a:gd name="connsiteX251" fmla="*/ 81483 w 761692"/>
                    <a:gd name="connsiteY251" fmla="*/ 536728 h 1016771"/>
                    <a:gd name="connsiteX252" fmla="*/ 79712 w 761692"/>
                    <a:gd name="connsiteY252" fmla="*/ 531414 h 1016771"/>
                    <a:gd name="connsiteX253" fmla="*/ 77941 w 761692"/>
                    <a:gd name="connsiteY253" fmla="*/ 529642 h 1016771"/>
                    <a:gd name="connsiteX254" fmla="*/ 70855 w 761692"/>
                    <a:gd name="connsiteY254" fmla="*/ 527871 h 1016771"/>
                    <a:gd name="connsiteX255" fmla="*/ 60227 w 761692"/>
                    <a:gd name="connsiteY255" fmla="*/ 536728 h 1016771"/>
                    <a:gd name="connsiteX256" fmla="*/ 47827 w 761692"/>
                    <a:gd name="connsiteY256" fmla="*/ 526100 h 1016771"/>
                    <a:gd name="connsiteX257" fmla="*/ 42513 w 761692"/>
                    <a:gd name="connsiteY257" fmla="*/ 515471 h 1016771"/>
                    <a:gd name="connsiteX258" fmla="*/ 33656 w 761692"/>
                    <a:gd name="connsiteY258" fmla="*/ 506614 h 1016771"/>
                    <a:gd name="connsiteX259" fmla="*/ 31885 w 761692"/>
                    <a:gd name="connsiteY259" fmla="*/ 490672 h 1016771"/>
                    <a:gd name="connsiteX260" fmla="*/ 26571 w 761692"/>
                    <a:gd name="connsiteY260" fmla="*/ 476501 h 1016771"/>
                    <a:gd name="connsiteX261" fmla="*/ 24799 w 761692"/>
                    <a:gd name="connsiteY261" fmla="*/ 471187 h 1016771"/>
                    <a:gd name="connsiteX262" fmla="*/ 12400 w 761692"/>
                    <a:gd name="connsiteY262" fmla="*/ 472958 h 1016771"/>
                    <a:gd name="connsiteX263" fmla="*/ 7086 w 761692"/>
                    <a:gd name="connsiteY263" fmla="*/ 464101 h 1016771"/>
                    <a:gd name="connsiteX264" fmla="*/ 8857 w 761692"/>
                    <a:gd name="connsiteY264" fmla="*/ 446388 h 1016771"/>
                    <a:gd name="connsiteX265" fmla="*/ 3543 w 761692"/>
                    <a:gd name="connsiteY265" fmla="*/ 435759 h 1016771"/>
                    <a:gd name="connsiteX266" fmla="*/ 5314 w 761692"/>
                    <a:gd name="connsiteY266" fmla="*/ 412731 h 1016771"/>
                    <a:gd name="connsiteX267" fmla="*/ 0 w 761692"/>
                    <a:gd name="connsiteY267" fmla="*/ 396789 h 1016771"/>
                    <a:gd name="connsiteX268" fmla="*/ 3543 w 761692"/>
                    <a:gd name="connsiteY268" fmla="*/ 384389 h 1016771"/>
                    <a:gd name="connsiteX269" fmla="*/ 14171 w 761692"/>
                    <a:gd name="connsiteY269" fmla="*/ 380846 h 1016771"/>
                    <a:gd name="connsiteX270" fmla="*/ 24799 w 761692"/>
                    <a:gd name="connsiteY270" fmla="*/ 364904 h 1016771"/>
                    <a:gd name="connsiteX271" fmla="*/ 30113 w 761692"/>
                    <a:gd name="connsiteY271" fmla="*/ 350733 h 1016771"/>
                    <a:gd name="connsiteX272" fmla="*/ 35428 w 761692"/>
                    <a:gd name="connsiteY272" fmla="*/ 341876 h 1016771"/>
                    <a:gd name="connsiteX273" fmla="*/ 42513 w 761692"/>
                    <a:gd name="connsiteY273" fmla="*/ 327705 h 1016771"/>
                    <a:gd name="connsiteX274" fmla="*/ 42513 w 761692"/>
                    <a:gd name="connsiteY274" fmla="*/ 315305 h 1016771"/>
                    <a:gd name="connsiteX275" fmla="*/ 56684 w 761692"/>
                    <a:gd name="connsiteY275" fmla="*/ 309991 h 1016771"/>
                    <a:gd name="connsiteX276" fmla="*/ 60227 w 761692"/>
                    <a:gd name="connsiteY276" fmla="*/ 309991 h 1016771"/>
                    <a:gd name="connsiteX277" fmla="*/ 61998 w 761692"/>
                    <a:gd name="connsiteY277" fmla="*/ 311763 h 1016771"/>
                    <a:gd name="connsiteX278" fmla="*/ 67312 w 761692"/>
                    <a:gd name="connsiteY278" fmla="*/ 311763 h 1016771"/>
                    <a:gd name="connsiteX279" fmla="*/ 67312 w 761692"/>
                    <a:gd name="connsiteY279" fmla="*/ 309991 h 1016771"/>
                    <a:gd name="connsiteX280" fmla="*/ 67312 w 761692"/>
                    <a:gd name="connsiteY280" fmla="*/ 308220 h 1016771"/>
                    <a:gd name="connsiteX281" fmla="*/ 69084 w 761692"/>
                    <a:gd name="connsiteY281" fmla="*/ 302906 h 1016771"/>
                    <a:gd name="connsiteX282" fmla="*/ 70855 w 761692"/>
                    <a:gd name="connsiteY282" fmla="*/ 301134 h 1016771"/>
                    <a:gd name="connsiteX283" fmla="*/ 70855 w 761692"/>
                    <a:gd name="connsiteY283" fmla="*/ 299363 h 1016771"/>
                    <a:gd name="connsiteX284" fmla="*/ 77941 w 761692"/>
                    <a:gd name="connsiteY284" fmla="*/ 295820 h 1016771"/>
                    <a:gd name="connsiteX285" fmla="*/ 85026 w 761692"/>
                    <a:gd name="connsiteY285" fmla="*/ 295820 h 1016771"/>
                    <a:gd name="connsiteX286" fmla="*/ 93883 w 761692"/>
                    <a:gd name="connsiteY286" fmla="*/ 297592 h 1016771"/>
                    <a:gd name="connsiteX287" fmla="*/ 100968 w 761692"/>
                    <a:gd name="connsiteY287" fmla="*/ 288735 h 1016771"/>
                    <a:gd name="connsiteX288" fmla="*/ 97426 w 761692"/>
                    <a:gd name="connsiteY288" fmla="*/ 279878 h 1016771"/>
                    <a:gd name="connsiteX289" fmla="*/ 85026 w 761692"/>
                    <a:gd name="connsiteY289" fmla="*/ 276335 h 1016771"/>
                    <a:gd name="connsiteX290" fmla="*/ 76169 w 761692"/>
                    <a:gd name="connsiteY290" fmla="*/ 271021 h 1016771"/>
                    <a:gd name="connsiteX291" fmla="*/ 76169 w 761692"/>
                    <a:gd name="connsiteY291" fmla="*/ 262164 h 1016771"/>
                    <a:gd name="connsiteX292" fmla="*/ 81483 w 761692"/>
                    <a:gd name="connsiteY292" fmla="*/ 251536 h 1016771"/>
                    <a:gd name="connsiteX293" fmla="*/ 86797 w 761692"/>
                    <a:gd name="connsiteY293" fmla="*/ 255079 h 1016771"/>
                    <a:gd name="connsiteX294" fmla="*/ 104511 w 761692"/>
                    <a:gd name="connsiteY294" fmla="*/ 262164 h 1016771"/>
                    <a:gd name="connsiteX295" fmla="*/ 116911 w 761692"/>
                    <a:gd name="connsiteY295" fmla="*/ 265707 h 1016771"/>
                    <a:gd name="connsiteX296" fmla="*/ 132853 w 761692"/>
                    <a:gd name="connsiteY296" fmla="*/ 269250 h 1016771"/>
                    <a:gd name="connsiteX297" fmla="*/ 138167 w 761692"/>
                    <a:gd name="connsiteY297" fmla="*/ 265707 h 1016771"/>
                    <a:gd name="connsiteX298" fmla="*/ 150567 w 761692"/>
                    <a:gd name="connsiteY298" fmla="*/ 255079 h 1016771"/>
                    <a:gd name="connsiteX299" fmla="*/ 166509 w 761692"/>
                    <a:gd name="connsiteY299" fmla="*/ 255079 h 1016771"/>
                    <a:gd name="connsiteX300" fmla="*/ 166509 w 761692"/>
                    <a:gd name="connsiteY300" fmla="*/ 265707 h 1016771"/>
                    <a:gd name="connsiteX301" fmla="*/ 177138 w 761692"/>
                    <a:gd name="connsiteY301" fmla="*/ 272792 h 1016771"/>
                    <a:gd name="connsiteX302" fmla="*/ 194851 w 761692"/>
                    <a:gd name="connsiteY302" fmla="*/ 276335 h 1016771"/>
                    <a:gd name="connsiteX303" fmla="*/ 209022 w 761692"/>
                    <a:gd name="connsiteY303" fmla="*/ 279878 h 1016771"/>
                    <a:gd name="connsiteX304" fmla="*/ 221422 w 761692"/>
                    <a:gd name="connsiteY304" fmla="*/ 276335 h 1016771"/>
                    <a:gd name="connsiteX305" fmla="*/ 226736 w 761692"/>
                    <a:gd name="connsiteY305" fmla="*/ 269250 h 1016771"/>
                    <a:gd name="connsiteX306" fmla="*/ 226736 w 761692"/>
                    <a:gd name="connsiteY306" fmla="*/ 251536 h 1016771"/>
                    <a:gd name="connsiteX307" fmla="*/ 224965 w 761692"/>
                    <a:gd name="connsiteY307" fmla="*/ 239136 h 1016771"/>
                    <a:gd name="connsiteX308" fmla="*/ 214337 w 761692"/>
                    <a:gd name="connsiteY308" fmla="*/ 230279 h 1016771"/>
                    <a:gd name="connsiteX309" fmla="*/ 210794 w 761692"/>
                    <a:gd name="connsiteY309" fmla="*/ 217880 h 1016771"/>
                    <a:gd name="connsiteX310" fmla="*/ 221422 w 761692"/>
                    <a:gd name="connsiteY310" fmla="*/ 207251 h 1016771"/>
                    <a:gd name="connsiteX311" fmla="*/ 235593 w 761692"/>
                    <a:gd name="connsiteY311" fmla="*/ 214337 h 1016771"/>
                    <a:gd name="connsiteX312" fmla="*/ 246221 w 761692"/>
                    <a:gd name="connsiteY312" fmla="*/ 219651 h 1016771"/>
                    <a:gd name="connsiteX313" fmla="*/ 253307 w 761692"/>
                    <a:gd name="connsiteY313" fmla="*/ 221422 h 1016771"/>
                    <a:gd name="connsiteX314" fmla="*/ 262164 w 761692"/>
                    <a:gd name="connsiteY314" fmla="*/ 210794 h 1016771"/>
                    <a:gd name="connsiteX315" fmla="*/ 263935 w 761692"/>
                    <a:gd name="connsiteY315" fmla="*/ 201937 h 1016771"/>
                    <a:gd name="connsiteX316" fmla="*/ 274563 w 761692"/>
                    <a:gd name="connsiteY316" fmla="*/ 189538 h 1016771"/>
                    <a:gd name="connsiteX317" fmla="*/ 283420 w 761692"/>
                    <a:gd name="connsiteY317" fmla="*/ 178909 h 1016771"/>
                    <a:gd name="connsiteX318" fmla="*/ 286963 w 761692"/>
                    <a:gd name="connsiteY318" fmla="*/ 173595 h 1016771"/>
                    <a:gd name="connsiteX319" fmla="*/ 311762 w 761692"/>
                    <a:gd name="connsiteY319" fmla="*/ 168281 h 1016771"/>
                    <a:gd name="connsiteX320" fmla="*/ 325933 w 761692"/>
                    <a:gd name="connsiteY320" fmla="*/ 164738 h 1016771"/>
                    <a:gd name="connsiteX321" fmla="*/ 336562 w 761692"/>
                    <a:gd name="connsiteY321" fmla="*/ 159424 h 1016771"/>
                    <a:gd name="connsiteX322" fmla="*/ 348961 w 761692"/>
                    <a:gd name="connsiteY322" fmla="*/ 145253 h 1016771"/>
                    <a:gd name="connsiteX323" fmla="*/ 359589 w 761692"/>
                    <a:gd name="connsiteY323" fmla="*/ 143482 h 1016771"/>
                    <a:gd name="connsiteX324" fmla="*/ 371989 w 761692"/>
                    <a:gd name="connsiteY324" fmla="*/ 143482 h 1016771"/>
                    <a:gd name="connsiteX325" fmla="*/ 391474 w 761692"/>
                    <a:gd name="connsiteY325" fmla="*/ 143482 h 1016771"/>
                    <a:gd name="connsiteX326" fmla="*/ 396788 w 761692"/>
                    <a:gd name="connsiteY326" fmla="*/ 141710 h 1016771"/>
                    <a:gd name="connsiteX327" fmla="*/ 403874 w 761692"/>
                    <a:gd name="connsiteY327" fmla="*/ 134625 h 1016771"/>
                    <a:gd name="connsiteX328" fmla="*/ 409188 w 761692"/>
                    <a:gd name="connsiteY328" fmla="*/ 129311 h 1016771"/>
                    <a:gd name="connsiteX329" fmla="*/ 409188 w 761692"/>
                    <a:gd name="connsiteY329" fmla="*/ 123997 h 1016771"/>
                    <a:gd name="connsiteX330" fmla="*/ 414502 w 761692"/>
                    <a:gd name="connsiteY330" fmla="*/ 115140 h 1016771"/>
                    <a:gd name="connsiteX331" fmla="*/ 428673 w 761692"/>
                    <a:gd name="connsiteY331" fmla="*/ 115140 h 1016771"/>
                    <a:gd name="connsiteX332" fmla="*/ 432216 w 761692"/>
                    <a:gd name="connsiteY332" fmla="*/ 109826 h 1016771"/>
                    <a:gd name="connsiteX333" fmla="*/ 437530 w 761692"/>
                    <a:gd name="connsiteY333" fmla="*/ 100969 h 1016771"/>
                    <a:gd name="connsiteX334" fmla="*/ 448158 w 761692"/>
                    <a:gd name="connsiteY334" fmla="*/ 99197 h 1016771"/>
                    <a:gd name="connsiteX335" fmla="*/ 460558 w 761692"/>
                    <a:gd name="connsiteY335" fmla="*/ 97426 h 1016771"/>
                    <a:gd name="connsiteX336" fmla="*/ 472958 w 761692"/>
                    <a:gd name="connsiteY336" fmla="*/ 93883 h 1016771"/>
                    <a:gd name="connsiteX337" fmla="*/ 492443 w 761692"/>
                    <a:gd name="connsiteY337" fmla="*/ 93883 h 1016771"/>
                    <a:gd name="connsiteX338" fmla="*/ 501300 w 761692"/>
                    <a:gd name="connsiteY338" fmla="*/ 83255 h 1016771"/>
                    <a:gd name="connsiteX339" fmla="*/ 517242 w 761692"/>
                    <a:gd name="connsiteY339" fmla="*/ 81484 h 1016771"/>
                    <a:gd name="connsiteX340" fmla="*/ 522556 w 761692"/>
                    <a:gd name="connsiteY340" fmla="*/ 81484 h 1016771"/>
                    <a:gd name="connsiteX341" fmla="*/ 522556 w 761692"/>
                    <a:gd name="connsiteY341" fmla="*/ 60227 h 1016771"/>
                    <a:gd name="connsiteX342" fmla="*/ 526099 w 761692"/>
                    <a:gd name="connsiteY342" fmla="*/ 54913 h 1016771"/>
                    <a:gd name="connsiteX343" fmla="*/ 529642 w 761692"/>
                    <a:gd name="connsiteY343" fmla="*/ 46056 h 1016771"/>
                    <a:gd name="connsiteX344" fmla="*/ 538499 w 761692"/>
                    <a:gd name="connsiteY344" fmla="*/ 40742 h 1016771"/>
                    <a:gd name="connsiteX345" fmla="*/ 540270 w 761692"/>
                    <a:gd name="connsiteY345" fmla="*/ 30114 h 1016771"/>
                    <a:gd name="connsiteX346" fmla="*/ 536727 w 761692"/>
                    <a:gd name="connsiteY346" fmla="*/ 19485 h 1016771"/>
                    <a:gd name="connsiteX347" fmla="*/ 543813 w 761692"/>
                    <a:gd name="connsiteY347" fmla="*/ 5314 h 1016771"/>
                    <a:gd name="connsiteX348" fmla="*/ 554441 w 761692"/>
                    <a:gd name="connsiteY348" fmla="*/ 0 h 1016771"/>
                    <a:gd name="connsiteX0" fmla="*/ 293920 w 761692"/>
                    <a:gd name="connsiteY0" fmla="*/ 899918 h 1016771"/>
                    <a:gd name="connsiteX1" fmla="*/ 307483 w 761692"/>
                    <a:gd name="connsiteY1" fmla="*/ 901613 h 1016771"/>
                    <a:gd name="connsiteX2" fmla="*/ 311729 w 761692"/>
                    <a:gd name="connsiteY2" fmla="*/ 903178 h 1016771"/>
                    <a:gd name="connsiteX3" fmla="*/ 299363 w 761692"/>
                    <a:gd name="connsiteY3" fmla="*/ 901632 h 1016771"/>
                    <a:gd name="connsiteX4" fmla="*/ 288734 w 761692"/>
                    <a:gd name="connsiteY4" fmla="*/ 903403 h 1016771"/>
                    <a:gd name="connsiteX5" fmla="*/ 286963 w 761692"/>
                    <a:gd name="connsiteY5" fmla="*/ 910489 h 1016771"/>
                    <a:gd name="connsiteX6" fmla="*/ 283420 w 761692"/>
                    <a:gd name="connsiteY6" fmla="*/ 915803 h 1016771"/>
                    <a:gd name="connsiteX7" fmla="*/ 271021 w 761692"/>
                    <a:gd name="connsiteY7" fmla="*/ 912260 h 1016771"/>
                    <a:gd name="connsiteX8" fmla="*/ 270666 w 761692"/>
                    <a:gd name="connsiteY8" fmla="*/ 911196 h 1016771"/>
                    <a:gd name="connsiteX9" fmla="*/ 278662 w 761692"/>
                    <a:gd name="connsiteY9" fmla="*/ 913481 h 1016771"/>
                    <a:gd name="connsiteX10" fmla="*/ 282053 w 761692"/>
                    <a:gd name="connsiteY10" fmla="*/ 908395 h 1016771"/>
                    <a:gd name="connsiteX11" fmla="*/ 283748 w 761692"/>
                    <a:gd name="connsiteY11" fmla="*/ 901613 h 1016771"/>
                    <a:gd name="connsiteX12" fmla="*/ 293920 w 761692"/>
                    <a:gd name="connsiteY12" fmla="*/ 899918 h 1016771"/>
                    <a:gd name="connsiteX13" fmla="*/ 222919 w 761692"/>
                    <a:gd name="connsiteY13" fmla="*/ 879608 h 1016771"/>
                    <a:gd name="connsiteX14" fmla="*/ 243060 w 761692"/>
                    <a:gd name="connsiteY14" fmla="*/ 882965 h 1016771"/>
                    <a:gd name="connsiteX15" fmla="*/ 243990 w 761692"/>
                    <a:gd name="connsiteY15" fmla="*/ 883546 h 1016771"/>
                    <a:gd name="connsiteX16" fmla="*/ 224965 w 761692"/>
                    <a:gd name="connsiteY16" fmla="*/ 880375 h 1016771"/>
                    <a:gd name="connsiteX17" fmla="*/ 222919 w 761692"/>
                    <a:gd name="connsiteY17" fmla="*/ 879608 h 1016771"/>
                    <a:gd name="connsiteX18" fmla="*/ 159250 w 761692"/>
                    <a:gd name="connsiteY18" fmla="*/ 829179 h 1016771"/>
                    <a:gd name="connsiteX19" fmla="*/ 159989 w 761692"/>
                    <a:gd name="connsiteY19" fmla="*/ 830410 h 1016771"/>
                    <a:gd name="connsiteX20" fmla="*/ 151512 w 761692"/>
                    <a:gd name="connsiteY20" fmla="*/ 838886 h 1016771"/>
                    <a:gd name="connsiteX21" fmla="*/ 149817 w 761692"/>
                    <a:gd name="connsiteY21" fmla="*/ 840582 h 1016771"/>
                    <a:gd name="connsiteX22" fmla="*/ 148122 w 761692"/>
                    <a:gd name="connsiteY22" fmla="*/ 842277 h 1016771"/>
                    <a:gd name="connsiteX23" fmla="*/ 146426 w 761692"/>
                    <a:gd name="connsiteY23" fmla="*/ 843972 h 1016771"/>
                    <a:gd name="connsiteX24" fmla="*/ 141340 w 761692"/>
                    <a:gd name="connsiteY24" fmla="*/ 849058 h 1016771"/>
                    <a:gd name="connsiteX25" fmla="*/ 141340 w 761692"/>
                    <a:gd name="connsiteY25" fmla="*/ 850754 h 1016771"/>
                    <a:gd name="connsiteX26" fmla="*/ 139645 w 761692"/>
                    <a:gd name="connsiteY26" fmla="*/ 852449 h 1016771"/>
                    <a:gd name="connsiteX27" fmla="*/ 139645 w 761692"/>
                    <a:gd name="connsiteY27" fmla="*/ 860925 h 1016771"/>
                    <a:gd name="connsiteX28" fmla="*/ 148122 w 761692"/>
                    <a:gd name="connsiteY28" fmla="*/ 867707 h 1016771"/>
                    <a:gd name="connsiteX29" fmla="*/ 158294 w 761692"/>
                    <a:gd name="connsiteY29" fmla="*/ 879574 h 1016771"/>
                    <a:gd name="connsiteX30" fmla="*/ 175247 w 761692"/>
                    <a:gd name="connsiteY30" fmla="*/ 889746 h 1016771"/>
                    <a:gd name="connsiteX31" fmla="*/ 188810 w 761692"/>
                    <a:gd name="connsiteY31" fmla="*/ 893137 h 1016771"/>
                    <a:gd name="connsiteX32" fmla="*/ 195591 w 761692"/>
                    <a:gd name="connsiteY32" fmla="*/ 893137 h 1016771"/>
                    <a:gd name="connsiteX33" fmla="*/ 202372 w 761692"/>
                    <a:gd name="connsiteY33" fmla="*/ 886355 h 1016771"/>
                    <a:gd name="connsiteX34" fmla="*/ 200677 w 761692"/>
                    <a:gd name="connsiteY34" fmla="*/ 877879 h 1016771"/>
                    <a:gd name="connsiteX35" fmla="*/ 209154 w 761692"/>
                    <a:gd name="connsiteY35" fmla="*/ 874488 h 1016771"/>
                    <a:gd name="connsiteX36" fmla="*/ 210740 w 761692"/>
                    <a:gd name="connsiteY36" fmla="*/ 875083 h 1016771"/>
                    <a:gd name="connsiteX37" fmla="*/ 201937 w 761692"/>
                    <a:gd name="connsiteY37" fmla="*/ 878604 h 1016771"/>
                    <a:gd name="connsiteX38" fmla="*/ 203708 w 761692"/>
                    <a:gd name="connsiteY38" fmla="*/ 887461 h 1016771"/>
                    <a:gd name="connsiteX39" fmla="*/ 196623 w 761692"/>
                    <a:gd name="connsiteY39" fmla="*/ 894546 h 1016771"/>
                    <a:gd name="connsiteX40" fmla="*/ 189537 w 761692"/>
                    <a:gd name="connsiteY40" fmla="*/ 894546 h 1016771"/>
                    <a:gd name="connsiteX41" fmla="*/ 175366 w 761692"/>
                    <a:gd name="connsiteY41" fmla="*/ 891003 h 1016771"/>
                    <a:gd name="connsiteX42" fmla="*/ 157653 w 761692"/>
                    <a:gd name="connsiteY42" fmla="*/ 880375 h 1016771"/>
                    <a:gd name="connsiteX43" fmla="*/ 147024 w 761692"/>
                    <a:gd name="connsiteY43" fmla="*/ 867975 h 1016771"/>
                    <a:gd name="connsiteX44" fmla="*/ 138167 w 761692"/>
                    <a:gd name="connsiteY44" fmla="*/ 860890 h 1016771"/>
                    <a:gd name="connsiteX45" fmla="*/ 138167 w 761692"/>
                    <a:gd name="connsiteY45" fmla="*/ 852033 h 1016771"/>
                    <a:gd name="connsiteX46" fmla="*/ 139939 w 761692"/>
                    <a:gd name="connsiteY46" fmla="*/ 850262 h 1016771"/>
                    <a:gd name="connsiteX47" fmla="*/ 139939 w 761692"/>
                    <a:gd name="connsiteY47" fmla="*/ 848490 h 1016771"/>
                    <a:gd name="connsiteX48" fmla="*/ 145253 w 761692"/>
                    <a:gd name="connsiteY48" fmla="*/ 843176 h 1016771"/>
                    <a:gd name="connsiteX49" fmla="*/ 147024 w 761692"/>
                    <a:gd name="connsiteY49" fmla="*/ 841405 h 1016771"/>
                    <a:gd name="connsiteX50" fmla="*/ 148796 w 761692"/>
                    <a:gd name="connsiteY50" fmla="*/ 839633 h 1016771"/>
                    <a:gd name="connsiteX51" fmla="*/ 150567 w 761692"/>
                    <a:gd name="connsiteY51" fmla="*/ 837862 h 1016771"/>
                    <a:gd name="connsiteX52" fmla="*/ 159250 w 761692"/>
                    <a:gd name="connsiteY52" fmla="*/ 829179 h 1016771"/>
                    <a:gd name="connsiteX53" fmla="*/ 116476 w 761692"/>
                    <a:gd name="connsiteY53" fmla="*/ 741349 h 1016771"/>
                    <a:gd name="connsiteX54" fmla="*/ 117606 w 761692"/>
                    <a:gd name="connsiteY54" fmla="*/ 742253 h 1016771"/>
                    <a:gd name="connsiteX55" fmla="*/ 122692 w 761692"/>
                    <a:gd name="connsiteY55" fmla="*/ 759206 h 1016771"/>
                    <a:gd name="connsiteX56" fmla="*/ 126082 w 761692"/>
                    <a:gd name="connsiteY56" fmla="*/ 771073 h 1016771"/>
                    <a:gd name="connsiteX57" fmla="*/ 129473 w 761692"/>
                    <a:gd name="connsiteY57" fmla="*/ 782940 h 1016771"/>
                    <a:gd name="connsiteX58" fmla="*/ 132864 w 761692"/>
                    <a:gd name="connsiteY58" fmla="*/ 793112 h 1016771"/>
                    <a:gd name="connsiteX59" fmla="*/ 136254 w 761692"/>
                    <a:gd name="connsiteY59" fmla="*/ 810066 h 1016771"/>
                    <a:gd name="connsiteX60" fmla="*/ 139058 w 761692"/>
                    <a:gd name="connsiteY60" fmla="*/ 818476 h 1016771"/>
                    <a:gd name="connsiteX61" fmla="*/ 138167 w 761692"/>
                    <a:gd name="connsiteY61" fmla="*/ 818377 h 1016771"/>
                    <a:gd name="connsiteX62" fmla="*/ 134625 w 761692"/>
                    <a:gd name="connsiteY62" fmla="*/ 807749 h 1016771"/>
                    <a:gd name="connsiteX63" fmla="*/ 131082 w 761692"/>
                    <a:gd name="connsiteY63" fmla="*/ 790035 h 1016771"/>
                    <a:gd name="connsiteX64" fmla="*/ 127539 w 761692"/>
                    <a:gd name="connsiteY64" fmla="*/ 779407 h 1016771"/>
                    <a:gd name="connsiteX65" fmla="*/ 123996 w 761692"/>
                    <a:gd name="connsiteY65" fmla="*/ 767007 h 1016771"/>
                    <a:gd name="connsiteX66" fmla="*/ 120454 w 761692"/>
                    <a:gd name="connsiteY66" fmla="*/ 754607 h 1016771"/>
                    <a:gd name="connsiteX67" fmla="*/ 116476 w 761692"/>
                    <a:gd name="connsiteY67" fmla="*/ 741349 h 1016771"/>
                    <a:gd name="connsiteX68" fmla="*/ 554441 w 761692"/>
                    <a:gd name="connsiteY68" fmla="*/ 0 h 1016771"/>
                    <a:gd name="connsiteX69" fmla="*/ 570383 w 761692"/>
                    <a:gd name="connsiteY69" fmla="*/ 3543 h 1016771"/>
                    <a:gd name="connsiteX70" fmla="*/ 577469 w 761692"/>
                    <a:gd name="connsiteY70" fmla="*/ 8857 h 1016771"/>
                    <a:gd name="connsiteX71" fmla="*/ 582783 w 761692"/>
                    <a:gd name="connsiteY71" fmla="*/ 17714 h 1016771"/>
                    <a:gd name="connsiteX72" fmla="*/ 582783 w 761692"/>
                    <a:gd name="connsiteY72" fmla="*/ 24799 h 1016771"/>
                    <a:gd name="connsiteX73" fmla="*/ 588097 w 761692"/>
                    <a:gd name="connsiteY73" fmla="*/ 33656 h 1016771"/>
                    <a:gd name="connsiteX74" fmla="*/ 598725 w 761692"/>
                    <a:gd name="connsiteY74" fmla="*/ 31885 h 1016771"/>
                    <a:gd name="connsiteX75" fmla="*/ 612896 w 761692"/>
                    <a:gd name="connsiteY75" fmla="*/ 37199 h 1016771"/>
                    <a:gd name="connsiteX76" fmla="*/ 618211 w 761692"/>
                    <a:gd name="connsiteY76" fmla="*/ 46056 h 1016771"/>
                    <a:gd name="connsiteX77" fmla="*/ 619982 w 761692"/>
                    <a:gd name="connsiteY77" fmla="*/ 54913 h 1016771"/>
                    <a:gd name="connsiteX78" fmla="*/ 618211 w 761692"/>
                    <a:gd name="connsiteY78" fmla="*/ 74398 h 1016771"/>
                    <a:gd name="connsiteX79" fmla="*/ 616439 w 761692"/>
                    <a:gd name="connsiteY79" fmla="*/ 85026 h 1016771"/>
                    <a:gd name="connsiteX80" fmla="*/ 621753 w 761692"/>
                    <a:gd name="connsiteY80" fmla="*/ 97426 h 1016771"/>
                    <a:gd name="connsiteX81" fmla="*/ 637696 w 761692"/>
                    <a:gd name="connsiteY81" fmla="*/ 113368 h 1016771"/>
                    <a:gd name="connsiteX82" fmla="*/ 644781 w 761692"/>
                    <a:gd name="connsiteY82" fmla="*/ 120454 h 1016771"/>
                    <a:gd name="connsiteX83" fmla="*/ 650095 w 761692"/>
                    <a:gd name="connsiteY83" fmla="*/ 136396 h 1016771"/>
                    <a:gd name="connsiteX84" fmla="*/ 655409 w 761692"/>
                    <a:gd name="connsiteY84" fmla="*/ 155881 h 1016771"/>
                    <a:gd name="connsiteX85" fmla="*/ 662495 w 761692"/>
                    <a:gd name="connsiteY85" fmla="*/ 171824 h 1016771"/>
                    <a:gd name="connsiteX86" fmla="*/ 660724 w 761692"/>
                    <a:gd name="connsiteY86" fmla="*/ 185995 h 1016771"/>
                    <a:gd name="connsiteX87" fmla="*/ 635924 w 761692"/>
                    <a:gd name="connsiteY87" fmla="*/ 194852 h 1016771"/>
                    <a:gd name="connsiteX88" fmla="*/ 619982 w 761692"/>
                    <a:gd name="connsiteY88" fmla="*/ 207251 h 1016771"/>
                    <a:gd name="connsiteX89" fmla="*/ 614668 w 761692"/>
                    <a:gd name="connsiteY89" fmla="*/ 223194 h 1016771"/>
                    <a:gd name="connsiteX90" fmla="*/ 618211 w 761692"/>
                    <a:gd name="connsiteY90" fmla="*/ 242679 h 1016771"/>
                    <a:gd name="connsiteX91" fmla="*/ 612896 w 761692"/>
                    <a:gd name="connsiteY91" fmla="*/ 256850 h 1016771"/>
                    <a:gd name="connsiteX92" fmla="*/ 625296 w 761692"/>
                    <a:gd name="connsiteY92" fmla="*/ 267478 h 1016771"/>
                    <a:gd name="connsiteX93" fmla="*/ 641238 w 761692"/>
                    <a:gd name="connsiteY93" fmla="*/ 269250 h 1016771"/>
                    <a:gd name="connsiteX94" fmla="*/ 658952 w 761692"/>
                    <a:gd name="connsiteY94" fmla="*/ 286963 h 1016771"/>
                    <a:gd name="connsiteX95" fmla="*/ 653638 w 761692"/>
                    <a:gd name="connsiteY95" fmla="*/ 309991 h 1016771"/>
                    <a:gd name="connsiteX96" fmla="*/ 653638 w 761692"/>
                    <a:gd name="connsiteY96" fmla="*/ 329476 h 1016771"/>
                    <a:gd name="connsiteX97" fmla="*/ 643010 w 761692"/>
                    <a:gd name="connsiteY97" fmla="*/ 338333 h 1016771"/>
                    <a:gd name="connsiteX98" fmla="*/ 632382 w 761692"/>
                    <a:gd name="connsiteY98" fmla="*/ 338333 h 1016771"/>
                    <a:gd name="connsiteX99" fmla="*/ 618211 w 761692"/>
                    <a:gd name="connsiteY99" fmla="*/ 357819 h 1016771"/>
                    <a:gd name="connsiteX100" fmla="*/ 609354 w 761692"/>
                    <a:gd name="connsiteY100" fmla="*/ 361361 h 1016771"/>
                    <a:gd name="connsiteX101" fmla="*/ 596954 w 761692"/>
                    <a:gd name="connsiteY101" fmla="*/ 363133 h 1016771"/>
                    <a:gd name="connsiteX102" fmla="*/ 581012 w 761692"/>
                    <a:gd name="connsiteY102" fmla="*/ 379075 h 1016771"/>
                    <a:gd name="connsiteX103" fmla="*/ 589868 w 761692"/>
                    <a:gd name="connsiteY103" fmla="*/ 393246 h 1016771"/>
                    <a:gd name="connsiteX104" fmla="*/ 586326 w 761692"/>
                    <a:gd name="connsiteY104" fmla="*/ 409189 h 1016771"/>
                    <a:gd name="connsiteX105" fmla="*/ 570383 w 761692"/>
                    <a:gd name="connsiteY105" fmla="*/ 398560 h 1016771"/>
                    <a:gd name="connsiteX106" fmla="*/ 550898 w 761692"/>
                    <a:gd name="connsiteY106" fmla="*/ 405646 h 1016771"/>
                    <a:gd name="connsiteX107" fmla="*/ 531413 w 761692"/>
                    <a:gd name="connsiteY107" fmla="*/ 425131 h 1016771"/>
                    <a:gd name="connsiteX108" fmla="*/ 543813 w 761692"/>
                    <a:gd name="connsiteY108" fmla="*/ 444616 h 1016771"/>
                    <a:gd name="connsiteX109" fmla="*/ 557984 w 761692"/>
                    <a:gd name="connsiteY109" fmla="*/ 462330 h 1016771"/>
                    <a:gd name="connsiteX110" fmla="*/ 570383 w 761692"/>
                    <a:gd name="connsiteY110" fmla="*/ 478272 h 1016771"/>
                    <a:gd name="connsiteX111" fmla="*/ 579240 w 761692"/>
                    <a:gd name="connsiteY111" fmla="*/ 485358 h 1016771"/>
                    <a:gd name="connsiteX112" fmla="*/ 602268 w 761692"/>
                    <a:gd name="connsiteY112" fmla="*/ 483586 h 1016771"/>
                    <a:gd name="connsiteX113" fmla="*/ 623525 w 761692"/>
                    <a:gd name="connsiteY113" fmla="*/ 474730 h 1016771"/>
                    <a:gd name="connsiteX114" fmla="*/ 639467 w 761692"/>
                    <a:gd name="connsiteY114" fmla="*/ 464101 h 1016771"/>
                    <a:gd name="connsiteX115" fmla="*/ 662495 w 761692"/>
                    <a:gd name="connsiteY115" fmla="*/ 464101 h 1016771"/>
                    <a:gd name="connsiteX116" fmla="*/ 673123 w 761692"/>
                    <a:gd name="connsiteY116" fmla="*/ 464101 h 1016771"/>
                    <a:gd name="connsiteX117" fmla="*/ 681980 w 761692"/>
                    <a:gd name="connsiteY117" fmla="*/ 467644 h 1016771"/>
                    <a:gd name="connsiteX118" fmla="*/ 703237 w 761692"/>
                    <a:gd name="connsiteY118" fmla="*/ 471187 h 1016771"/>
                    <a:gd name="connsiteX119" fmla="*/ 708551 w 761692"/>
                    <a:gd name="connsiteY119" fmla="*/ 474730 h 1016771"/>
                    <a:gd name="connsiteX120" fmla="*/ 722722 w 761692"/>
                    <a:gd name="connsiteY120" fmla="*/ 501300 h 1016771"/>
                    <a:gd name="connsiteX121" fmla="*/ 724493 w 761692"/>
                    <a:gd name="connsiteY121" fmla="*/ 522557 h 1016771"/>
                    <a:gd name="connsiteX122" fmla="*/ 722722 w 761692"/>
                    <a:gd name="connsiteY122" fmla="*/ 540271 h 1016771"/>
                    <a:gd name="connsiteX123" fmla="*/ 735121 w 761692"/>
                    <a:gd name="connsiteY123" fmla="*/ 552670 h 1016771"/>
                    <a:gd name="connsiteX124" fmla="*/ 735121 w 761692"/>
                    <a:gd name="connsiteY124" fmla="*/ 570384 h 1016771"/>
                    <a:gd name="connsiteX125" fmla="*/ 751064 w 761692"/>
                    <a:gd name="connsiteY125" fmla="*/ 581012 h 1016771"/>
                    <a:gd name="connsiteX126" fmla="*/ 761692 w 761692"/>
                    <a:gd name="connsiteY126" fmla="*/ 604040 h 1016771"/>
                    <a:gd name="connsiteX127" fmla="*/ 747521 w 761692"/>
                    <a:gd name="connsiteY127" fmla="*/ 616440 h 1016771"/>
                    <a:gd name="connsiteX128" fmla="*/ 728036 w 761692"/>
                    <a:gd name="connsiteY128" fmla="*/ 627068 h 1016771"/>
                    <a:gd name="connsiteX129" fmla="*/ 726264 w 761692"/>
                    <a:gd name="connsiteY129" fmla="*/ 650096 h 1016771"/>
                    <a:gd name="connsiteX130" fmla="*/ 728036 w 761692"/>
                    <a:gd name="connsiteY130" fmla="*/ 673124 h 1016771"/>
                    <a:gd name="connsiteX131" fmla="*/ 742207 w 761692"/>
                    <a:gd name="connsiteY131" fmla="*/ 689066 h 1016771"/>
                    <a:gd name="connsiteX132" fmla="*/ 742207 w 761692"/>
                    <a:gd name="connsiteY132" fmla="*/ 712094 h 1016771"/>
                    <a:gd name="connsiteX133" fmla="*/ 740435 w 761692"/>
                    <a:gd name="connsiteY133" fmla="*/ 735122 h 1016771"/>
                    <a:gd name="connsiteX134" fmla="*/ 742207 w 761692"/>
                    <a:gd name="connsiteY134" fmla="*/ 751065 h 1016771"/>
                    <a:gd name="connsiteX135" fmla="*/ 747521 w 761692"/>
                    <a:gd name="connsiteY135" fmla="*/ 768778 h 1016771"/>
                    <a:gd name="connsiteX136" fmla="*/ 759921 w 761692"/>
                    <a:gd name="connsiteY136" fmla="*/ 777635 h 1016771"/>
                    <a:gd name="connsiteX137" fmla="*/ 758149 w 761692"/>
                    <a:gd name="connsiteY137" fmla="*/ 802434 h 1016771"/>
                    <a:gd name="connsiteX138" fmla="*/ 752835 w 761692"/>
                    <a:gd name="connsiteY138" fmla="*/ 814834 h 1016771"/>
                    <a:gd name="connsiteX139" fmla="*/ 743978 w 761692"/>
                    <a:gd name="connsiteY139" fmla="*/ 827234 h 1016771"/>
                    <a:gd name="connsiteX140" fmla="*/ 743978 w 761692"/>
                    <a:gd name="connsiteY140" fmla="*/ 837862 h 1016771"/>
                    <a:gd name="connsiteX141" fmla="*/ 747521 w 761692"/>
                    <a:gd name="connsiteY141" fmla="*/ 853804 h 1016771"/>
                    <a:gd name="connsiteX142" fmla="*/ 733350 w 761692"/>
                    <a:gd name="connsiteY142" fmla="*/ 867975 h 1016771"/>
                    <a:gd name="connsiteX143" fmla="*/ 724493 w 761692"/>
                    <a:gd name="connsiteY143" fmla="*/ 880375 h 1016771"/>
                    <a:gd name="connsiteX144" fmla="*/ 722722 w 761692"/>
                    <a:gd name="connsiteY144" fmla="*/ 899860 h 1016771"/>
                    <a:gd name="connsiteX145" fmla="*/ 722722 w 761692"/>
                    <a:gd name="connsiteY145" fmla="*/ 919345 h 1016771"/>
                    <a:gd name="connsiteX146" fmla="*/ 715636 w 761692"/>
                    <a:gd name="connsiteY146" fmla="*/ 940602 h 1016771"/>
                    <a:gd name="connsiteX147" fmla="*/ 708551 w 761692"/>
                    <a:gd name="connsiteY147" fmla="*/ 954773 h 1016771"/>
                    <a:gd name="connsiteX148" fmla="*/ 699694 w 761692"/>
                    <a:gd name="connsiteY148" fmla="*/ 965401 h 1016771"/>
                    <a:gd name="connsiteX149" fmla="*/ 692608 w 761692"/>
                    <a:gd name="connsiteY149" fmla="*/ 984886 h 1016771"/>
                    <a:gd name="connsiteX150" fmla="*/ 683751 w 761692"/>
                    <a:gd name="connsiteY150" fmla="*/ 997286 h 1016771"/>
                    <a:gd name="connsiteX151" fmla="*/ 673123 w 761692"/>
                    <a:gd name="connsiteY151" fmla="*/ 1002600 h 1016771"/>
                    <a:gd name="connsiteX152" fmla="*/ 662495 w 761692"/>
                    <a:gd name="connsiteY152" fmla="*/ 1013228 h 1016771"/>
                    <a:gd name="connsiteX153" fmla="*/ 644781 w 761692"/>
                    <a:gd name="connsiteY153" fmla="*/ 1016771 h 1016771"/>
                    <a:gd name="connsiteX154" fmla="*/ 635924 w 761692"/>
                    <a:gd name="connsiteY154" fmla="*/ 1004372 h 1016771"/>
                    <a:gd name="connsiteX155" fmla="*/ 623525 w 761692"/>
                    <a:gd name="connsiteY155" fmla="*/ 997286 h 1016771"/>
                    <a:gd name="connsiteX156" fmla="*/ 614668 w 761692"/>
                    <a:gd name="connsiteY156" fmla="*/ 986658 h 1016771"/>
                    <a:gd name="connsiteX157" fmla="*/ 593411 w 761692"/>
                    <a:gd name="connsiteY157" fmla="*/ 970715 h 1016771"/>
                    <a:gd name="connsiteX158" fmla="*/ 582783 w 761692"/>
                    <a:gd name="connsiteY158" fmla="*/ 965401 h 1016771"/>
                    <a:gd name="connsiteX159" fmla="*/ 531413 w 761692"/>
                    <a:gd name="connsiteY159" fmla="*/ 965401 h 1016771"/>
                    <a:gd name="connsiteX160" fmla="*/ 511928 w 761692"/>
                    <a:gd name="connsiteY160" fmla="*/ 965401 h 1016771"/>
                    <a:gd name="connsiteX161" fmla="*/ 492443 w 761692"/>
                    <a:gd name="connsiteY161" fmla="*/ 963630 h 1016771"/>
                    <a:gd name="connsiteX162" fmla="*/ 483586 w 761692"/>
                    <a:gd name="connsiteY162" fmla="*/ 958316 h 1016771"/>
                    <a:gd name="connsiteX163" fmla="*/ 469415 w 761692"/>
                    <a:gd name="connsiteY163" fmla="*/ 954773 h 1016771"/>
                    <a:gd name="connsiteX164" fmla="*/ 460558 w 761692"/>
                    <a:gd name="connsiteY164" fmla="*/ 942373 h 1016771"/>
                    <a:gd name="connsiteX165" fmla="*/ 446387 w 761692"/>
                    <a:gd name="connsiteY165" fmla="*/ 935288 h 1016771"/>
                    <a:gd name="connsiteX166" fmla="*/ 428673 w 761692"/>
                    <a:gd name="connsiteY166" fmla="*/ 928202 h 1016771"/>
                    <a:gd name="connsiteX167" fmla="*/ 418045 w 761692"/>
                    <a:gd name="connsiteY167" fmla="*/ 917574 h 1016771"/>
                    <a:gd name="connsiteX168" fmla="*/ 421588 w 761692"/>
                    <a:gd name="connsiteY168" fmla="*/ 903403 h 1016771"/>
                    <a:gd name="connsiteX169" fmla="*/ 418045 w 761692"/>
                    <a:gd name="connsiteY169" fmla="*/ 898089 h 1016771"/>
                    <a:gd name="connsiteX170" fmla="*/ 396788 w 761692"/>
                    <a:gd name="connsiteY170" fmla="*/ 898089 h 1016771"/>
                    <a:gd name="connsiteX171" fmla="*/ 382617 w 761692"/>
                    <a:gd name="connsiteY171" fmla="*/ 896318 h 1016771"/>
                    <a:gd name="connsiteX172" fmla="*/ 380846 w 761692"/>
                    <a:gd name="connsiteY172" fmla="*/ 906946 h 1016771"/>
                    <a:gd name="connsiteX173" fmla="*/ 373761 w 761692"/>
                    <a:gd name="connsiteY173" fmla="*/ 915803 h 1016771"/>
                    <a:gd name="connsiteX174" fmla="*/ 347190 w 761692"/>
                    <a:gd name="connsiteY174" fmla="*/ 915803 h 1016771"/>
                    <a:gd name="connsiteX175" fmla="*/ 342700 w 761692"/>
                    <a:gd name="connsiteY175" fmla="*/ 914149 h 1016771"/>
                    <a:gd name="connsiteX176" fmla="*/ 365124 w 761692"/>
                    <a:gd name="connsiteY176" fmla="*/ 913481 h 1016771"/>
                    <a:gd name="connsiteX177" fmla="*/ 371906 w 761692"/>
                    <a:gd name="connsiteY177" fmla="*/ 905004 h 1016771"/>
                    <a:gd name="connsiteX178" fmla="*/ 373601 w 761692"/>
                    <a:gd name="connsiteY178" fmla="*/ 894832 h 1016771"/>
                    <a:gd name="connsiteX179" fmla="*/ 387164 w 761692"/>
                    <a:gd name="connsiteY179" fmla="*/ 896527 h 1016771"/>
                    <a:gd name="connsiteX180" fmla="*/ 383773 w 761692"/>
                    <a:gd name="connsiteY180" fmla="*/ 886355 h 1016771"/>
                    <a:gd name="connsiteX181" fmla="*/ 387164 w 761692"/>
                    <a:gd name="connsiteY181" fmla="*/ 876183 h 1016771"/>
                    <a:gd name="connsiteX182" fmla="*/ 388859 w 761692"/>
                    <a:gd name="connsiteY182" fmla="*/ 867707 h 1016771"/>
                    <a:gd name="connsiteX183" fmla="*/ 380382 w 761692"/>
                    <a:gd name="connsiteY183" fmla="*/ 859230 h 1016771"/>
                    <a:gd name="connsiteX184" fmla="*/ 373601 w 761692"/>
                    <a:gd name="connsiteY184" fmla="*/ 849058 h 1016771"/>
                    <a:gd name="connsiteX185" fmla="*/ 380382 w 761692"/>
                    <a:gd name="connsiteY185" fmla="*/ 838886 h 1016771"/>
                    <a:gd name="connsiteX186" fmla="*/ 383773 w 761692"/>
                    <a:gd name="connsiteY186" fmla="*/ 833800 h 1016771"/>
                    <a:gd name="connsiteX187" fmla="*/ 388859 w 761692"/>
                    <a:gd name="connsiteY187" fmla="*/ 825324 h 1016771"/>
                    <a:gd name="connsiteX188" fmla="*/ 387164 w 761692"/>
                    <a:gd name="connsiteY188" fmla="*/ 810066 h 1016771"/>
                    <a:gd name="connsiteX189" fmla="*/ 387164 w 761692"/>
                    <a:gd name="connsiteY189" fmla="*/ 796503 h 1016771"/>
                    <a:gd name="connsiteX190" fmla="*/ 378687 w 761692"/>
                    <a:gd name="connsiteY190" fmla="*/ 789722 h 1016771"/>
                    <a:gd name="connsiteX191" fmla="*/ 366820 w 761692"/>
                    <a:gd name="connsiteY191" fmla="*/ 782940 h 1016771"/>
                    <a:gd name="connsiteX192" fmla="*/ 356648 w 761692"/>
                    <a:gd name="connsiteY192" fmla="*/ 781245 h 1016771"/>
                    <a:gd name="connsiteX193" fmla="*/ 349866 w 761692"/>
                    <a:gd name="connsiteY193" fmla="*/ 771073 h 1016771"/>
                    <a:gd name="connsiteX194" fmla="*/ 349866 w 761692"/>
                    <a:gd name="connsiteY194" fmla="*/ 752425 h 1016771"/>
                    <a:gd name="connsiteX195" fmla="*/ 353257 w 761692"/>
                    <a:gd name="connsiteY195" fmla="*/ 743948 h 1016771"/>
                    <a:gd name="connsiteX196" fmla="*/ 354952 w 761692"/>
                    <a:gd name="connsiteY196" fmla="*/ 730385 h 1016771"/>
                    <a:gd name="connsiteX197" fmla="*/ 353257 w 761692"/>
                    <a:gd name="connsiteY197" fmla="*/ 713432 h 1016771"/>
                    <a:gd name="connsiteX198" fmla="*/ 346476 w 761692"/>
                    <a:gd name="connsiteY198" fmla="*/ 701565 h 1016771"/>
                    <a:gd name="connsiteX199" fmla="*/ 332913 w 761692"/>
                    <a:gd name="connsiteY199" fmla="*/ 689697 h 1016771"/>
                    <a:gd name="connsiteX200" fmla="*/ 324436 w 761692"/>
                    <a:gd name="connsiteY200" fmla="*/ 681221 h 1016771"/>
                    <a:gd name="connsiteX201" fmla="*/ 314264 w 761692"/>
                    <a:gd name="connsiteY201" fmla="*/ 676135 h 1016771"/>
                    <a:gd name="connsiteX202" fmla="*/ 293920 w 761692"/>
                    <a:gd name="connsiteY202" fmla="*/ 669354 h 1016771"/>
                    <a:gd name="connsiteX203" fmla="*/ 282053 w 761692"/>
                    <a:gd name="connsiteY203" fmla="*/ 667658 h 1016771"/>
                    <a:gd name="connsiteX204" fmla="*/ 266795 w 761692"/>
                    <a:gd name="connsiteY204" fmla="*/ 672744 h 1016771"/>
                    <a:gd name="connsiteX205" fmla="*/ 265100 w 761692"/>
                    <a:gd name="connsiteY205" fmla="*/ 672744 h 1016771"/>
                    <a:gd name="connsiteX206" fmla="*/ 263404 w 761692"/>
                    <a:gd name="connsiteY206" fmla="*/ 671049 h 1016771"/>
                    <a:gd name="connsiteX207" fmla="*/ 260014 w 761692"/>
                    <a:gd name="connsiteY207" fmla="*/ 671049 h 1016771"/>
                    <a:gd name="connsiteX208" fmla="*/ 258318 w 761692"/>
                    <a:gd name="connsiteY208" fmla="*/ 671049 h 1016771"/>
                    <a:gd name="connsiteX209" fmla="*/ 253232 w 761692"/>
                    <a:gd name="connsiteY209" fmla="*/ 671049 h 1016771"/>
                    <a:gd name="connsiteX210" fmla="*/ 248146 w 761692"/>
                    <a:gd name="connsiteY210" fmla="*/ 672744 h 1016771"/>
                    <a:gd name="connsiteX211" fmla="*/ 248146 w 761692"/>
                    <a:gd name="connsiteY211" fmla="*/ 674440 h 1016771"/>
                    <a:gd name="connsiteX212" fmla="*/ 246451 w 761692"/>
                    <a:gd name="connsiteY212" fmla="*/ 674440 h 1016771"/>
                    <a:gd name="connsiteX213" fmla="*/ 236279 w 761692"/>
                    <a:gd name="connsiteY213" fmla="*/ 679526 h 1016771"/>
                    <a:gd name="connsiteX214" fmla="*/ 226107 w 761692"/>
                    <a:gd name="connsiteY214" fmla="*/ 684612 h 1016771"/>
                    <a:gd name="connsiteX215" fmla="*/ 217630 w 761692"/>
                    <a:gd name="connsiteY215" fmla="*/ 684612 h 1016771"/>
                    <a:gd name="connsiteX216" fmla="*/ 207458 w 761692"/>
                    <a:gd name="connsiteY216" fmla="*/ 693088 h 1016771"/>
                    <a:gd name="connsiteX217" fmla="*/ 198982 w 761692"/>
                    <a:gd name="connsiteY217" fmla="*/ 694783 h 1016771"/>
                    <a:gd name="connsiteX218" fmla="*/ 192200 w 761692"/>
                    <a:gd name="connsiteY218" fmla="*/ 699869 h 1016771"/>
                    <a:gd name="connsiteX219" fmla="*/ 178638 w 761692"/>
                    <a:gd name="connsiteY219" fmla="*/ 706651 h 1016771"/>
                    <a:gd name="connsiteX220" fmla="*/ 163380 w 761692"/>
                    <a:gd name="connsiteY220" fmla="*/ 710041 h 1016771"/>
                    <a:gd name="connsiteX221" fmla="*/ 141340 w 761692"/>
                    <a:gd name="connsiteY221" fmla="*/ 710041 h 1016771"/>
                    <a:gd name="connsiteX222" fmla="*/ 134559 w 761692"/>
                    <a:gd name="connsiteY222" fmla="*/ 716823 h 1016771"/>
                    <a:gd name="connsiteX223" fmla="*/ 127778 w 761692"/>
                    <a:gd name="connsiteY223" fmla="*/ 718518 h 1016771"/>
                    <a:gd name="connsiteX224" fmla="*/ 120996 w 761692"/>
                    <a:gd name="connsiteY224" fmla="*/ 725299 h 1016771"/>
                    <a:gd name="connsiteX225" fmla="*/ 111172 w 761692"/>
                    <a:gd name="connsiteY225" fmla="*/ 733720 h 1016771"/>
                    <a:gd name="connsiteX226" fmla="*/ 106283 w 761692"/>
                    <a:gd name="connsiteY226" fmla="*/ 729808 h 1016771"/>
                    <a:gd name="connsiteX227" fmla="*/ 92112 w 761692"/>
                    <a:gd name="connsiteY227" fmla="*/ 724494 h 1016771"/>
                    <a:gd name="connsiteX228" fmla="*/ 77941 w 761692"/>
                    <a:gd name="connsiteY228" fmla="*/ 726265 h 1016771"/>
                    <a:gd name="connsiteX229" fmla="*/ 70855 w 761692"/>
                    <a:gd name="connsiteY229" fmla="*/ 719180 h 1016771"/>
                    <a:gd name="connsiteX230" fmla="*/ 70855 w 761692"/>
                    <a:gd name="connsiteY230" fmla="*/ 699695 h 1016771"/>
                    <a:gd name="connsiteX231" fmla="*/ 81483 w 761692"/>
                    <a:gd name="connsiteY231" fmla="*/ 685524 h 1016771"/>
                    <a:gd name="connsiteX232" fmla="*/ 85026 w 761692"/>
                    <a:gd name="connsiteY232" fmla="*/ 673124 h 1016771"/>
                    <a:gd name="connsiteX233" fmla="*/ 86797 w 761692"/>
                    <a:gd name="connsiteY233" fmla="*/ 660724 h 1016771"/>
                    <a:gd name="connsiteX234" fmla="*/ 97426 w 761692"/>
                    <a:gd name="connsiteY234" fmla="*/ 650096 h 1016771"/>
                    <a:gd name="connsiteX235" fmla="*/ 102740 w 761692"/>
                    <a:gd name="connsiteY235" fmla="*/ 635925 h 1016771"/>
                    <a:gd name="connsiteX236" fmla="*/ 113368 w 761692"/>
                    <a:gd name="connsiteY236" fmla="*/ 625297 h 1016771"/>
                    <a:gd name="connsiteX237" fmla="*/ 115139 w 761692"/>
                    <a:gd name="connsiteY237" fmla="*/ 612897 h 1016771"/>
                    <a:gd name="connsiteX238" fmla="*/ 127539 w 761692"/>
                    <a:gd name="connsiteY238" fmla="*/ 609354 h 1016771"/>
                    <a:gd name="connsiteX239" fmla="*/ 136396 w 761692"/>
                    <a:gd name="connsiteY239" fmla="*/ 604040 h 1016771"/>
                    <a:gd name="connsiteX240" fmla="*/ 132853 w 761692"/>
                    <a:gd name="connsiteY240" fmla="*/ 593412 h 1016771"/>
                    <a:gd name="connsiteX241" fmla="*/ 134625 w 761692"/>
                    <a:gd name="connsiteY241" fmla="*/ 584555 h 1016771"/>
                    <a:gd name="connsiteX242" fmla="*/ 131082 w 761692"/>
                    <a:gd name="connsiteY242" fmla="*/ 575698 h 1016771"/>
                    <a:gd name="connsiteX243" fmla="*/ 120454 w 761692"/>
                    <a:gd name="connsiteY243" fmla="*/ 568613 h 1016771"/>
                    <a:gd name="connsiteX244" fmla="*/ 125768 w 761692"/>
                    <a:gd name="connsiteY244" fmla="*/ 552670 h 1016771"/>
                    <a:gd name="connsiteX245" fmla="*/ 118682 w 761692"/>
                    <a:gd name="connsiteY245" fmla="*/ 543813 h 1016771"/>
                    <a:gd name="connsiteX246" fmla="*/ 90340 w 761692"/>
                    <a:gd name="connsiteY246" fmla="*/ 543813 h 1016771"/>
                    <a:gd name="connsiteX247" fmla="*/ 86797 w 761692"/>
                    <a:gd name="connsiteY247" fmla="*/ 542042 h 1016771"/>
                    <a:gd name="connsiteX248" fmla="*/ 83255 w 761692"/>
                    <a:gd name="connsiteY248" fmla="*/ 542042 h 1016771"/>
                    <a:gd name="connsiteX249" fmla="*/ 81483 w 761692"/>
                    <a:gd name="connsiteY249" fmla="*/ 540271 h 1016771"/>
                    <a:gd name="connsiteX250" fmla="*/ 81483 w 761692"/>
                    <a:gd name="connsiteY250" fmla="*/ 536728 h 1016771"/>
                    <a:gd name="connsiteX251" fmla="*/ 79712 w 761692"/>
                    <a:gd name="connsiteY251" fmla="*/ 531414 h 1016771"/>
                    <a:gd name="connsiteX252" fmla="*/ 77941 w 761692"/>
                    <a:gd name="connsiteY252" fmla="*/ 529642 h 1016771"/>
                    <a:gd name="connsiteX253" fmla="*/ 70855 w 761692"/>
                    <a:gd name="connsiteY253" fmla="*/ 527871 h 1016771"/>
                    <a:gd name="connsiteX254" fmla="*/ 60227 w 761692"/>
                    <a:gd name="connsiteY254" fmla="*/ 536728 h 1016771"/>
                    <a:gd name="connsiteX255" fmla="*/ 47827 w 761692"/>
                    <a:gd name="connsiteY255" fmla="*/ 526100 h 1016771"/>
                    <a:gd name="connsiteX256" fmla="*/ 42513 w 761692"/>
                    <a:gd name="connsiteY256" fmla="*/ 515471 h 1016771"/>
                    <a:gd name="connsiteX257" fmla="*/ 33656 w 761692"/>
                    <a:gd name="connsiteY257" fmla="*/ 506614 h 1016771"/>
                    <a:gd name="connsiteX258" fmla="*/ 31885 w 761692"/>
                    <a:gd name="connsiteY258" fmla="*/ 490672 h 1016771"/>
                    <a:gd name="connsiteX259" fmla="*/ 26571 w 761692"/>
                    <a:gd name="connsiteY259" fmla="*/ 476501 h 1016771"/>
                    <a:gd name="connsiteX260" fmla="*/ 24799 w 761692"/>
                    <a:gd name="connsiteY260" fmla="*/ 471187 h 1016771"/>
                    <a:gd name="connsiteX261" fmla="*/ 12400 w 761692"/>
                    <a:gd name="connsiteY261" fmla="*/ 472958 h 1016771"/>
                    <a:gd name="connsiteX262" fmla="*/ 7086 w 761692"/>
                    <a:gd name="connsiteY262" fmla="*/ 464101 h 1016771"/>
                    <a:gd name="connsiteX263" fmla="*/ 8857 w 761692"/>
                    <a:gd name="connsiteY263" fmla="*/ 446388 h 1016771"/>
                    <a:gd name="connsiteX264" fmla="*/ 3543 w 761692"/>
                    <a:gd name="connsiteY264" fmla="*/ 435759 h 1016771"/>
                    <a:gd name="connsiteX265" fmla="*/ 5314 w 761692"/>
                    <a:gd name="connsiteY265" fmla="*/ 412731 h 1016771"/>
                    <a:gd name="connsiteX266" fmla="*/ 0 w 761692"/>
                    <a:gd name="connsiteY266" fmla="*/ 396789 h 1016771"/>
                    <a:gd name="connsiteX267" fmla="*/ 3543 w 761692"/>
                    <a:gd name="connsiteY267" fmla="*/ 384389 h 1016771"/>
                    <a:gd name="connsiteX268" fmla="*/ 14171 w 761692"/>
                    <a:gd name="connsiteY268" fmla="*/ 380846 h 1016771"/>
                    <a:gd name="connsiteX269" fmla="*/ 24799 w 761692"/>
                    <a:gd name="connsiteY269" fmla="*/ 364904 h 1016771"/>
                    <a:gd name="connsiteX270" fmla="*/ 30113 w 761692"/>
                    <a:gd name="connsiteY270" fmla="*/ 350733 h 1016771"/>
                    <a:gd name="connsiteX271" fmla="*/ 35428 w 761692"/>
                    <a:gd name="connsiteY271" fmla="*/ 341876 h 1016771"/>
                    <a:gd name="connsiteX272" fmla="*/ 42513 w 761692"/>
                    <a:gd name="connsiteY272" fmla="*/ 327705 h 1016771"/>
                    <a:gd name="connsiteX273" fmla="*/ 42513 w 761692"/>
                    <a:gd name="connsiteY273" fmla="*/ 315305 h 1016771"/>
                    <a:gd name="connsiteX274" fmla="*/ 56684 w 761692"/>
                    <a:gd name="connsiteY274" fmla="*/ 309991 h 1016771"/>
                    <a:gd name="connsiteX275" fmla="*/ 60227 w 761692"/>
                    <a:gd name="connsiteY275" fmla="*/ 309991 h 1016771"/>
                    <a:gd name="connsiteX276" fmla="*/ 61998 w 761692"/>
                    <a:gd name="connsiteY276" fmla="*/ 311763 h 1016771"/>
                    <a:gd name="connsiteX277" fmla="*/ 67312 w 761692"/>
                    <a:gd name="connsiteY277" fmla="*/ 311763 h 1016771"/>
                    <a:gd name="connsiteX278" fmla="*/ 67312 w 761692"/>
                    <a:gd name="connsiteY278" fmla="*/ 309991 h 1016771"/>
                    <a:gd name="connsiteX279" fmla="*/ 67312 w 761692"/>
                    <a:gd name="connsiteY279" fmla="*/ 308220 h 1016771"/>
                    <a:gd name="connsiteX280" fmla="*/ 69084 w 761692"/>
                    <a:gd name="connsiteY280" fmla="*/ 302906 h 1016771"/>
                    <a:gd name="connsiteX281" fmla="*/ 70855 w 761692"/>
                    <a:gd name="connsiteY281" fmla="*/ 301134 h 1016771"/>
                    <a:gd name="connsiteX282" fmla="*/ 70855 w 761692"/>
                    <a:gd name="connsiteY282" fmla="*/ 299363 h 1016771"/>
                    <a:gd name="connsiteX283" fmla="*/ 77941 w 761692"/>
                    <a:gd name="connsiteY283" fmla="*/ 295820 h 1016771"/>
                    <a:gd name="connsiteX284" fmla="*/ 85026 w 761692"/>
                    <a:gd name="connsiteY284" fmla="*/ 295820 h 1016771"/>
                    <a:gd name="connsiteX285" fmla="*/ 93883 w 761692"/>
                    <a:gd name="connsiteY285" fmla="*/ 297592 h 1016771"/>
                    <a:gd name="connsiteX286" fmla="*/ 100968 w 761692"/>
                    <a:gd name="connsiteY286" fmla="*/ 288735 h 1016771"/>
                    <a:gd name="connsiteX287" fmla="*/ 97426 w 761692"/>
                    <a:gd name="connsiteY287" fmla="*/ 279878 h 1016771"/>
                    <a:gd name="connsiteX288" fmla="*/ 85026 w 761692"/>
                    <a:gd name="connsiteY288" fmla="*/ 276335 h 1016771"/>
                    <a:gd name="connsiteX289" fmla="*/ 76169 w 761692"/>
                    <a:gd name="connsiteY289" fmla="*/ 271021 h 1016771"/>
                    <a:gd name="connsiteX290" fmla="*/ 76169 w 761692"/>
                    <a:gd name="connsiteY290" fmla="*/ 262164 h 1016771"/>
                    <a:gd name="connsiteX291" fmla="*/ 81483 w 761692"/>
                    <a:gd name="connsiteY291" fmla="*/ 251536 h 1016771"/>
                    <a:gd name="connsiteX292" fmla="*/ 86797 w 761692"/>
                    <a:gd name="connsiteY292" fmla="*/ 255079 h 1016771"/>
                    <a:gd name="connsiteX293" fmla="*/ 104511 w 761692"/>
                    <a:gd name="connsiteY293" fmla="*/ 262164 h 1016771"/>
                    <a:gd name="connsiteX294" fmla="*/ 116911 w 761692"/>
                    <a:gd name="connsiteY294" fmla="*/ 265707 h 1016771"/>
                    <a:gd name="connsiteX295" fmla="*/ 132853 w 761692"/>
                    <a:gd name="connsiteY295" fmla="*/ 269250 h 1016771"/>
                    <a:gd name="connsiteX296" fmla="*/ 138167 w 761692"/>
                    <a:gd name="connsiteY296" fmla="*/ 265707 h 1016771"/>
                    <a:gd name="connsiteX297" fmla="*/ 150567 w 761692"/>
                    <a:gd name="connsiteY297" fmla="*/ 255079 h 1016771"/>
                    <a:gd name="connsiteX298" fmla="*/ 166509 w 761692"/>
                    <a:gd name="connsiteY298" fmla="*/ 255079 h 1016771"/>
                    <a:gd name="connsiteX299" fmla="*/ 166509 w 761692"/>
                    <a:gd name="connsiteY299" fmla="*/ 265707 h 1016771"/>
                    <a:gd name="connsiteX300" fmla="*/ 177138 w 761692"/>
                    <a:gd name="connsiteY300" fmla="*/ 272792 h 1016771"/>
                    <a:gd name="connsiteX301" fmla="*/ 194851 w 761692"/>
                    <a:gd name="connsiteY301" fmla="*/ 276335 h 1016771"/>
                    <a:gd name="connsiteX302" fmla="*/ 209022 w 761692"/>
                    <a:gd name="connsiteY302" fmla="*/ 279878 h 1016771"/>
                    <a:gd name="connsiteX303" fmla="*/ 221422 w 761692"/>
                    <a:gd name="connsiteY303" fmla="*/ 276335 h 1016771"/>
                    <a:gd name="connsiteX304" fmla="*/ 226736 w 761692"/>
                    <a:gd name="connsiteY304" fmla="*/ 269250 h 1016771"/>
                    <a:gd name="connsiteX305" fmla="*/ 226736 w 761692"/>
                    <a:gd name="connsiteY305" fmla="*/ 251536 h 1016771"/>
                    <a:gd name="connsiteX306" fmla="*/ 224965 w 761692"/>
                    <a:gd name="connsiteY306" fmla="*/ 239136 h 1016771"/>
                    <a:gd name="connsiteX307" fmla="*/ 214337 w 761692"/>
                    <a:gd name="connsiteY307" fmla="*/ 230279 h 1016771"/>
                    <a:gd name="connsiteX308" fmla="*/ 210794 w 761692"/>
                    <a:gd name="connsiteY308" fmla="*/ 217880 h 1016771"/>
                    <a:gd name="connsiteX309" fmla="*/ 221422 w 761692"/>
                    <a:gd name="connsiteY309" fmla="*/ 207251 h 1016771"/>
                    <a:gd name="connsiteX310" fmla="*/ 235593 w 761692"/>
                    <a:gd name="connsiteY310" fmla="*/ 214337 h 1016771"/>
                    <a:gd name="connsiteX311" fmla="*/ 246221 w 761692"/>
                    <a:gd name="connsiteY311" fmla="*/ 219651 h 1016771"/>
                    <a:gd name="connsiteX312" fmla="*/ 253307 w 761692"/>
                    <a:gd name="connsiteY312" fmla="*/ 221422 h 1016771"/>
                    <a:gd name="connsiteX313" fmla="*/ 262164 w 761692"/>
                    <a:gd name="connsiteY313" fmla="*/ 210794 h 1016771"/>
                    <a:gd name="connsiteX314" fmla="*/ 263935 w 761692"/>
                    <a:gd name="connsiteY314" fmla="*/ 201937 h 1016771"/>
                    <a:gd name="connsiteX315" fmla="*/ 274563 w 761692"/>
                    <a:gd name="connsiteY315" fmla="*/ 189538 h 1016771"/>
                    <a:gd name="connsiteX316" fmla="*/ 283420 w 761692"/>
                    <a:gd name="connsiteY316" fmla="*/ 178909 h 1016771"/>
                    <a:gd name="connsiteX317" fmla="*/ 286963 w 761692"/>
                    <a:gd name="connsiteY317" fmla="*/ 173595 h 1016771"/>
                    <a:gd name="connsiteX318" fmla="*/ 311762 w 761692"/>
                    <a:gd name="connsiteY318" fmla="*/ 168281 h 1016771"/>
                    <a:gd name="connsiteX319" fmla="*/ 325933 w 761692"/>
                    <a:gd name="connsiteY319" fmla="*/ 164738 h 1016771"/>
                    <a:gd name="connsiteX320" fmla="*/ 336562 w 761692"/>
                    <a:gd name="connsiteY320" fmla="*/ 159424 h 1016771"/>
                    <a:gd name="connsiteX321" fmla="*/ 348961 w 761692"/>
                    <a:gd name="connsiteY321" fmla="*/ 145253 h 1016771"/>
                    <a:gd name="connsiteX322" fmla="*/ 359589 w 761692"/>
                    <a:gd name="connsiteY322" fmla="*/ 143482 h 1016771"/>
                    <a:gd name="connsiteX323" fmla="*/ 371989 w 761692"/>
                    <a:gd name="connsiteY323" fmla="*/ 143482 h 1016771"/>
                    <a:gd name="connsiteX324" fmla="*/ 391474 w 761692"/>
                    <a:gd name="connsiteY324" fmla="*/ 143482 h 1016771"/>
                    <a:gd name="connsiteX325" fmla="*/ 396788 w 761692"/>
                    <a:gd name="connsiteY325" fmla="*/ 141710 h 1016771"/>
                    <a:gd name="connsiteX326" fmla="*/ 403874 w 761692"/>
                    <a:gd name="connsiteY326" fmla="*/ 134625 h 1016771"/>
                    <a:gd name="connsiteX327" fmla="*/ 409188 w 761692"/>
                    <a:gd name="connsiteY327" fmla="*/ 129311 h 1016771"/>
                    <a:gd name="connsiteX328" fmla="*/ 409188 w 761692"/>
                    <a:gd name="connsiteY328" fmla="*/ 123997 h 1016771"/>
                    <a:gd name="connsiteX329" fmla="*/ 414502 w 761692"/>
                    <a:gd name="connsiteY329" fmla="*/ 115140 h 1016771"/>
                    <a:gd name="connsiteX330" fmla="*/ 428673 w 761692"/>
                    <a:gd name="connsiteY330" fmla="*/ 115140 h 1016771"/>
                    <a:gd name="connsiteX331" fmla="*/ 432216 w 761692"/>
                    <a:gd name="connsiteY331" fmla="*/ 109826 h 1016771"/>
                    <a:gd name="connsiteX332" fmla="*/ 437530 w 761692"/>
                    <a:gd name="connsiteY332" fmla="*/ 100969 h 1016771"/>
                    <a:gd name="connsiteX333" fmla="*/ 448158 w 761692"/>
                    <a:gd name="connsiteY333" fmla="*/ 99197 h 1016771"/>
                    <a:gd name="connsiteX334" fmla="*/ 460558 w 761692"/>
                    <a:gd name="connsiteY334" fmla="*/ 97426 h 1016771"/>
                    <a:gd name="connsiteX335" fmla="*/ 472958 w 761692"/>
                    <a:gd name="connsiteY335" fmla="*/ 93883 h 1016771"/>
                    <a:gd name="connsiteX336" fmla="*/ 492443 w 761692"/>
                    <a:gd name="connsiteY336" fmla="*/ 93883 h 1016771"/>
                    <a:gd name="connsiteX337" fmla="*/ 501300 w 761692"/>
                    <a:gd name="connsiteY337" fmla="*/ 83255 h 1016771"/>
                    <a:gd name="connsiteX338" fmla="*/ 517242 w 761692"/>
                    <a:gd name="connsiteY338" fmla="*/ 81484 h 1016771"/>
                    <a:gd name="connsiteX339" fmla="*/ 522556 w 761692"/>
                    <a:gd name="connsiteY339" fmla="*/ 81484 h 1016771"/>
                    <a:gd name="connsiteX340" fmla="*/ 522556 w 761692"/>
                    <a:gd name="connsiteY340" fmla="*/ 60227 h 1016771"/>
                    <a:gd name="connsiteX341" fmla="*/ 526099 w 761692"/>
                    <a:gd name="connsiteY341" fmla="*/ 54913 h 1016771"/>
                    <a:gd name="connsiteX342" fmla="*/ 529642 w 761692"/>
                    <a:gd name="connsiteY342" fmla="*/ 46056 h 1016771"/>
                    <a:gd name="connsiteX343" fmla="*/ 538499 w 761692"/>
                    <a:gd name="connsiteY343" fmla="*/ 40742 h 1016771"/>
                    <a:gd name="connsiteX344" fmla="*/ 540270 w 761692"/>
                    <a:gd name="connsiteY344" fmla="*/ 30114 h 1016771"/>
                    <a:gd name="connsiteX345" fmla="*/ 536727 w 761692"/>
                    <a:gd name="connsiteY345" fmla="*/ 19485 h 1016771"/>
                    <a:gd name="connsiteX346" fmla="*/ 543813 w 761692"/>
                    <a:gd name="connsiteY346" fmla="*/ 5314 h 1016771"/>
                    <a:gd name="connsiteX347" fmla="*/ 554441 w 761692"/>
                    <a:gd name="connsiteY347" fmla="*/ 0 h 1016771"/>
                    <a:gd name="connsiteX0" fmla="*/ 293920 w 761692"/>
                    <a:gd name="connsiteY0" fmla="*/ 899918 h 1016771"/>
                    <a:gd name="connsiteX1" fmla="*/ 307483 w 761692"/>
                    <a:gd name="connsiteY1" fmla="*/ 901613 h 1016771"/>
                    <a:gd name="connsiteX2" fmla="*/ 311729 w 761692"/>
                    <a:gd name="connsiteY2" fmla="*/ 903178 h 1016771"/>
                    <a:gd name="connsiteX3" fmla="*/ 299363 w 761692"/>
                    <a:gd name="connsiteY3" fmla="*/ 901632 h 1016771"/>
                    <a:gd name="connsiteX4" fmla="*/ 288734 w 761692"/>
                    <a:gd name="connsiteY4" fmla="*/ 903403 h 1016771"/>
                    <a:gd name="connsiteX5" fmla="*/ 286963 w 761692"/>
                    <a:gd name="connsiteY5" fmla="*/ 910489 h 1016771"/>
                    <a:gd name="connsiteX6" fmla="*/ 283420 w 761692"/>
                    <a:gd name="connsiteY6" fmla="*/ 915803 h 1016771"/>
                    <a:gd name="connsiteX7" fmla="*/ 271021 w 761692"/>
                    <a:gd name="connsiteY7" fmla="*/ 912260 h 1016771"/>
                    <a:gd name="connsiteX8" fmla="*/ 270666 w 761692"/>
                    <a:gd name="connsiteY8" fmla="*/ 911196 h 1016771"/>
                    <a:gd name="connsiteX9" fmla="*/ 278662 w 761692"/>
                    <a:gd name="connsiteY9" fmla="*/ 913481 h 1016771"/>
                    <a:gd name="connsiteX10" fmla="*/ 282053 w 761692"/>
                    <a:gd name="connsiteY10" fmla="*/ 908395 h 1016771"/>
                    <a:gd name="connsiteX11" fmla="*/ 283748 w 761692"/>
                    <a:gd name="connsiteY11" fmla="*/ 901613 h 1016771"/>
                    <a:gd name="connsiteX12" fmla="*/ 293920 w 761692"/>
                    <a:gd name="connsiteY12" fmla="*/ 899918 h 1016771"/>
                    <a:gd name="connsiteX13" fmla="*/ 222919 w 761692"/>
                    <a:gd name="connsiteY13" fmla="*/ 879608 h 1016771"/>
                    <a:gd name="connsiteX14" fmla="*/ 243060 w 761692"/>
                    <a:gd name="connsiteY14" fmla="*/ 882965 h 1016771"/>
                    <a:gd name="connsiteX15" fmla="*/ 243990 w 761692"/>
                    <a:gd name="connsiteY15" fmla="*/ 883546 h 1016771"/>
                    <a:gd name="connsiteX16" fmla="*/ 224965 w 761692"/>
                    <a:gd name="connsiteY16" fmla="*/ 880375 h 1016771"/>
                    <a:gd name="connsiteX17" fmla="*/ 222919 w 761692"/>
                    <a:gd name="connsiteY17" fmla="*/ 879608 h 1016771"/>
                    <a:gd name="connsiteX18" fmla="*/ 159250 w 761692"/>
                    <a:gd name="connsiteY18" fmla="*/ 829179 h 1016771"/>
                    <a:gd name="connsiteX19" fmla="*/ 159989 w 761692"/>
                    <a:gd name="connsiteY19" fmla="*/ 830410 h 1016771"/>
                    <a:gd name="connsiteX20" fmla="*/ 151512 w 761692"/>
                    <a:gd name="connsiteY20" fmla="*/ 838886 h 1016771"/>
                    <a:gd name="connsiteX21" fmla="*/ 149817 w 761692"/>
                    <a:gd name="connsiteY21" fmla="*/ 840582 h 1016771"/>
                    <a:gd name="connsiteX22" fmla="*/ 148122 w 761692"/>
                    <a:gd name="connsiteY22" fmla="*/ 842277 h 1016771"/>
                    <a:gd name="connsiteX23" fmla="*/ 146426 w 761692"/>
                    <a:gd name="connsiteY23" fmla="*/ 843972 h 1016771"/>
                    <a:gd name="connsiteX24" fmla="*/ 141340 w 761692"/>
                    <a:gd name="connsiteY24" fmla="*/ 849058 h 1016771"/>
                    <a:gd name="connsiteX25" fmla="*/ 141340 w 761692"/>
                    <a:gd name="connsiteY25" fmla="*/ 850754 h 1016771"/>
                    <a:gd name="connsiteX26" fmla="*/ 139645 w 761692"/>
                    <a:gd name="connsiteY26" fmla="*/ 852449 h 1016771"/>
                    <a:gd name="connsiteX27" fmla="*/ 139645 w 761692"/>
                    <a:gd name="connsiteY27" fmla="*/ 860925 h 1016771"/>
                    <a:gd name="connsiteX28" fmla="*/ 148122 w 761692"/>
                    <a:gd name="connsiteY28" fmla="*/ 867707 h 1016771"/>
                    <a:gd name="connsiteX29" fmla="*/ 158294 w 761692"/>
                    <a:gd name="connsiteY29" fmla="*/ 879574 h 1016771"/>
                    <a:gd name="connsiteX30" fmla="*/ 175247 w 761692"/>
                    <a:gd name="connsiteY30" fmla="*/ 889746 h 1016771"/>
                    <a:gd name="connsiteX31" fmla="*/ 188810 w 761692"/>
                    <a:gd name="connsiteY31" fmla="*/ 893137 h 1016771"/>
                    <a:gd name="connsiteX32" fmla="*/ 195591 w 761692"/>
                    <a:gd name="connsiteY32" fmla="*/ 893137 h 1016771"/>
                    <a:gd name="connsiteX33" fmla="*/ 202372 w 761692"/>
                    <a:gd name="connsiteY33" fmla="*/ 886355 h 1016771"/>
                    <a:gd name="connsiteX34" fmla="*/ 200677 w 761692"/>
                    <a:gd name="connsiteY34" fmla="*/ 877879 h 1016771"/>
                    <a:gd name="connsiteX35" fmla="*/ 209154 w 761692"/>
                    <a:gd name="connsiteY35" fmla="*/ 874488 h 1016771"/>
                    <a:gd name="connsiteX36" fmla="*/ 210740 w 761692"/>
                    <a:gd name="connsiteY36" fmla="*/ 875083 h 1016771"/>
                    <a:gd name="connsiteX37" fmla="*/ 201937 w 761692"/>
                    <a:gd name="connsiteY37" fmla="*/ 878604 h 1016771"/>
                    <a:gd name="connsiteX38" fmla="*/ 203708 w 761692"/>
                    <a:gd name="connsiteY38" fmla="*/ 887461 h 1016771"/>
                    <a:gd name="connsiteX39" fmla="*/ 196623 w 761692"/>
                    <a:gd name="connsiteY39" fmla="*/ 894546 h 1016771"/>
                    <a:gd name="connsiteX40" fmla="*/ 189537 w 761692"/>
                    <a:gd name="connsiteY40" fmla="*/ 894546 h 1016771"/>
                    <a:gd name="connsiteX41" fmla="*/ 175366 w 761692"/>
                    <a:gd name="connsiteY41" fmla="*/ 891003 h 1016771"/>
                    <a:gd name="connsiteX42" fmla="*/ 157653 w 761692"/>
                    <a:gd name="connsiteY42" fmla="*/ 880375 h 1016771"/>
                    <a:gd name="connsiteX43" fmla="*/ 147024 w 761692"/>
                    <a:gd name="connsiteY43" fmla="*/ 867975 h 1016771"/>
                    <a:gd name="connsiteX44" fmla="*/ 138167 w 761692"/>
                    <a:gd name="connsiteY44" fmla="*/ 860890 h 1016771"/>
                    <a:gd name="connsiteX45" fmla="*/ 138167 w 761692"/>
                    <a:gd name="connsiteY45" fmla="*/ 852033 h 1016771"/>
                    <a:gd name="connsiteX46" fmla="*/ 139939 w 761692"/>
                    <a:gd name="connsiteY46" fmla="*/ 850262 h 1016771"/>
                    <a:gd name="connsiteX47" fmla="*/ 139939 w 761692"/>
                    <a:gd name="connsiteY47" fmla="*/ 848490 h 1016771"/>
                    <a:gd name="connsiteX48" fmla="*/ 145253 w 761692"/>
                    <a:gd name="connsiteY48" fmla="*/ 843176 h 1016771"/>
                    <a:gd name="connsiteX49" fmla="*/ 147024 w 761692"/>
                    <a:gd name="connsiteY49" fmla="*/ 841405 h 1016771"/>
                    <a:gd name="connsiteX50" fmla="*/ 148796 w 761692"/>
                    <a:gd name="connsiteY50" fmla="*/ 839633 h 1016771"/>
                    <a:gd name="connsiteX51" fmla="*/ 150567 w 761692"/>
                    <a:gd name="connsiteY51" fmla="*/ 837862 h 1016771"/>
                    <a:gd name="connsiteX52" fmla="*/ 159250 w 761692"/>
                    <a:gd name="connsiteY52" fmla="*/ 829179 h 1016771"/>
                    <a:gd name="connsiteX53" fmla="*/ 116476 w 761692"/>
                    <a:gd name="connsiteY53" fmla="*/ 741349 h 1016771"/>
                    <a:gd name="connsiteX54" fmla="*/ 117606 w 761692"/>
                    <a:gd name="connsiteY54" fmla="*/ 742253 h 1016771"/>
                    <a:gd name="connsiteX55" fmla="*/ 122692 w 761692"/>
                    <a:gd name="connsiteY55" fmla="*/ 759206 h 1016771"/>
                    <a:gd name="connsiteX56" fmla="*/ 126082 w 761692"/>
                    <a:gd name="connsiteY56" fmla="*/ 771073 h 1016771"/>
                    <a:gd name="connsiteX57" fmla="*/ 129473 w 761692"/>
                    <a:gd name="connsiteY57" fmla="*/ 782940 h 1016771"/>
                    <a:gd name="connsiteX58" fmla="*/ 132864 w 761692"/>
                    <a:gd name="connsiteY58" fmla="*/ 793112 h 1016771"/>
                    <a:gd name="connsiteX59" fmla="*/ 136254 w 761692"/>
                    <a:gd name="connsiteY59" fmla="*/ 810066 h 1016771"/>
                    <a:gd name="connsiteX60" fmla="*/ 139058 w 761692"/>
                    <a:gd name="connsiteY60" fmla="*/ 818476 h 1016771"/>
                    <a:gd name="connsiteX61" fmla="*/ 138167 w 761692"/>
                    <a:gd name="connsiteY61" fmla="*/ 818377 h 1016771"/>
                    <a:gd name="connsiteX62" fmla="*/ 134625 w 761692"/>
                    <a:gd name="connsiteY62" fmla="*/ 807749 h 1016771"/>
                    <a:gd name="connsiteX63" fmla="*/ 131082 w 761692"/>
                    <a:gd name="connsiteY63" fmla="*/ 790035 h 1016771"/>
                    <a:gd name="connsiteX64" fmla="*/ 127539 w 761692"/>
                    <a:gd name="connsiteY64" fmla="*/ 779407 h 1016771"/>
                    <a:gd name="connsiteX65" fmla="*/ 123996 w 761692"/>
                    <a:gd name="connsiteY65" fmla="*/ 767007 h 1016771"/>
                    <a:gd name="connsiteX66" fmla="*/ 120454 w 761692"/>
                    <a:gd name="connsiteY66" fmla="*/ 754607 h 1016771"/>
                    <a:gd name="connsiteX67" fmla="*/ 116476 w 761692"/>
                    <a:gd name="connsiteY67" fmla="*/ 741349 h 1016771"/>
                    <a:gd name="connsiteX68" fmla="*/ 554441 w 761692"/>
                    <a:gd name="connsiteY68" fmla="*/ 0 h 1016771"/>
                    <a:gd name="connsiteX69" fmla="*/ 570383 w 761692"/>
                    <a:gd name="connsiteY69" fmla="*/ 3543 h 1016771"/>
                    <a:gd name="connsiteX70" fmla="*/ 577469 w 761692"/>
                    <a:gd name="connsiteY70" fmla="*/ 8857 h 1016771"/>
                    <a:gd name="connsiteX71" fmla="*/ 582783 w 761692"/>
                    <a:gd name="connsiteY71" fmla="*/ 17714 h 1016771"/>
                    <a:gd name="connsiteX72" fmla="*/ 582783 w 761692"/>
                    <a:gd name="connsiteY72" fmla="*/ 24799 h 1016771"/>
                    <a:gd name="connsiteX73" fmla="*/ 588097 w 761692"/>
                    <a:gd name="connsiteY73" fmla="*/ 33656 h 1016771"/>
                    <a:gd name="connsiteX74" fmla="*/ 598725 w 761692"/>
                    <a:gd name="connsiteY74" fmla="*/ 31885 h 1016771"/>
                    <a:gd name="connsiteX75" fmla="*/ 612896 w 761692"/>
                    <a:gd name="connsiteY75" fmla="*/ 37199 h 1016771"/>
                    <a:gd name="connsiteX76" fmla="*/ 618211 w 761692"/>
                    <a:gd name="connsiteY76" fmla="*/ 46056 h 1016771"/>
                    <a:gd name="connsiteX77" fmla="*/ 619982 w 761692"/>
                    <a:gd name="connsiteY77" fmla="*/ 54913 h 1016771"/>
                    <a:gd name="connsiteX78" fmla="*/ 618211 w 761692"/>
                    <a:gd name="connsiteY78" fmla="*/ 74398 h 1016771"/>
                    <a:gd name="connsiteX79" fmla="*/ 616439 w 761692"/>
                    <a:gd name="connsiteY79" fmla="*/ 85026 h 1016771"/>
                    <a:gd name="connsiteX80" fmla="*/ 621753 w 761692"/>
                    <a:gd name="connsiteY80" fmla="*/ 97426 h 1016771"/>
                    <a:gd name="connsiteX81" fmla="*/ 637696 w 761692"/>
                    <a:gd name="connsiteY81" fmla="*/ 113368 h 1016771"/>
                    <a:gd name="connsiteX82" fmla="*/ 644781 w 761692"/>
                    <a:gd name="connsiteY82" fmla="*/ 120454 h 1016771"/>
                    <a:gd name="connsiteX83" fmla="*/ 650095 w 761692"/>
                    <a:gd name="connsiteY83" fmla="*/ 136396 h 1016771"/>
                    <a:gd name="connsiteX84" fmla="*/ 655409 w 761692"/>
                    <a:gd name="connsiteY84" fmla="*/ 155881 h 1016771"/>
                    <a:gd name="connsiteX85" fmla="*/ 662495 w 761692"/>
                    <a:gd name="connsiteY85" fmla="*/ 171824 h 1016771"/>
                    <a:gd name="connsiteX86" fmla="*/ 660724 w 761692"/>
                    <a:gd name="connsiteY86" fmla="*/ 185995 h 1016771"/>
                    <a:gd name="connsiteX87" fmla="*/ 635924 w 761692"/>
                    <a:gd name="connsiteY87" fmla="*/ 194852 h 1016771"/>
                    <a:gd name="connsiteX88" fmla="*/ 619982 w 761692"/>
                    <a:gd name="connsiteY88" fmla="*/ 207251 h 1016771"/>
                    <a:gd name="connsiteX89" fmla="*/ 614668 w 761692"/>
                    <a:gd name="connsiteY89" fmla="*/ 223194 h 1016771"/>
                    <a:gd name="connsiteX90" fmla="*/ 618211 w 761692"/>
                    <a:gd name="connsiteY90" fmla="*/ 242679 h 1016771"/>
                    <a:gd name="connsiteX91" fmla="*/ 612896 w 761692"/>
                    <a:gd name="connsiteY91" fmla="*/ 256850 h 1016771"/>
                    <a:gd name="connsiteX92" fmla="*/ 625296 w 761692"/>
                    <a:gd name="connsiteY92" fmla="*/ 267478 h 1016771"/>
                    <a:gd name="connsiteX93" fmla="*/ 641238 w 761692"/>
                    <a:gd name="connsiteY93" fmla="*/ 269250 h 1016771"/>
                    <a:gd name="connsiteX94" fmla="*/ 658952 w 761692"/>
                    <a:gd name="connsiteY94" fmla="*/ 286963 h 1016771"/>
                    <a:gd name="connsiteX95" fmla="*/ 653638 w 761692"/>
                    <a:gd name="connsiteY95" fmla="*/ 309991 h 1016771"/>
                    <a:gd name="connsiteX96" fmla="*/ 653638 w 761692"/>
                    <a:gd name="connsiteY96" fmla="*/ 329476 h 1016771"/>
                    <a:gd name="connsiteX97" fmla="*/ 643010 w 761692"/>
                    <a:gd name="connsiteY97" fmla="*/ 338333 h 1016771"/>
                    <a:gd name="connsiteX98" fmla="*/ 632382 w 761692"/>
                    <a:gd name="connsiteY98" fmla="*/ 338333 h 1016771"/>
                    <a:gd name="connsiteX99" fmla="*/ 618211 w 761692"/>
                    <a:gd name="connsiteY99" fmla="*/ 357819 h 1016771"/>
                    <a:gd name="connsiteX100" fmla="*/ 609354 w 761692"/>
                    <a:gd name="connsiteY100" fmla="*/ 361361 h 1016771"/>
                    <a:gd name="connsiteX101" fmla="*/ 596954 w 761692"/>
                    <a:gd name="connsiteY101" fmla="*/ 363133 h 1016771"/>
                    <a:gd name="connsiteX102" fmla="*/ 581012 w 761692"/>
                    <a:gd name="connsiteY102" fmla="*/ 379075 h 1016771"/>
                    <a:gd name="connsiteX103" fmla="*/ 589868 w 761692"/>
                    <a:gd name="connsiteY103" fmla="*/ 393246 h 1016771"/>
                    <a:gd name="connsiteX104" fmla="*/ 586326 w 761692"/>
                    <a:gd name="connsiteY104" fmla="*/ 409189 h 1016771"/>
                    <a:gd name="connsiteX105" fmla="*/ 570383 w 761692"/>
                    <a:gd name="connsiteY105" fmla="*/ 398560 h 1016771"/>
                    <a:gd name="connsiteX106" fmla="*/ 550898 w 761692"/>
                    <a:gd name="connsiteY106" fmla="*/ 405646 h 1016771"/>
                    <a:gd name="connsiteX107" fmla="*/ 531413 w 761692"/>
                    <a:gd name="connsiteY107" fmla="*/ 425131 h 1016771"/>
                    <a:gd name="connsiteX108" fmla="*/ 543813 w 761692"/>
                    <a:gd name="connsiteY108" fmla="*/ 444616 h 1016771"/>
                    <a:gd name="connsiteX109" fmla="*/ 557984 w 761692"/>
                    <a:gd name="connsiteY109" fmla="*/ 462330 h 1016771"/>
                    <a:gd name="connsiteX110" fmla="*/ 570383 w 761692"/>
                    <a:gd name="connsiteY110" fmla="*/ 478272 h 1016771"/>
                    <a:gd name="connsiteX111" fmla="*/ 579240 w 761692"/>
                    <a:gd name="connsiteY111" fmla="*/ 485358 h 1016771"/>
                    <a:gd name="connsiteX112" fmla="*/ 602268 w 761692"/>
                    <a:gd name="connsiteY112" fmla="*/ 483586 h 1016771"/>
                    <a:gd name="connsiteX113" fmla="*/ 623525 w 761692"/>
                    <a:gd name="connsiteY113" fmla="*/ 474730 h 1016771"/>
                    <a:gd name="connsiteX114" fmla="*/ 639467 w 761692"/>
                    <a:gd name="connsiteY114" fmla="*/ 464101 h 1016771"/>
                    <a:gd name="connsiteX115" fmla="*/ 662495 w 761692"/>
                    <a:gd name="connsiteY115" fmla="*/ 464101 h 1016771"/>
                    <a:gd name="connsiteX116" fmla="*/ 673123 w 761692"/>
                    <a:gd name="connsiteY116" fmla="*/ 464101 h 1016771"/>
                    <a:gd name="connsiteX117" fmla="*/ 681980 w 761692"/>
                    <a:gd name="connsiteY117" fmla="*/ 467644 h 1016771"/>
                    <a:gd name="connsiteX118" fmla="*/ 703237 w 761692"/>
                    <a:gd name="connsiteY118" fmla="*/ 471187 h 1016771"/>
                    <a:gd name="connsiteX119" fmla="*/ 708551 w 761692"/>
                    <a:gd name="connsiteY119" fmla="*/ 474730 h 1016771"/>
                    <a:gd name="connsiteX120" fmla="*/ 722722 w 761692"/>
                    <a:gd name="connsiteY120" fmla="*/ 501300 h 1016771"/>
                    <a:gd name="connsiteX121" fmla="*/ 724493 w 761692"/>
                    <a:gd name="connsiteY121" fmla="*/ 522557 h 1016771"/>
                    <a:gd name="connsiteX122" fmla="*/ 722722 w 761692"/>
                    <a:gd name="connsiteY122" fmla="*/ 540271 h 1016771"/>
                    <a:gd name="connsiteX123" fmla="*/ 735121 w 761692"/>
                    <a:gd name="connsiteY123" fmla="*/ 552670 h 1016771"/>
                    <a:gd name="connsiteX124" fmla="*/ 735121 w 761692"/>
                    <a:gd name="connsiteY124" fmla="*/ 570384 h 1016771"/>
                    <a:gd name="connsiteX125" fmla="*/ 751064 w 761692"/>
                    <a:gd name="connsiteY125" fmla="*/ 581012 h 1016771"/>
                    <a:gd name="connsiteX126" fmla="*/ 761692 w 761692"/>
                    <a:gd name="connsiteY126" fmla="*/ 604040 h 1016771"/>
                    <a:gd name="connsiteX127" fmla="*/ 747521 w 761692"/>
                    <a:gd name="connsiteY127" fmla="*/ 616440 h 1016771"/>
                    <a:gd name="connsiteX128" fmla="*/ 728036 w 761692"/>
                    <a:gd name="connsiteY128" fmla="*/ 627068 h 1016771"/>
                    <a:gd name="connsiteX129" fmla="*/ 726264 w 761692"/>
                    <a:gd name="connsiteY129" fmla="*/ 650096 h 1016771"/>
                    <a:gd name="connsiteX130" fmla="*/ 728036 w 761692"/>
                    <a:gd name="connsiteY130" fmla="*/ 673124 h 1016771"/>
                    <a:gd name="connsiteX131" fmla="*/ 742207 w 761692"/>
                    <a:gd name="connsiteY131" fmla="*/ 689066 h 1016771"/>
                    <a:gd name="connsiteX132" fmla="*/ 742207 w 761692"/>
                    <a:gd name="connsiteY132" fmla="*/ 712094 h 1016771"/>
                    <a:gd name="connsiteX133" fmla="*/ 740435 w 761692"/>
                    <a:gd name="connsiteY133" fmla="*/ 735122 h 1016771"/>
                    <a:gd name="connsiteX134" fmla="*/ 742207 w 761692"/>
                    <a:gd name="connsiteY134" fmla="*/ 751065 h 1016771"/>
                    <a:gd name="connsiteX135" fmla="*/ 747521 w 761692"/>
                    <a:gd name="connsiteY135" fmla="*/ 768778 h 1016771"/>
                    <a:gd name="connsiteX136" fmla="*/ 759921 w 761692"/>
                    <a:gd name="connsiteY136" fmla="*/ 777635 h 1016771"/>
                    <a:gd name="connsiteX137" fmla="*/ 758149 w 761692"/>
                    <a:gd name="connsiteY137" fmla="*/ 802434 h 1016771"/>
                    <a:gd name="connsiteX138" fmla="*/ 752835 w 761692"/>
                    <a:gd name="connsiteY138" fmla="*/ 814834 h 1016771"/>
                    <a:gd name="connsiteX139" fmla="*/ 743978 w 761692"/>
                    <a:gd name="connsiteY139" fmla="*/ 827234 h 1016771"/>
                    <a:gd name="connsiteX140" fmla="*/ 743978 w 761692"/>
                    <a:gd name="connsiteY140" fmla="*/ 837862 h 1016771"/>
                    <a:gd name="connsiteX141" fmla="*/ 747521 w 761692"/>
                    <a:gd name="connsiteY141" fmla="*/ 853804 h 1016771"/>
                    <a:gd name="connsiteX142" fmla="*/ 733350 w 761692"/>
                    <a:gd name="connsiteY142" fmla="*/ 867975 h 1016771"/>
                    <a:gd name="connsiteX143" fmla="*/ 724493 w 761692"/>
                    <a:gd name="connsiteY143" fmla="*/ 880375 h 1016771"/>
                    <a:gd name="connsiteX144" fmla="*/ 722722 w 761692"/>
                    <a:gd name="connsiteY144" fmla="*/ 899860 h 1016771"/>
                    <a:gd name="connsiteX145" fmla="*/ 722722 w 761692"/>
                    <a:gd name="connsiteY145" fmla="*/ 919345 h 1016771"/>
                    <a:gd name="connsiteX146" fmla="*/ 715636 w 761692"/>
                    <a:gd name="connsiteY146" fmla="*/ 940602 h 1016771"/>
                    <a:gd name="connsiteX147" fmla="*/ 708551 w 761692"/>
                    <a:gd name="connsiteY147" fmla="*/ 954773 h 1016771"/>
                    <a:gd name="connsiteX148" fmla="*/ 699694 w 761692"/>
                    <a:gd name="connsiteY148" fmla="*/ 965401 h 1016771"/>
                    <a:gd name="connsiteX149" fmla="*/ 692608 w 761692"/>
                    <a:gd name="connsiteY149" fmla="*/ 984886 h 1016771"/>
                    <a:gd name="connsiteX150" fmla="*/ 683751 w 761692"/>
                    <a:gd name="connsiteY150" fmla="*/ 997286 h 1016771"/>
                    <a:gd name="connsiteX151" fmla="*/ 673123 w 761692"/>
                    <a:gd name="connsiteY151" fmla="*/ 1002600 h 1016771"/>
                    <a:gd name="connsiteX152" fmla="*/ 662495 w 761692"/>
                    <a:gd name="connsiteY152" fmla="*/ 1013228 h 1016771"/>
                    <a:gd name="connsiteX153" fmla="*/ 644781 w 761692"/>
                    <a:gd name="connsiteY153" fmla="*/ 1016771 h 1016771"/>
                    <a:gd name="connsiteX154" fmla="*/ 635924 w 761692"/>
                    <a:gd name="connsiteY154" fmla="*/ 1004372 h 1016771"/>
                    <a:gd name="connsiteX155" fmla="*/ 623525 w 761692"/>
                    <a:gd name="connsiteY155" fmla="*/ 997286 h 1016771"/>
                    <a:gd name="connsiteX156" fmla="*/ 614668 w 761692"/>
                    <a:gd name="connsiteY156" fmla="*/ 986658 h 1016771"/>
                    <a:gd name="connsiteX157" fmla="*/ 593411 w 761692"/>
                    <a:gd name="connsiteY157" fmla="*/ 970715 h 1016771"/>
                    <a:gd name="connsiteX158" fmla="*/ 582783 w 761692"/>
                    <a:gd name="connsiteY158" fmla="*/ 965401 h 1016771"/>
                    <a:gd name="connsiteX159" fmla="*/ 531413 w 761692"/>
                    <a:gd name="connsiteY159" fmla="*/ 965401 h 1016771"/>
                    <a:gd name="connsiteX160" fmla="*/ 511928 w 761692"/>
                    <a:gd name="connsiteY160" fmla="*/ 965401 h 1016771"/>
                    <a:gd name="connsiteX161" fmla="*/ 492443 w 761692"/>
                    <a:gd name="connsiteY161" fmla="*/ 963630 h 1016771"/>
                    <a:gd name="connsiteX162" fmla="*/ 483586 w 761692"/>
                    <a:gd name="connsiteY162" fmla="*/ 958316 h 1016771"/>
                    <a:gd name="connsiteX163" fmla="*/ 469415 w 761692"/>
                    <a:gd name="connsiteY163" fmla="*/ 954773 h 1016771"/>
                    <a:gd name="connsiteX164" fmla="*/ 460558 w 761692"/>
                    <a:gd name="connsiteY164" fmla="*/ 942373 h 1016771"/>
                    <a:gd name="connsiteX165" fmla="*/ 446387 w 761692"/>
                    <a:gd name="connsiteY165" fmla="*/ 935288 h 1016771"/>
                    <a:gd name="connsiteX166" fmla="*/ 428673 w 761692"/>
                    <a:gd name="connsiteY166" fmla="*/ 928202 h 1016771"/>
                    <a:gd name="connsiteX167" fmla="*/ 418045 w 761692"/>
                    <a:gd name="connsiteY167" fmla="*/ 917574 h 1016771"/>
                    <a:gd name="connsiteX168" fmla="*/ 421588 w 761692"/>
                    <a:gd name="connsiteY168" fmla="*/ 903403 h 1016771"/>
                    <a:gd name="connsiteX169" fmla="*/ 418045 w 761692"/>
                    <a:gd name="connsiteY169" fmla="*/ 898089 h 1016771"/>
                    <a:gd name="connsiteX170" fmla="*/ 396788 w 761692"/>
                    <a:gd name="connsiteY170" fmla="*/ 898089 h 1016771"/>
                    <a:gd name="connsiteX171" fmla="*/ 382617 w 761692"/>
                    <a:gd name="connsiteY171" fmla="*/ 896318 h 1016771"/>
                    <a:gd name="connsiteX172" fmla="*/ 380846 w 761692"/>
                    <a:gd name="connsiteY172" fmla="*/ 906946 h 1016771"/>
                    <a:gd name="connsiteX173" fmla="*/ 347190 w 761692"/>
                    <a:gd name="connsiteY173" fmla="*/ 915803 h 1016771"/>
                    <a:gd name="connsiteX174" fmla="*/ 342700 w 761692"/>
                    <a:gd name="connsiteY174" fmla="*/ 914149 h 1016771"/>
                    <a:gd name="connsiteX175" fmla="*/ 365124 w 761692"/>
                    <a:gd name="connsiteY175" fmla="*/ 913481 h 1016771"/>
                    <a:gd name="connsiteX176" fmla="*/ 371906 w 761692"/>
                    <a:gd name="connsiteY176" fmla="*/ 905004 h 1016771"/>
                    <a:gd name="connsiteX177" fmla="*/ 373601 w 761692"/>
                    <a:gd name="connsiteY177" fmla="*/ 894832 h 1016771"/>
                    <a:gd name="connsiteX178" fmla="*/ 387164 w 761692"/>
                    <a:gd name="connsiteY178" fmla="*/ 896527 h 1016771"/>
                    <a:gd name="connsiteX179" fmla="*/ 383773 w 761692"/>
                    <a:gd name="connsiteY179" fmla="*/ 886355 h 1016771"/>
                    <a:gd name="connsiteX180" fmla="*/ 387164 w 761692"/>
                    <a:gd name="connsiteY180" fmla="*/ 876183 h 1016771"/>
                    <a:gd name="connsiteX181" fmla="*/ 388859 w 761692"/>
                    <a:gd name="connsiteY181" fmla="*/ 867707 h 1016771"/>
                    <a:gd name="connsiteX182" fmla="*/ 380382 w 761692"/>
                    <a:gd name="connsiteY182" fmla="*/ 859230 h 1016771"/>
                    <a:gd name="connsiteX183" fmla="*/ 373601 w 761692"/>
                    <a:gd name="connsiteY183" fmla="*/ 849058 h 1016771"/>
                    <a:gd name="connsiteX184" fmla="*/ 380382 w 761692"/>
                    <a:gd name="connsiteY184" fmla="*/ 838886 h 1016771"/>
                    <a:gd name="connsiteX185" fmla="*/ 383773 w 761692"/>
                    <a:gd name="connsiteY185" fmla="*/ 833800 h 1016771"/>
                    <a:gd name="connsiteX186" fmla="*/ 388859 w 761692"/>
                    <a:gd name="connsiteY186" fmla="*/ 825324 h 1016771"/>
                    <a:gd name="connsiteX187" fmla="*/ 387164 w 761692"/>
                    <a:gd name="connsiteY187" fmla="*/ 810066 h 1016771"/>
                    <a:gd name="connsiteX188" fmla="*/ 387164 w 761692"/>
                    <a:gd name="connsiteY188" fmla="*/ 796503 h 1016771"/>
                    <a:gd name="connsiteX189" fmla="*/ 378687 w 761692"/>
                    <a:gd name="connsiteY189" fmla="*/ 789722 h 1016771"/>
                    <a:gd name="connsiteX190" fmla="*/ 366820 w 761692"/>
                    <a:gd name="connsiteY190" fmla="*/ 782940 h 1016771"/>
                    <a:gd name="connsiteX191" fmla="*/ 356648 w 761692"/>
                    <a:gd name="connsiteY191" fmla="*/ 781245 h 1016771"/>
                    <a:gd name="connsiteX192" fmla="*/ 349866 w 761692"/>
                    <a:gd name="connsiteY192" fmla="*/ 771073 h 1016771"/>
                    <a:gd name="connsiteX193" fmla="*/ 349866 w 761692"/>
                    <a:gd name="connsiteY193" fmla="*/ 752425 h 1016771"/>
                    <a:gd name="connsiteX194" fmla="*/ 353257 w 761692"/>
                    <a:gd name="connsiteY194" fmla="*/ 743948 h 1016771"/>
                    <a:gd name="connsiteX195" fmla="*/ 354952 w 761692"/>
                    <a:gd name="connsiteY195" fmla="*/ 730385 h 1016771"/>
                    <a:gd name="connsiteX196" fmla="*/ 353257 w 761692"/>
                    <a:gd name="connsiteY196" fmla="*/ 713432 h 1016771"/>
                    <a:gd name="connsiteX197" fmla="*/ 346476 w 761692"/>
                    <a:gd name="connsiteY197" fmla="*/ 701565 h 1016771"/>
                    <a:gd name="connsiteX198" fmla="*/ 332913 w 761692"/>
                    <a:gd name="connsiteY198" fmla="*/ 689697 h 1016771"/>
                    <a:gd name="connsiteX199" fmla="*/ 324436 w 761692"/>
                    <a:gd name="connsiteY199" fmla="*/ 681221 h 1016771"/>
                    <a:gd name="connsiteX200" fmla="*/ 314264 w 761692"/>
                    <a:gd name="connsiteY200" fmla="*/ 676135 h 1016771"/>
                    <a:gd name="connsiteX201" fmla="*/ 293920 w 761692"/>
                    <a:gd name="connsiteY201" fmla="*/ 669354 h 1016771"/>
                    <a:gd name="connsiteX202" fmla="*/ 282053 w 761692"/>
                    <a:gd name="connsiteY202" fmla="*/ 667658 h 1016771"/>
                    <a:gd name="connsiteX203" fmla="*/ 266795 w 761692"/>
                    <a:gd name="connsiteY203" fmla="*/ 672744 h 1016771"/>
                    <a:gd name="connsiteX204" fmla="*/ 265100 w 761692"/>
                    <a:gd name="connsiteY204" fmla="*/ 672744 h 1016771"/>
                    <a:gd name="connsiteX205" fmla="*/ 263404 w 761692"/>
                    <a:gd name="connsiteY205" fmla="*/ 671049 h 1016771"/>
                    <a:gd name="connsiteX206" fmla="*/ 260014 w 761692"/>
                    <a:gd name="connsiteY206" fmla="*/ 671049 h 1016771"/>
                    <a:gd name="connsiteX207" fmla="*/ 258318 w 761692"/>
                    <a:gd name="connsiteY207" fmla="*/ 671049 h 1016771"/>
                    <a:gd name="connsiteX208" fmla="*/ 253232 w 761692"/>
                    <a:gd name="connsiteY208" fmla="*/ 671049 h 1016771"/>
                    <a:gd name="connsiteX209" fmla="*/ 248146 w 761692"/>
                    <a:gd name="connsiteY209" fmla="*/ 672744 h 1016771"/>
                    <a:gd name="connsiteX210" fmla="*/ 248146 w 761692"/>
                    <a:gd name="connsiteY210" fmla="*/ 674440 h 1016771"/>
                    <a:gd name="connsiteX211" fmla="*/ 246451 w 761692"/>
                    <a:gd name="connsiteY211" fmla="*/ 674440 h 1016771"/>
                    <a:gd name="connsiteX212" fmla="*/ 236279 w 761692"/>
                    <a:gd name="connsiteY212" fmla="*/ 679526 h 1016771"/>
                    <a:gd name="connsiteX213" fmla="*/ 226107 w 761692"/>
                    <a:gd name="connsiteY213" fmla="*/ 684612 h 1016771"/>
                    <a:gd name="connsiteX214" fmla="*/ 217630 w 761692"/>
                    <a:gd name="connsiteY214" fmla="*/ 684612 h 1016771"/>
                    <a:gd name="connsiteX215" fmla="*/ 207458 w 761692"/>
                    <a:gd name="connsiteY215" fmla="*/ 693088 h 1016771"/>
                    <a:gd name="connsiteX216" fmla="*/ 198982 w 761692"/>
                    <a:gd name="connsiteY216" fmla="*/ 694783 h 1016771"/>
                    <a:gd name="connsiteX217" fmla="*/ 192200 w 761692"/>
                    <a:gd name="connsiteY217" fmla="*/ 699869 h 1016771"/>
                    <a:gd name="connsiteX218" fmla="*/ 178638 w 761692"/>
                    <a:gd name="connsiteY218" fmla="*/ 706651 h 1016771"/>
                    <a:gd name="connsiteX219" fmla="*/ 163380 w 761692"/>
                    <a:gd name="connsiteY219" fmla="*/ 710041 h 1016771"/>
                    <a:gd name="connsiteX220" fmla="*/ 141340 w 761692"/>
                    <a:gd name="connsiteY220" fmla="*/ 710041 h 1016771"/>
                    <a:gd name="connsiteX221" fmla="*/ 134559 w 761692"/>
                    <a:gd name="connsiteY221" fmla="*/ 716823 h 1016771"/>
                    <a:gd name="connsiteX222" fmla="*/ 127778 w 761692"/>
                    <a:gd name="connsiteY222" fmla="*/ 718518 h 1016771"/>
                    <a:gd name="connsiteX223" fmla="*/ 120996 w 761692"/>
                    <a:gd name="connsiteY223" fmla="*/ 725299 h 1016771"/>
                    <a:gd name="connsiteX224" fmla="*/ 111172 w 761692"/>
                    <a:gd name="connsiteY224" fmla="*/ 733720 h 1016771"/>
                    <a:gd name="connsiteX225" fmla="*/ 106283 w 761692"/>
                    <a:gd name="connsiteY225" fmla="*/ 729808 h 1016771"/>
                    <a:gd name="connsiteX226" fmla="*/ 92112 w 761692"/>
                    <a:gd name="connsiteY226" fmla="*/ 724494 h 1016771"/>
                    <a:gd name="connsiteX227" fmla="*/ 77941 w 761692"/>
                    <a:gd name="connsiteY227" fmla="*/ 726265 h 1016771"/>
                    <a:gd name="connsiteX228" fmla="*/ 70855 w 761692"/>
                    <a:gd name="connsiteY228" fmla="*/ 719180 h 1016771"/>
                    <a:gd name="connsiteX229" fmla="*/ 70855 w 761692"/>
                    <a:gd name="connsiteY229" fmla="*/ 699695 h 1016771"/>
                    <a:gd name="connsiteX230" fmla="*/ 81483 w 761692"/>
                    <a:gd name="connsiteY230" fmla="*/ 685524 h 1016771"/>
                    <a:gd name="connsiteX231" fmla="*/ 85026 w 761692"/>
                    <a:gd name="connsiteY231" fmla="*/ 673124 h 1016771"/>
                    <a:gd name="connsiteX232" fmla="*/ 86797 w 761692"/>
                    <a:gd name="connsiteY232" fmla="*/ 660724 h 1016771"/>
                    <a:gd name="connsiteX233" fmla="*/ 97426 w 761692"/>
                    <a:gd name="connsiteY233" fmla="*/ 650096 h 1016771"/>
                    <a:gd name="connsiteX234" fmla="*/ 102740 w 761692"/>
                    <a:gd name="connsiteY234" fmla="*/ 635925 h 1016771"/>
                    <a:gd name="connsiteX235" fmla="*/ 113368 w 761692"/>
                    <a:gd name="connsiteY235" fmla="*/ 625297 h 1016771"/>
                    <a:gd name="connsiteX236" fmla="*/ 115139 w 761692"/>
                    <a:gd name="connsiteY236" fmla="*/ 612897 h 1016771"/>
                    <a:gd name="connsiteX237" fmla="*/ 127539 w 761692"/>
                    <a:gd name="connsiteY237" fmla="*/ 609354 h 1016771"/>
                    <a:gd name="connsiteX238" fmla="*/ 136396 w 761692"/>
                    <a:gd name="connsiteY238" fmla="*/ 604040 h 1016771"/>
                    <a:gd name="connsiteX239" fmla="*/ 132853 w 761692"/>
                    <a:gd name="connsiteY239" fmla="*/ 593412 h 1016771"/>
                    <a:gd name="connsiteX240" fmla="*/ 134625 w 761692"/>
                    <a:gd name="connsiteY240" fmla="*/ 584555 h 1016771"/>
                    <a:gd name="connsiteX241" fmla="*/ 131082 w 761692"/>
                    <a:gd name="connsiteY241" fmla="*/ 575698 h 1016771"/>
                    <a:gd name="connsiteX242" fmla="*/ 120454 w 761692"/>
                    <a:gd name="connsiteY242" fmla="*/ 568613 h 1016771"/>
                    <a:gd name="connsiteX243" fmla="*/ 125768 w 761692"/>
                    <a:gd name="connsiteY243" fmla="*/ 552670 h 1016771"/>
                    <a:gd name="connsiteX244" fmla="*/ 118682 w 761692"/>
                    <a:gd name="connsiteY244" fmla="*/ 543813 h 1016771"/>
                    <a:gd name="connsiteX245" fmla="*/ 90340 w 761692"/>
                    <a:gd name="connsiteY245" fmla="*/ 543813 h 1016771"/>
                    <a:gd name="connsiteX246" fmla="*/ 86797 w 761692"/>
                    <a:gd name="connsiteY246" fmla="*/ 542042 h 1016771"/>
                    <a:gd name="connsiteX247" fmla="*/ 83255 w 761692"/>
                    <a:gd name="connsiteY247" fmla="*/ 542042 h 1016771"/>
                    <a:gd name="connsiteX248" fmla="*/ 81483 w 761692"/>
                    <a:gd name="connsiteY248" fmla="*/ 540271 h 1016771"/>
                    <a:gd name="connsiteX249" fmla="*/ 81483 w 761692"/>
                    <a:gd name="connsiteY249" fmla="*/ 536728 h 1016771"/>
                    <a:gd name="connsiteX250" fmla="*/ 79712 w 761692"/>
                    <a:gd name="connsiteY250" fmla="*/ 531414 h 1016771"/>
                    <a:gd name="connsiteX251" fmla="*/ 77941 w 761692"/>
                    <a:gd name="connsiteY251" fmla="*/ 529642 h 1016771"/>
                    <a:gd name="connsiteX252" fmla="*/ 70855 w 761692"/>
                    <a:gd name="connsiteY252" fmla="*/ 527871 h 1016771"/>
                    <a:gd name="connsiteX253" fmla="*/ 60227 w 761692"/>
                    <a:gd name="connsiteY253" fmla="*/ 536728 h 1016771"/>
                    <a:gd name="connsiteX254" fmla="*/ 47827 w 761692"/>
                    <a:gd name="connsiteY254" fmla="*/ 526100 h 1016771"/>
                    <a:gd name="connsiteX255" fmla="*/ 42513 w 761692"/>
                    <a:gd name="connsiteY255" fmla="*/ 515471 h 1016771"/>
                    <a:gd name="connsiteX256" fmla="*/ 33656 w 761692"/>
                    <a:gd name="connsiteY256" fmla="*/ 506614 h 1016771"/>
                    <a:gd name="connsiteX257" fmla="*/ 31885 w 761692"/>
                    <a:gd name="connsiteY257" fmla="*/ 490672 h 1016771"/>
                    <a:gd name="connsiteX258" fmla="*/ 26571 w 761692"/>
                    <a:gd name="connsiteY258" fmla="*/ 476501 h 1016771"/>
                    <a:gd name="connsiteX259" fmla="*/ 24799 w 761692"/>
                    <a:gd name="connsiteY259" fmla="*/ 471187 h 1016771"/>
                    <a:gd name="connsiteX260" fmla="*/ 12400 w 761692"/>
                    <a:gd name="connsiteY260" fmla="*/ 472958 h 1016771"/>
                    <a:gd name="connsiteX261" fmla="*/ 7086 w 761692"/>
                    <a:gd name="connsiteY261" fmla="*/ 464101 h 1016771"/>
                    <a:gd name="connsiteX262" fmla="*/ 8857 w 761692"/>
                    <a:gd name="connsiteY262" fmla="*/ 446388 h 1016771"/>
                    <a:gd name="connsiteX263" fmla="*/ 3543 w 761692"/>
                    <a:gd name="connsiteY263" fmla="*/ 435759 h 1016771"/>
                    <a:gd name="connsiteX264" fmla="*/ 5314 w 761692"/>
                    <a:gd name="connsiteY264" fmla="*/ 412731 h 1016771"/>
                    <a:gd name="connsiteX265" fmla="*/ 0 w 761692"/>
                    <a:gd name="connsiteY265" fmla="*/ 396789 h 1016771"/>
                    <a:gd name="connsiteX266" fmla="*/ 3543 w 761692"/>
                    <a:gd name="connsiteY266" fmla="*/ 384389 h 1016771"/>
                    <a:gd name="connsiteX267" fmla="*/ 14171 w 761692"/>
                    <a:gd name="connsiteY267" fmla="*/ 380846 h 1016771"/>
                    <a:gd name="connsiteX268" fmla="*/ 24799 w 761692"/>
                    <a:gd name="connsiteY268" fmla="*/ 364904 h 1016771"/>
                    <a:gd name="connsiteX269" fmla="*/ 30113 w 761692"/>
                    <a:gd name="connsiteY269" fmla="*/ 350733 h 1016771"/>
                    <a:gd name="connsiteX270" fmla="*/ 35428 w 761692"/>
                    <a:gd name="connsiteY270" fmla="*/ 341876 h 1016771"/>
                    <a:gd name="connsiteX271" fmla="*/ 42513 w 761692"/>
                    <a:gd name="connsiteY271" fmla="*/ 327705 h 1016771"/>
                    <a:gd name="connsiteX272" fmla="*/ 42513 w 761692"/>
                    <a:gd name="connsiteY272" fmla="*/ 315305 h 1016771"/>
                    <a:gd name="connsiteX273" fmla="*/ 56684 w 761692"/>
                    <a:gd name="connsiteY273" fmla="*/ 309991 h 1016771"/>
                    <a:gd name="connsiteX274" fmla="*/ 60227 w 761692"/>
                    <a:gd name="connsiteY274" fmla="*/ 309991 h 1016771"/>
                    <a:gd name="connsiteX275" fmla="*/ 61998 w 761692"/>
                    <a:gd name="connsiteY275" fmla="*/ 311763 h 1016771"/>
                    <a:gd name="connsiteX276" fmla="*/ 67312 w 761692"/>
                    <a:gd name="connsiteY276" fmla="*/ 311763 h 1016771"/>
                    <a:gd name="connsiteX277" fmla="*/ 67312 w 761692"/>
                    <a:gd name="connsiteY277" fmla="*/ 309991 h 1016771"/>
                    <a:gd name="connsiteX278" fmla="*/ 67312 w 761692"/>
                    <a:gd name="connsiteY278" fmla="*/ 308220 h 1016771"/>
                    <a:gd name="connsiteX279" fmla="*/ 69084 w 761692"/>
                    <a:gd name="connsiteY279" fmla="*/ 302906 h 1016771"/>
                    <a:gd name="connsiteX280" fmla="*/ 70855 w 761692"/>
                    <a:gd name="connsiteY280" fmla="*/ 301134 h 1016771"/>
                    <a:gd name="connsiteX281" fmla="*/ 70855 w 761692"/>
                    <a:gd name="connsiteY281" fmla="*/ 299363 h 1016771"/>
                    <a:gd name="connsiteX282" fmla="*/ 77941 w 761692"/>
                    <a:gd name="connsiteY282" fmla="*/ 295820 h 1016771"/>
                    <a:gd name="connsiteX283" fmla="*/ 85026 w 761692"/>
                    <a:gd name="connsiteY283" fmla="*/ 295820 h 1016771"/>
                    <a:gd name="connsiteX284" fmla="*/ 93883 w 761692"/>
                    <a:gd name="connsiteY284" fmla="*/ 297592 h 1016771"/>
                    <a:gd name="connsiteX285" fmla="*/ 100968 w 761692"/>
                    <a:gd name="connsiteY285" fmla="*/ 288735 h 1016771"/>
                    <a:gd name="connsiteX286" fmla="*/ 97426 w 761692"/>
                    <a:gd name="connsiteY286" fmla="*/ 279878 h 1016771"/>
                    <a:gd name="connsiteX287" fmla="*/ 85026 w 761692"/>
                    <a:gd name="connsiteY287" fmla="*/ 276335 h 1016771"/>
                    <a:gd name="connsiteX288" fmla="*/ 76169 w 761692"/>
                    <a:gd name="connsiteY288" fmla="*/ 271021 h 1016771"/>
                    <a:gd name="connsiteX289" fmla="*/ 76169 w 761692"/>
                    <a:gd name="connsiteY289" fmla="*/ 262164 h 1016771"/>
                    <a:gd name="connsiteX290" fmla="*/ 81483 w 761692"/>
                    <a:gd name="connsiteY290" fmla="*/ 251536 h 1016771"/>
                    <a:gd name="connsiteX291" fmla="*/ 86797 w 761692"/>
                    <a:gd name="connsiteY291" fmla="*/ 255079 h 1016771"/>
                    <a:gd name="connsiteX292" fmla="*/ 104511 w 761692"/>
                    <a:gd name="connsiteY292" fmla="*/ 262164 h 1016771"/>
                    <a:gd name="connsiteX293" fmla="*/ 116911 w 761692"/>
                    <a:gd name="connsiteY293" fmla="*/ 265707 h 1016771"/>
                    <a:gd name="connsiteX294" fmla="*/ 132853 w 761692"/>
                    <a:gd name="connsiteY294" fmla="*/ 269250 h 1016771"/>
                    <a:gd name="connsiteX295" fmla="*/ 138167 w 761692"/>
                    <a:gd name="connsiteY295" fmla="*/ 265707 h 1016771"/>
                    <a:gd name="connsiteX296" fmla="*/ 150567 w 761692"/>
                    <a:gd name="connsiteY296" fmla="*/ 255079 h 1016771"/>
                    <a:gd name="connsiteX297" fmla="*/ 166509 w 761692"/>
                    <a:gd name="connsiteY297" fmla="*/ 255079 h 1016771"/>
                    <a:gd name="connsiteX298" fmla="*/ 166509 w 761692"/>
                    <a:gd name="connsiteY298" fmla="*/ 265707 h 1016771"/>
                    <a:gd name="connsiteX299" fmla="*/ 177138 w 761692"/>
                    <a:gd name="connsiteY299" fmla="*/ 272792 h 1016771"/>
                    <a:gd name="connsiteX300" fmla="*/ 194851 w 761692"/>
                    <a:gd name="connsiteY300" fmla="*/ 276335 h 1016771"/>
                    <a:gd name="connsiteX301" fmla="*/ 209022 w 761692"/>
                    <a:gd name="connsiteY301" fmla="*/ 279878 h 1016771"/>
                    <a:gd name="connsiteX302" fmla="*/ 221422 w 761692"/>
                    <a:gd name="connsiteY302" fmla="*/ 276335 h 1016771"/>
                    <a:gd name="connsiteX303" fmla="*/ 226736 w 761692"/>
                    <a:gd name="connsiteY303" fmla="*/ 269250 h 1016771"/>
                    <a:gd name="connsiteX304" fmla="*/ 226736 w 761692"/>
                    <a:gd name="connsiteY304" fmla="*/ 251536 h 1016771"/>
                    <a:gd name="connsiteX305" fmla="*/ 224965 w 761692"/>
                    <a:gd name="connsiteY305" fmla="*/ 239136 h 1016771"/>
                    <a:gd name="connsiteX306" fmla="*/ 214337 w 761692"/>
                    <a:gd name="connsiteY306" fmla="*/ 230279 h 1016771"/>
                    <a:gd name="connsiteX307" fmla="*/ 210794 w 761692"/>
                    <a:gd name="connsiteY307" fmla="*/ 217880 h 1016771"/>
                    <a:gd name="connsiteX308" fmla="*/ 221422 w 761692"/>
                    <a:gd name="connsiteY308" fmla="*/ 207251 h 1016771"/>
                    <a:gd name="connsiteX309" fmla="*/ 235593 w 761692"/>
                    <a:gd name="connsiteY309" fmla="*/ 214337 h 1016771"/>
                    <a:gd name="connsiteX310" fmla="*/ 246221 w 761692"/>
                    <a:gd name="connsiteY310" fmla="*/ 219651 h 1016771"/>
                    <a:gd name="connsiteX311" fmla="*/ 253307 w 761692"/>
                    <a:gd name="connsiteY311" fmla="*/ 221422 h 1016771"/>
                    <a:gd name="connsiteX312" fmla="*/ 262164 w 761692"/>
                    <a:gd name="connsiteY312" fmla="*/ 210794 h 1016771"/>
                    <a:gd name="connsiteX313" fmla="*/ 263935 w 761692"/>
                    <a:gd name="connsiteY313" fmla="*/ 201937 h 1016771"/>
                    <a:gd name="connsiteX314" fmla="*/ 274563 w 761692"/>
                    <a:gd name="connsiteY314" fmla="*/ 189538 h 1016771"/>
                    <a:gd name="connsiteX315" fmla="*/ 283420 w 761692"/>
                    <a:gd name="connsiteY315" fmla="*/ 178909 h 1016771"/>
                    <a:gd name="connsiteX316" fmla="*/ 286963 w 761692"/>
                    <a:gd name="connsiteY316" fmla="*/ 173595 h 1016771"/>
                    <a:gd name="connsiteX317" fmla="*/ 311762 w 761692"/>
                    <a:gd name="connsiteY317" fmla="*/ 168281 h 1016771"/>
                    <a:gd name="connsiteX318" fmla="*/ 325933 w 761692"/>
                    <a:gd name="connsiteY318" fmla="*/ 164738 h 1016771"/>
                    <a:gd name="connsiteX319" fmla="*/ 336562 w 761692"/>
                    <a:gd name="connsiteY319" fmla="*/ 159424 h 1016771"/>
                    <a:gd name="connsiteX320" fmla="*/ 348961 w 761692"/>
                    <a:gd name="connsiteY320" fmla="*/ 145253 h 1016771"/>
                    <a:gd name="connsiteX321" fmla="*/ 359589 w 761692"/>
                    <a:gd name="connsiteY321" fmla="*/ 143482 h 1016771"/>
                    <a:gd name="connsiteX322" fmla="*/ 371989 w 761692"/>
                    <a:gd name="connsiteY322" fmla="*/ 143482 h 1016771"/>
                    <a:gd name="connsiteX323" fmla="*/ 391474 w 761692"/>
                    <a:gd name="connsiteY323" fmla="*/ 143482 h 1016771"/>
                    <a:gd name="connsiteX324" fmla="*/ 396788 w 761692"/>
                    <a:gd name="connsiteY324" fmla="*/ 141710 h 1016771"/>
                    <a:gd name="connsiteX325" fmla="*/ 403874 w 761692"/>
                    <a:gd name="connsiteY325" fmla="*/ 134625 h 1016771"/>
                    <a:gd name="connsiteX326" fmla="*/ 409188 w 761692"/>
                    <a:gd name="connsiteY326" fmla="*/ 129311 h 1016771"/>
                    <a:gd name="connsiteX327" fmla="*/ 409188 w 761692"/>
                    <a:gd name="connsiteY327" fmla="*/ 123997 h 1016771"/>
                    <a:gd name="connsiteX328" fmla="*/ 414502 w 761692"/>
                    <a:gd name="connsiteY328" fmla="*/ 115140 h 1016771"/>
                    <a:gd name="connsiteX329" fmla="*/ 428673 w 761692"/>
                    <a:gd name="connsiteY329" fmla="*/ 115140 h 1016771"/>
                    <a:gd name="connsiteX330" fmla="*/ 432216 w 761692"/>
                    <a:gd name="connsiteY330" fmla="*/ 109826 h 1016771"/>
                    <a:gd name="connsiteX331" fmla="*/ 437530 w 761692"/>
                    <a:gd name="connsiteY331" fmla="*/ 100969 h 1016771"/>
                    <a:gd name="connsiteX332" fmla="*/ 448158 w 761692"/>
                    <a:gd name="connsiteY332" fmla="*/ 99197 h 1016771"/>
                    <a:gd name="connsiteX333" fmla="*/ 460558 w 761692"/>
                    <a:gd name="connsiteY333" fmla="*/ 97426 h 1016771"/>
                    <a:gd name="connsiteX334" fmla="*/ 472958 w 761692"/>
                    <a:gd name="connsiteY334" fmla="*/ 93883 h 1016771"/>
                    <a:gd name="connsiteX335" fmla="*/ 492443 w 761692"/>
                    <a:gd name="connsiteY335" fmla="*/ 93883 h 1016771"/>
                    <a:gd name="connsiteX336" fmla="*/ 501300 w 761692"/>
                    <a:gd name="connsiteY336" fmla="*/ 83255 h 1016771"/>
                    <a:gd name="connsiteX337" fmla="*/ 517242 w 761692"/>
                    <a:gd name="connsiteY337" fmla="*/ 81484 h 1016771"/>
                    <a:gd name="connsiteX338" fmla="*/ 522556 w 761692"/>
                    <a:gd name="connsiteY338" fmla="*/ 81484 h 1016771"/>
                    <a:gd name="connsiteX339" fmla="*/ 522556 w 761692"/>
                    <a:gd name="connsiteY339" fmla="*/ 60227 h 1016771"/>
                    <a:gd name="connsiteX340" fmla="*/ 526099 w 761692"/>
                    <a:gd name="connsiteY340" fmla="*/ 54913 h 1016771"/>
                    <a:gd name="connsiteX341" fmla="*/ 529642 w 761692"/>
                    <a:gd name="connsiteY341" fmla="*/ 46056 h 1016771"/>
                    <a:gd name="connsiteX342" fmla="*/ 538499 w 761692"/>
                    <a:gd name="connsiteY342" fmla="*/ 40742 h 1016771"/>
                    <a:gd name="connsiteX343" fmla="*/ 540270 w 761692"/>
                    <a:gd name="connsiteY343" fmla="*/ 30114 h 1016771"/>
                    <a:gd name="connsiteX344" fmla="*/ 536727 w 761692"/>
                    <a:gd name="connsiteY344" fmla="*/ 19485 h 1016771"/>
                    <a:gd name="connsiteX345" fmla="*/ 543813 w 761692"/>
                    <a:gd name="connsiteY345" fmla="*/ 5314 h 1016771"/>
                    <a:gd name="connsiteX346" fmla="*/ 554441 w 761692"/>
                    <a:gd name="connsiteY346" fmla="*/ 0 h 1016771"/>
                    <a:gd name="connsiteX0" fmla="*/ 293920 w 761692"/>
                    <a:gd name="connsiteY0" fmla="*/ 899918 h 1016771"/>
                    <a:gd name="connsiteX1" fmla="*/ 307483 w 761692"/>
                    <a:gd name="connsiteY1" fmla="*/ 901613 h 1016771"/>
                    <a:gd name="connsiteX2" fmla="*/ 311729 w 761692"/>
                    <a:gd name="connsiteY2" fmla="*/ 903178 h 1016771"/>
                    <a:gd name="connsiteX3" fmla="*/ 299363 w 761692"/>
                    <a:gd name="connsiteY3" fmla="*/ 901632 h 1016771"/>
                    <a:gd name="connsiteX4" fmla="*/ 288734 w 761692"/>
                    <a:gd name="connsiteY4" fmla="*/ 903403 h 1016771"/>
                    <a:gd name="connsiteX5" fmla="*/ 286963 w 761692"/>
                    <a:gd name="connsiteY5" fmla="*/ 910489 h 1016771"/>
                    <a:gd name="connsiteX6" fmla="*/ 283420 w 761692"/>
                    <a:gd name="connsiteY6" fmla="*/ 915803 h 1016771"/>
                    <a:gd name="connsiteX7" fmla="*/ 271021 w 761692"/>
                    <a:gd name="connsiteY7" fmla="*/ 912260 h 1016771"/>
                    <a:gd name="connsiteX8" fmla="*/ 270666 w 761692"/>
                    <a:gd name="connsiteY8" fmla="*/ 911196 h 1016771"/>
                    <a:gd name="connsiteX9" fmla="*/ 278662 w 761692"/>
                    <a:gd name="connsiteY9" fmla="*/ 913481 h 1016771"/>
                    <a:gd name="connsiteX10" fmla="*/ 282053 w 761692"/>
                    <a:gd name="connsiteY10" fmla="*/ 908395 h 1016771"/>
                    <a:gd name="connsiteX11" fmla="*/ 283748 w 761692"/>
                    <a:gd name="connsiteY11" fmla="*/ 901613 h 1016771"/>
                    <a:gd name="connsiteX12" fmla="*/ 293920 w 761692"/>
                    <a:gd name="connsiteY12" fmla="*/ 899918 h 1016771"/>
                    <a:gd name="connsiteX13" fmla="*/ 222919 w 761692"/>
                    <a:gd name="connsiteY13" fmla="*/ 879608 h 1016771"/>
                    <a:gd name="connsiteX14" fmla="*/ 243060 w 761692"/>
                    <a:gd name="connsiteY14" fmla="*/ 882965 h 1016771"/>
                    <a:gd name="connsiteX15" fmla="*/ 243990 w 761692"/>
                    <a:gd name="connsiteY15" fmla="*/ 883546 h 1016771"/>
                    <a:gd name="connsiteX16" fmla="*/ 224965 w 761692"/>
                    <a:gd name="connsiteY16" fmla="*/ 880375 h 1016771"/>
                    <a:gd name="connsiteX17" fmla="*/ 222919 w 761692"/>
                    <a:gd name="connsiteY17" fmla="*/ 879608 h 1016771"/>
                    <a:gd name="connsiteX18" fmla="*/ 159250 w 761692"/>
                    <a:gd name="connsiteY18" fmla="*/ 829179 h 1016771"/>
                    <a:gd name="connsiteX19" fmla="*/ 159989 w 761692"/>
                    <a:gd name="connsiteY19" fmla="*/ 830410 h 1016771"/>
                    <a:gd name="connsiteX20" fmla="*/ 151512 w 761692"/>
                    <a:gd name="connsiteY20" fmla="*/ 838886 h 1016771"/>
                    <a:gd name="connsiteX21" fmla="*/ 149817 w 761692"/>
                    <a:gd name="connsiteY21" fmla="*/ 840582 h 1016771"/>
                    <a:gd name="connsiteX22" fmla="*/ 148122 w 761692"/>
                    <a:gd name="connsiteY22" fmla="*/ 842277 h 1016771"/>
                    <a:gd name="connsiteX23" fmla="*/ 146426 w 761692"/>
                    <a:gd name="connsiteY23" fmla="*/ 843972 h 1016771"/>
                    <a:gd name="connsiteX24" fmla="*/ 141340 w 761692"/>
                    <a:gd name="connsiteY24" fmla="*/ 849058 h 1016771"/>
                    <a:gd name="connsiteX25" fmla="*/ 141340 w 761692"/>
                    <a:gd name="connsiteY25" fmla="*/ 850754 h 1016771"/>
                    <a:gd name="connsiteX26" fmla="*/ 139645 w 761692"/>
                    <a:gd name="connsiteY26" fmla="*/ 852449 h 1016771"/>
                    <a:gd name="connsiteX27" fmla="*/ 139645 w 761692"/>
                    <a:gd name="connsiteY27" fmla="*/ 860925 h 1016771"/>
                    <a:gd name="connsiteX28" fmla="*/ 148122 w 761692"/>
                    <a:gd name="connsiteY28" fmla="*/ 867707 h 1016771"/>
                    <a:gd name="connsiteX29" fmla="*/ 158294 w 761692"/>
                    <a:gd name="connsiteY29" fmla="*/ 879574 h 1016771"/>
                    <a:gd name="connsiteX30" fmla="*/ 175247 w 761692"/>
                    <a:gd name="connsiteY30" fmla="*/ 889746 h 1016771"/>
                    <a:gd name="connsiteX31" fmla="*/ 188810 w 761692"/>
                    <a:gd name="connsiteY31" fmla="*/ 893137 h 1016771"/>
                    <a:gd name="connsiteX32" fmla="*/ 195591 w 761692"/>
                    <a:gd name="connsiteY32" fmla="*/ 893137 h 1016771"/>
                    <a:gd name="connsiteX33" fmla="*/ 202372 w 761692"/>
                    <a:gd name="connsiteY33" fmla="*/ 886355 h 1016771"/>
                    <a:gd name="connsiteX34" fmla="*/ 200677 w 761692"/>
                    <a:gd name="connsiteY34" fmla="*/ 877879 h 1016771"/>
                    <a:gd name="connsiteX35" fmla="*/ 209154 w 761692"/>
                    <a:gd name="connsiteY35" fmla="*/ 874488 h 1016771"/>
                    <a:gd name="connsiteX36" fmla="*/ 210740 w 761692"/>
                    <a:gd name="connsiteY36" fmla="*/ 875083 h 1016771"/>
                    <a:gd name="connsiteX37" fmla="*/ 201937 w 761692"/>
                    <a:gd name="connsiteY37" fmla="*/ 878604 h 1016771"/>
                    <a:gd name="connsiteX38" fmla="*/ 203708 w 761692"/>
                    <a:gd name="connsiteY38" fmla="*/ 887461 h 1016771"/>
                    <a:gd name="connsiteX39" fmla="*/ 196623 w 761692"/>
                    <a:gd name="connsiteY39" fmla="*/ 894546 h 1016771"/>
                    <a:gd name="connsiteX40" fmla="*/ 189537 w 761692"/>
                    <a:gd name="connsiteY40" fmla="*/ 894546 h 1016771"/>
                    <a:gd name="connsiteX41" fmla="*/ 175366 w 761692"/>
                    <a:gd name="connsiteY41" fmla="*/ 891003 h 1016771"/>
                    <a:gd name="connsiteX42" fmla="*/ 157653 w 761692"/>
                    <a:gd name="connsiteY42" fmla="*/ 880375 h 1016771"/>
                    <a:gd name="connsiteX43" fmla="*/ 147024 w 761692"/>
                    <a:gd name="connsiteY43" fmla="*/ 867975 h 1016771"/>
                    <a:gd name="connsiteX44" fmla="*/ 138167 w 761692"/>
                    <a:gd name="connsiteY44" fmla="*/ 860890 h 1016771"/>
                    <a:gd name="connsiteX45" fmla="*/ 138167 w 761692"/>
                    <a:gd name="connsiteY45" fmla="*/ 852033 h 1016771"/>
                    <a:gd name="connsiteX46" fmla="*/ 139939 w 761692"/>
                    <a:gd name="connsiteY46" fmla="*/ 850262 h 1016771"/>
                    <a:gd name="connsiteX47" fmla="*/ 139939 w 761692"/>
                    <a:gd name="connsiteY47" fmla="*/ 848490 h 1016771"/>
                    <a:gd name="connsiteX48" fmla="*/ 145253 w 761692"/>
                    <a:gd name="connsiteY48" fmla="*/ 843176 h 1016771"/>
                    <a:gd name="connsiteX49" fmla="*/ 147024 w 761692"/>
                    <a:gd name="connsiteY49" fmla="*/ 841405 h 1016771"/>
                    <a:gd name="connsiteX50" fmla="*/ 148796 w 761692"/>
                    <a:gd name="connsiteY50" fmla="*/ 839633 h 1016771"/>
                    <a:gd name="connsiteX51" fmla="*/ 150567 w 761692"/>
                    <a:gd name="connsiteY51" fmla="*/ 837862 h 1016771"/>
                    <a:gd name="connsiteX52" fmla="*/ 159250 w 761692"/>
                    <a:gd name="connsiteY52" fmla="*/ 829179 h 1016771"/>
                    <a:gd name="connsiteX53" fmla="*/ 116476 w 761692"/>
                    <a:gd name="connsiteY53" fmla="*/ 741349 h 1016771"/>
                    <a:gd name="connsiteX54" fmla="*/ 117606 w 761692"/>
                    <a:gd name="connsiteY54" fmla="*/ 742253 h 1016771"/>
                    <a:gd name="connsiteX55" fmla="*/ 122692 w 761692"/>
                    <a:gd name="connsiteY55" fmla="*/ 759206 h 1016771"/>
                    <a:gd name="connsiteX56" fmla="*/ 126082 w 761692"/>
                    <a:gd name="connsiteY56" fmla="*/ 771073 h 1016771"/>
                    <a:gd name="connsiteX57" fmla="*/ 129473 w 761692"/>
                    <a:gd name="connsiteY57" fmla="*/ 782940 h 1016771"/>
                    <a:gd name="connsiteX58" fmla="*/ 132864 w 761692"/>
                    <a:gd name="connsiteY58" fmla="*/ 793112 h 1016771"/>
                    <a:gd name="connsiteX59" fmla="*/ 136254 w 761692"/>
                    <a:gd name="connsiteY59" fmla="*/ 810066 h 1016771"/>
                    <a:gd name="connsiteX60" fmla="*/ 139058 w 761692"/>
                    <a:gd name="connsiteY60" fmla="*/ 818476 h 1016771"/>
                    <a:gd name="connsiteX61" fmla="*/ 138167 w 761692"/>
                    <a:gd name="connsiteY61" fmla="*/ 818377 h 1016771"/>
                    <a:gd name="connsiteX62" fmla="*/ 134625 w 761692"/>
                    <a:gd name="connsiteY62" fmla="*/ 807749 h 1016771"/>
                    <a:gd name="connsiteX63" fmla="*/ 131082 w 761692"/>
                    <a:gd name="connsiteY63" fmla="*/ 790035 h 1016771"/>
                    <a:gd name="connsiteX64" fmla="*/ 127539 w 761692"/>
                    <a:gd name="connsiteY64" fmla="*/ 779407 h 1016771"/>
                    <a:gd name="connsiteX65" fmla="*/ 123996 w 761692"/>
                    <a:gd name="connsiteY65" fmla="*/ 767007 h 1016771"/>
                    <a:gd name="connsiteX66" fmla="*/ 120454 w 761692"/>
                    <a:gd name="connsiteY66" fmla="*/ 754607 h 1016771"/>
                    <a:gd name="connsiteX67" fmla="*/ 116476 w 761692"/>
                    <a:gd name="connsiteY67" fmla="*/ 741349 h 1016771"/>
                    <a:gd name="connsiteX68" fmla="*/ 554441 w 761692"/>
                    <a:gd name="connsiteY68" fmla="*/ 0 h 1016771"/>
                    <a:gd name="connsiteX69" fmla="*/ 570383 w 761692"/>
                    <a:gd name="connsiteY69" fmla="*/ 3543 h 1016771"/>
                    <a:gd name="connsiteX70" fmla="*/ 577469 w 761692"/>
                    <a:gd name="connsiteY70" fmla="*/ 8857 h 1016771"/>
                    <a:gd name="connsiteX71" fmla="*/ 582783 w 761692"/>
                    <a:gd name="connsiteY71" fmla="*/ 17714 h 1016771"/>
                    <a:gd name="connsiteX72" fmla="*/ 582783 w 761692"/>
                    <a:gd name="connsiteY72" fmla="*/ 24799 h 1016771"/>
                    <a:gd name="connsiteX73" fmla="*/ 588097 w 761692"/>
                    <a:gd name="connsiteY73" fmla="*/ 33656 h 1016771"/>
                    <a:gd name="connsiteX74" fmla="*/ 598725 w 761692"/>
                    <a:gd name="connsiteY74" fmla="*/ 31885 h 1016771"/>
                    <a:gd name="connsiteX75" fmla="*/ 612896 w 761692"/>
                    <a:gd name="connsiteY75" fmla="*/ 37199 h 1016771"/>
                    <a:gd name="connsiteX76" fmla="*/ 618211 w 761692"/>
                    <a:gd name="connsiteY76" fmla="*/ 46056 h 1016771"/>
                    <a:gd name="connsiteX77" fmla="*/ 619982 w 761692"/>
                    <a:gd name="connsiteY77" fmla="*/ 54913 h 1016771"/>
                    <a:gd name="connsiteX78" fmla="*/ 618211 w 761692"/>
                    <a:gd name="connsiteY78" fmla="*/ 74398 h 1016771"/>
                    <a:gd name="connsiteX79" fmla="*/ 616439 w 761692"/>
                    <a:gd name="connsiteY79" fmla="*/ 85026 h 1016771"/>
                    <a:gd name="connsiteX80" fmla="*/ 621753 w 761692"/>
                    <a:gd name="connsiteY80" fmla="*/ 97426 h 1016771"/>
                    <a:gd name="connsiteX81" fmla="*/ 637696 w 761692"/>
                    <a:gd name="connsiteY81" fmla="*/ 113368 h 1016771"/>
                    <a:gd name="connsiteX82" fmla="*/ 644781 w 761692"/>
                    <a:gd name="connsiteY82" fmla="*/ 120454 h 1016771"/>
                    <a:gd name="connsiteX83" fmla="*/ 650095 w 761692"/>
                    <a:gd name="connsiteY83" fmla="*/ 136396 h 1016771"/>
                    <a:gd name="connsiteX84" fmla="*/ 655409 w 761692"/>
                    <a:gd name="connsiteY84" fmla="*/ 155881 h 1016771"/>
                    <a:gd name="connsiteX85" fmla="*/ 662495 w 761692"/>
                    <a:gd name="connsiteY85" fmla="*/ 171824 h 1016771"/>
                    <a:gd name="connsiteX86" fmla="*/ 660724 w 761692"/>
                    <a:gd name="connsiteY86" fmla="*/ 185995 h 1016771"/>
                    <a:gd name="connsiteX87" fmla="*/ 635924 w 761692"/>
                    <a:gd name="connsiteY87" fmla="*/ 194852 h 1016771"/>
                    <a:gd name="connsiteX88" fmla="*/ 619982 w 761692"/>
                    <a:gd name="connsiteY88" fmla="*/ 207251 h 1016771"/>
                    <a:gd name="connsiteX89" fmla="*/ 614668 w 761692"/>
                    <a:gd name="connsiteY89" fmla="*/ 223194 h 1016771"/>
                    <a:gd name="connsiteX90" fmla="*/ 618211 w 761692"/>
                    <a:gd name="connsiteY90" fmla="*/ 242679 h 1016771"/>
                    <a:gd name="connsiteX91" fmla="*/ 612896 w 761692"/>
                    <a:gd name="connsiteY91" fmla="*/ 256850 h 1016771"/>
                    <a:gd name="connsiteX92" fmla="*/ 625296 w 761692"/>
                    <a:gd name="connsiteY92" fmla="*/ 267478 h 1016771"/>
                    <a:gd name="connsiteX93" fmla="*/ 641238 w 761692"/>
                    <a:gd name="connsiteY93" fmla="*/ 269250 h 1016771"/>
                    <a:gd name="connsiteX94" fmla="*/ 658952 w 761692"/>
                    <a:gd name="connsiteY94" fmla="*/ 286963 h 1016771"/>
                    <a:gd name="connsiteX95" fmla="*/ 653638 w 761692"/>
                    <a:gd name="connsiteY95" fmla="*/ 309991 h 1016771"/>
                    <a:gd name="connsiteX96" fmla="*/ 653638 w 761692"/>
                    <a:gd name="connsiteY96" fmla="*/ 329476 h 1016771"/>
                    <a:gd name="connsiteX97" fmla="*/ 643010 w 761692"/>
                    <a:gd name="connsiteY97" fmla="*/ 338333 h 1016771"/>
                    <a:gd name="connsiteX98" fmla="*/ 632382 w 761692"/>
                    <a:gd name="connsiteY98" fmla="*/ 338333 h 1016771"/>
                    <a:gd name="connsiteX99" fmla="*/ 618211 w 761692"/>
                    <a:gd name="connsiteY99" fmla="*/ 357819 h 1016771"/>
                    <a:gd name="connsiteX100" fmla="*/ 609354 w 761692"/>
                    <a:gd name="connsiteY100" fmla="*/ 361361 h 1016771"/>
                    <a:gd name="connsiteX101" fmla="*/ 596954 w 761692"/>
                    <a:gd name="connsiteY101" fmla="*/ 363133 h 1016771"/>
                    <a:gd name="connsiteX102" fmla="*/ 581012 w 761692"/>
                    <a:gd name="connsiteY102" fmla="*/ 379075 h 1016771"/>
                    <a:gd name="connsiteX103" fmla="*/ 589868 w 761692"/>
                    <a:gd name="connsiteY103" fmla="*/ 393246 h 1016771"/>
                    <a:gd name="connsiteX104" fmla="*/ 586326 w 761692"/>
                    <a:gd name="connsiteY104" fmla="*/ 409189 h 1016771"/>
                    <a:gd name="connsiteX105" fmla="*/ 570383 w 761692"/>
                    <a:gd name="connsiteY105" fmla="*/ 398560 h 1016771"/>
                    <a:gd name="connsiteX106" fmla="*/ 550898 w 761692"/>
                    <a:gd name="connsiteY106" fmla="*/ 405646 h 1016771"/>
                    <a:gd name="connsiteX107" fmla="*/ 531413 w 761692"/>
                    <a:gd name="connsiteY107" fmla="*/ 425131 h 1016771"/>
                    <a:gd name="connsiteX108" fmla="*/ 543813 w 761692"/>
                    <a:gd name="connsiteY108" fmla="*/ 444616 h 1016771"/>
                    <a:gd name="connsiteX109" fmla="*/ 557984 w 761692"/>
                    <a:gd name="connsiteY109" fmla="*/ 462330 h 1016771"/>
                    <a:gd name="connsiteX110" fmla="*/ 570383 w 761692"/>
                    <a:gd name="connsiteY110" fmla="*/ 478272 h 1016771"/>
                    <a:gd name="connsiteX111" fmla="*/ 579240 w 761692"/>
                    <a:gd name="connsiteY111" fmla="*/ 485358 h 1016771"/>
                    <a:gd name="connsiteX112" fmla="*/ 602268 w 761692"/>
                    <a:gd name="connsiteY112" fmla="*/ 483586 h 1016771"/>
                    <a:gd name="connsiteX113" fmla="*/ 623525 w 761692"/>
                    <a:gd name="connsiteY113" fmla="*/ 474730 h 1016771"/>
                    <a:gd name="connsiteX114" fmla="*/ 639467 w 761692"/>
                    <a:gd name="connsiteY114" fmla="*/ 464101 h 1016771"/>
                    <a:gd name="connsiteX115" fmla="*/ 662495 w 761692"/>
                    <a:gd name="connsiteY115" fmla="*/ 464101 h 1016771"/>
                    <a:gd name="connsiteX116" fmla="*/ 673123 w 761692"/>
                    <a:gd name="connsiteY116" fmla="*/ 464101 h 1016771"/>
                    <a:gd name="connsiteX117" fmla="*/ 681980 w 761692"/>
                    <a:gd name="connsiteY117" fmla="*/ 467644 h 1016771"/>
                    <a:gd name="connsiteX118" fmla="*/ 703237 w 761692"/>
                    <a:gd name="connsiteY118" fmla="*/ 471187 h 1016771"/>
                    <a:gd name="connsiteX119" fmla="*/ 708551 w 761692"/>
                    <a:gd name="connsiteY119" fmla="*/ 474730 h 1016771"/>
                    <a:gd name="connsiteX120" fmla="*/ 722722 w 761692"/>
                    <a:gd name="connsiteY120" fmla="*/ 501300 h 1016771"/>
                    <a:gd name="connsiteX121" fmla="*/ 724493 w 761692"/>
                    <a:gd name="connsiteY121" fmla="*/ 522557 h 1016771"/>
                    <a:gd name="connsiteX122" fmla="*/ 722722 w 761692"/>
                    <a:gd name="connsiteY122" fmla="*/ 540271 h 1016771"/>
                    <a:gd name="connsiteX123" fmla="*/ 735121 w 761692"/>
                    <a:gd name="connsiteY123" fmla="*/ 552670 h 1016771"/>
                    <a:gd name="connsiteX124" fmla="*/ 735121 w 761692"/>
                    <a:gd name="connsiteY124" fmla="*/ 570384 h 1016771"/>
                    <a:gd name="connsiteX125" fmla="*/ 751064 w 761692"/>
                    <a:gd name="connsiteY125" fmla="*/ 581012 h 1016771"/>
                    <a:gd name="connsiteX126" fmla="*/ 761692 w 761692"/>
                    <a:gd name="connsiteY126" fmla="*/ 604040 h 1016771"/>
                    <a:gd name="connsiteX127" fmla="*/ 747521 w 761692"/>
                    <a:gd name="connsiteY127" fmla="*/ 616440 h 1016771"/>
                    <a:gd name="connsiteX128" fmla="*/ 728036 w 761692"/>
                    <a:gd name="connsiteY128" fmla="*/ 627068 h 1016771"/>
                    <a:gd name="connsiteX129" fmla="*/ 726264 w 761692"/>
                    <a:gd name="connsiteY129" fmla="*/ 650096 h 1016771"/>
                    <a:gd name="connsiteX130" fmla="*/ 728036 w 761692"/>
                    <a:gd name="connsiteY130" fmla="*/ 673124 h 1016771"/>
                    <a:gd name="connsiteX131" fmla="*/ 742207 w 761692"/>
                    <a:gd name="connsiteY131" fmla="*/ 689066 h 1016771"/>
                    <a:gd name="connsiteX132" fmla="*/ 742207 w 761692"/>
                    <a:gd name="connsiteY132" fmla="*/ 712094 h 1016771"/>
                    <a:gd name="connsiteX133" fmla="*/ 740435 w 761692"/>
                    <a:gd name="connsiteY133" fmla="*/ 735122 h 1016771"/>
                    <a:gd name="connsiteX134" fmla="*/ 742207 w 761692"/>
                    <a:gd name="connsiteY134" fmla="*/ 751065 h 1016771"/>
                    <a:gd name="connsiteX135" fmla="*/ 747521 w 761692"/>
                    <a:gd name="connsiteY135" fmla="*/ 768778 h 1016771"/>
                    <a:gd name="connsiteX136" fmla="*/ 759921 w 761692"/>
                    <a:gd name="connsiteY136" fmla="*/ 777635 h 1016771"/>
                    <a:gd name="connsiteX137" fmla="*/ 758149 w 761692"/>
                    <a:gd name="connsiteY137" fmla="*/ 802434 h 1016771"/>
                    <a:gd name="connsiteX138" fmla="*/ 752835 w 761692"/>
                    <a:gd name="connsiteY138" fmla="*/ 814834 h 1016771"/>
                    <a:gd name="connsiteX139" fmla="*/ 743978 w 761692"/>
                    <a:gd name="connsiteY139" fmla="*/ 827234 h 1016771"/>
                    <a:gd name="connsiteX140" fmla="*/ 743978 w 761692"/>
                    <a:gd name="connsiteY140" fmla="*/ 837862 h 1016771"/>
                    <a:gd name="connsiteX141" fmla="*/ 747521 w 761692"/>
                    <a:gd name="connsiteY141" fmla="*/ 853804 h 1016771"/>
                    <a:gd name="connsiteX142" fmla="*/ 733350 w 761692"/>
                    <a:gd name="connsiteY142" fmla="*/ 867975 h 1016771"/>
                    <a:gd name="connsiteX143" fmla="*/ 724493 w 761692"/>
                    <a:gd name="connsiteY143" fmla="*/ 880375 h 1016771"/>
                    <a:gd name="connsiteX144" fmla="*/ 722722 w 761692"/>
                    <a:gd name="connsiteY144" fmla="*/ 899860 h 1016771"/>
                    <a:gd name="connsiteX145" fmla="*/ 722722 w 761692"/>
                    <a:gd name="connsiteY145" fmla="*/ 919345 h 1016771"/>
                    <a:gd name="connsiteX146" fmla="*/ 715636 w 761692"/>
                    <a:gd name="connsiteY146" fmla="*/ 940602 h 1016771"/>
                    <a:gd name="connsiteX147" fmla="*/ 708551 w 761692"/>
                    <a:gd name="connsiteY147" fmla="*/ 954773 h 1016771"/>
                    <a:gd name="connsiteX148" fmla="*/ 699694 w 761692"/>
                    <a:gd name="connsiteY148" fmla="*/ 965401 h 1016771"/>
                    <a:gd name="connsiteX149" fmla="*/ 692608 w 761692"/>
                    <a:gd name="connsiteY149" fmla="*/ 984886 h 1016771"/>
                    <a:gd name="connsiteX150" fmla="*/ 683751 w 761692"/>
                    <a:gd name="connsiteY150" fmla="*/ 997286 h 1016771"/>
                    <a:gd name="connsiteX151" fmla="*/ 673123 w 761692"/>
                    <a:gd name="connsiteY151" fmla="*/ 1002600 h 1016771"/>
                    <a:gd name="connsiteX152" fmla="*/ 662495 w 761692"/>
                    <a:gd name="connsiteY152" fmla="*/ 1013228 h 1016771"/>
                    <a:gd name="connsiteX153" fmla="*/ 644781 w 761692"/>
                    <a:gd name="connsiteY153" fmla="*/ 1016771 h 1016771"/>
                    <a:gd name="connsiteX154" fmla="*/ 635924 w 761692"/>
                    <a:gd name="connsiteY154" fmla="*/ 1004372 h 1016771"/>
                    <a:gd name="connsiteX155" fmla="*/ 623525 w 761692"/>
                    <a:gd name="connsiteY155" fmla="*/ 997286 h 1016771"/>
                    <a:gd name="connsiteX156" fmla="*/ 614668 w 761692"/>
                    <a:gd name="connsiteY156" fmla="*/ 986658 h 1016771"/>
                    <a:gd name="connsiteX157" fmla="*/ 593411 w 761692"/>
                    <a:gd name="connsiteY157" fmla="*/ 970715 h 1016771"/>
                    <a:gd name="connsiteX158" fmla="*/ 582783 w 761692"/>
                    <a:gd name="connsiteY158" fmla="*/ 965401 h 1016771"/>
                    <a:gd name="connsiteX159" fmla="*/ 531413 w 761692"/>
                    <a:gd name="connsiteY159" fmla="*/ 965401 h 1016771"/>
                    <a:gd name="connsiteX160" fmla="*/ 511928 w 761692"/>
                    <a:gd name="connsiteY160" fmla="*/ 965401 h 1016771"/>
                    <a:gd name="connsiteX161" fmla="*/ 492443 w 761692"/>
                    <a:gd name="connsiteY161" fmla="*/ 963630 h 1016771"/>
                    <a:gd name="connsiteX162" fmla="*/ 483586 w 761692"/>
                    <a:gd name="connsiteY162" fmla="*/ 958316 h 1016771"/>
                    <a:gd name="connsiteX163" fmla="*/ 469415 w 761692"/>
                    <a:gd name="connsiteY163" fmla="*/ 954773 h 1016771"/>
                    <a:gd name="connsiteX164" fmla="*/ 460558 w 761692"/>
                    <a:gd name="connsiteY164" fmla="*/ 942373 h 1016771"/>
                    <a:gd name="connsiteX165" fmla="*/ 446387 w 761692"/>
                    <a:gd name="connsiteY165" fmla="*/ 935288 h 1016771"/>
                    <a:gd name="connsiteX166" fmla="*/ 428673 w 761692"/>
                    <a:gd name="connsiteY166" fmla="*/ 928202 h 1016771"/>
                    <a:gd name="connsiteX167" fmla="*/ 418045 w 761692"/>
                    <a:gd name="connsiteY167" fmla="*/ 917574 h 1016771"/>
                    <a:gd name="connsiteX168" fmla="*/ 421588 w 761692"/>
                    <a:gd name="connsiteY168" fmla="*/ 903403 h 1016771"/>
                    <a:gd name="connsiteX169" fmla="*/ 418045 w 761692"/>
                    <a:gd name="connsiteY169" fmla="*/ 898089 h 1016771"/>
                    <a:gd name="connsiteX170" fmla="*/ 396788 w 761692"/>
                    <a:gd name="connsiteY170" fmla="*/ 898089 h 1016771"/>
                    <a:gd name="connsiteX171" fmla="*/ 382617 w 761692"/>
                    <a:gd name="connsiteY171" fmla="*/ 896318 h 1016771"/>
                    <a:gd name="connsiteX172" fmla="*/ 380846 w 761692"/>
                    <a:gd name="connsiteY172" fmla="*/ 906946 h 1016771"/>
                    <a:gd name="connsiteX173" fmla="*/ 347190 w 761692"/>
                    <a:gd name="connsiteY173" fmla="*/ 915803 h 1016771"/>
                    <a:gd name="connsiteX174" fmla="*/ 342700 w 761692"/>
                    <a:gd name="connsiteY174" fmla="*/ 914149 h 1016771"/>
                    <a:gd name="connsiteX175" fmla="*/ 365124 w 761692"/>
                    <a:gd name="connsiteY175" fmla="*/ 913481 h 1016771"/>
                    <a:gd name="connsiteX176" fmla="*/ 373601 w 761692"/>
                    <a:gd name="connsiteY176" fmla="*/ 894832 h 1016771"/>
                    <a:gd name="connsiteX177" fmla="*/ 387164 w 761692"/>
                    <a:gd name="connsiteY177" fmla="*/ 896527 h 1016771"/>
                    <a:gd name="connsiteX178" fmla="*/ 383773 w 761692"/>
                    <a:gd name="connsiteY178" fmla="*/ 886355 h 1016771"/>
                    <a:gd name="connsiteX179" fmla="*/ 387164 w 761692"/>
                    <a:gd name="connsiteY179" fmla="*/ 876183 h 1016771"/>
                    <a:gd name="connsiteX180" fmla="*/ 388859 w 761692"/>
                    <a:gd name="connsiteY180" fmla="*/ 867707 h 1016771"/>
                    <a:gd name="connsiteX181" fmla="*/ 380382 w 761692"/>
                    <a:gd name="connsiteY181" fmla="*/ 859230 h 1016771"/>
                    <a:gd name="connsiteX182" fmla="*/ 373601 w 761692"/>
                    <a:gd name="connsiteY182" fmla="*/ 849058 h 1016771"/>
                    <a:gd name="connsiteX183" fmla="*/ 380382 w 761692"/>
                    <a:gd name="connsiteY183" fmla="*/ 838886 h 1016771"/>
                    <a:gd name="connsiteX184" fmla="*/ 383773 w 761692"/>
                    <a:gd name="connsiteY184" fmla="*/ 833800 h 1016771"/>
                    <a:gd name="connsiteX185" fmla="*/ 388859 w 761692"/>
                    <a:gd name="connsiteY185" fmla="*/ 825324 h 1016771"/>
                    <a:gd name="connsiteX186" fmla="*/ 387164 w 761692"/>
                    <a:gd name="connsiteY186" fmla="*/ 810066 h 1016771"/>
                    <a:gd name="connsiteX187" fmla="*/ 387164 w 761692"/>
                    <a:gd name="connsiteY187" fmla="*/ 796503 h 1016771"/>
                    <a:gd name="connsiteX188" fmla="*/ 378687 w 761692"/>
                    <a:gd name="connsiteY188" fmla="*/ 789722 h 1016771"/>
                    <a:gd name="connsiteX189" fmla="*/ 366820 w 761692"/>
                    <a:gd name="connsiteY189" fmla="*/ 782940 h 1016771"/>
                    <a:gd name="connsiteX190" fmla="*/ 356648 w 761692"/>
                    <a:gd name="connsiteY190" fmla="*/ 781245 h 1016771"/>
                    <a:gd name="connsiteX191" fmla="*/ 349866 w 761692"/>
                    <a:gd name="connsiteY191" fmla="*/ 771073 h 1016771"/>
                    <a:gd name="connsiteX192" fmla="*/ 349866 w 761692"/>
                    <a:gd name="connsiteY192" fmla="*/ 752425 h 1016771"/>
                    <a:gd name="connsiteX193" fmla="*/ 353257 w 761692"/>
                    <a:gd name="connsiteY193" fmla="*/ 743948 h 1016771"/>
                    <a:gd name="connsiteX194" fmla="*/ 354952 w 761692"/>
                    <a:gd name="connsiteY194" fmla="*/ 730385 h 1016771"/>
                    <a:gd name="connsiteX195" fmla="*/ 353257 w 761692"/>
                    <a:gd name="connsiteY195" fmla="*/ 713432 h 1016771"/>
                    <a:gd name="connsiteX196" fmla="*/ 346476 w 761692"/>
                    <a:gd name="connsiteY196" fmla="*/ 701565 h 1016771"/>
                    <a:gd name="connsiteX197" fmla="*/ 332913 w 761692"/>
                    <a:gd name="connsiteY197" fmla="*/ 689697 h 1016771"/>
                    <a:gd name="connsiteX198" fmla="*/ 324436 w 761692"/>
                    <a:gd name="connsiteY198" fmla="*/ 681221 h 1016771"/>
                    <a:gd name="connsiteX199" fmla="*/ 314264 w 761692"/>
                    <a:gd name="connsiteY199" fmla="*/ 676135 h 1016771"/>
                    <a:gd name="connsiteX200" fmla="*/ 293920 w 761692"/>
                    <a:gd name="connsiteY200" fmla="*/ 669354 h 1016771"/>
                    <a:gd name="connsiteX201" fmla="*/ 282053 w 761692"/>
                    <a:gd name="connsiteY201" fmla="*/ 667658 h 1016771"/>
                    <a:gd name="connsiteX202" fmla="*/ 266795 w 761692"/>
                    <a:gd name="connsiteY202" fmla="*/ 672744 h 1016771"/>
                    <a:gd name="connsiteX203" fmla="*/ 265100 w 761692"/>
                    <a:gd name="connsiteY203" fmla="*/ 672744 h 1016771"/>
                    <a:gd name="connsiteX204" fmla="*/ 263404 w 761692"/>
                    <a:gd name="connsiteY204" fmla="*/ 671049 h 1016771"/>
                    <a:gd name="connsiteX205" fmla="*/ 260014 w 761692"/>
                    <a:gd name="connsiteY205" fmla="*/ 671049 h 1016771"/>
                    <a:gd name="connsiteX206" fmla="*/ 258318 w 761692"/>
                    <a:gd name="connsiteY206" fmla="*/ 671049 h 1016771"/>
                    <a:gd name="connsiteX207" fmla="*/ 253232 w 761692"/>
                    <a:gd name="connsiteY207" fmla="*/ 671049 h 1016771"/>
                    <a:gd name="connsiteX208" fmla="*/ 248146 w 761692"/>
                    <a:gd name="connsiteY208" fmla="*/ 672744 h 1016771"/>
                    <a:gd name="connsiteX209" fmla="*/ 248146 w 761692"/>
                    <a:gd name="connsiteY209" fmla="*/ 674440 h 1016771"/>
                    <a:gd name="connsiteX210" fmla="*/ 246451 w 761692"/>
                    <a:gd name="connsiteY210" fmla="*/ 674440 h 1016771"/>
                    <a:gd name="connsiteX211" fmla="*/ 236279 w 761692"/>
                    <a:gd name="connsiteY211" fmla="*/ 679526 h 1016771"/>
                    <a:gd name="connsiteX212" fmla="*/ 226107 w 761692"/>
                    <a:gd name="connsiteY212" fmla="*/ 684612 h 1016771"/>
                    <a:gd name="connsiteX213" fmla="*/ 217630 w 761692"/>
                    <a:gd name="connsiteY213" fmla="*/ 684612 h 1016771"/>
                    <a:gd name="connsiteX214" fmla="*/ 207458 w 761692"/>
                    <a:gd name="connsiteY214" fmla="*/ 693088 h 1016771"/>
                    <a:gd name="connsiteX215" fmla="*/ 198982 w 761692"/>
                    <a:gd name="connsiteY215" fmla="*/ 694783 h 1016771"/>
                    <a:gd name="connsiteX216" fmla="*/ 192200 w 761692"/>
                    <a:gd name="connsiteY216" fmla="*/ 699869 h 1016771"/>
                    <a:gd name="connsiteX217" fmla="*/ 178638 w 761692"/>
                    <a:gd name="connsiteY217" fmla="*/ 706651 h 1016771"/>
                    <a:gd name="connsiteX218" fmla="*/ 163380 w 761692"/>
                    <a:gd name="connsiteY218" fmla="*/ 710041 h 1016771"/>
                    <a:gd name="connsiteX219" fmla="*/ 141340 w 761692"/>
                    <a:gd name="connsiteY219" fmla="*/ 710041 h 1016771"/>
                    <a:gd name="connsiteX220" fmla="*/ 134559 w 761692"/>
                    <a:gd name="connsiteY220" fmla="*/ 716823 h 1016771"/>
                    <a:gd name="connsiteX221" fmla="*/ 127778 w 761692"/>
                    <a:gd name="connsiteY221" fmla="*/ 718518 h 1016771"/>
                    <a:gd name="connsiteX222" fmla="*/ 120996 w 761692"/>
                    <a:gd name="connsiteY222" fmla="*/ 725299 h 1016771"/>
                    <a:gd name="connsiteX223" fmla="*/ 111172 w 761692"/>
                    <a:gd name="connsiteY223" fmla="*/ 733720 h 1016771"/>
                    <a:gd name="connsiteX224" fmla="*/ 106283 w 761692"/>
                    <a:gd name="connsiteY224" fmla="*/ 729808 h 1016771"/>
                    <a:gd name="connsiteX225" fmla="*/ 92112 w 761692"/>
                    <a:gd name="connsiteY225" fmla="*/ 724494 h 1016771"/>
                    <a:gd name="connsiteX226" fmla="*/ 77941 w 761692"/>
                    <a:gd name="connsiteY226" fmla="*/ 726265 h 1016771"/>
                    <a:gd name="connsiteX227" fmla="*/ 70855 w 761692"/>
                    <a:gd name="connsiteY227" fmla="*/ 719180 h 1016771"/>
                    <a:gd name="connsiteX228" fmla="*/ 70855 w 761692"/>
                    <a:gd name="connsiteY228" fmla="*/ 699695 h 1016771"/>
                    <a:gd name="connsiteX229" fmla="*/ 81483 w 761692"/>
                    <a:gd name="connsiteY229" fmla="*/ 685524 h 1016771"/>
                    <a:gd name="connsiteX230" fmla="*/ 85026 w 761692"/>
                    <a:gd name="connsiteY230" fmla="*/ 673124 h 1016771"/>
                    <a:gd name="connsiteX231" fmla="*/ 86797 w 761692"/>
                    <a:gd name="connsiteY231" fmla="*/ 660724 h 1016771"/>
                    <a:gd name="connsiteX232" fmla="*/ 97426 w 761692"/>
                    <a:gd name="connsiteY232" fmla="*/ 650096 h 1016771"/>
                    <a:gd name="connsiteX233" fmla="*/ 102740 w 761692"/>
                    <a:gd name="connsiteY233" fmla="*/ 635925 h 1016771"/>
                    <a:gd name="connsiteX234" fmla="*/ 113368 w 761692"/>
                    <a:gd name="connsiteY234" fmla="*/ 625297 h 1016771"/>
                    <a:gd name="connsiteX235" fmla="*/ 115139 w 761692"/>
                    <a:gd name="connsiteY235" fmla="*/ 612897 h 1016771"/>
                    <a:gd name="connsiteX236" fmla="*/ 127539 w 761692"/>
                    <a:gd name="connsiteY236" fmla="*/ 609354 h 1016771"/>
                    <a:gd name="connsiteX237" fmla="*/ 136396 w 761692"/>
                    <a:gd name="connsiteY237" fmla="*/ 604040 h 1016771"/>
                    <a:gd name="connsiteX238" fmla="*/ 132853 w 761692"/>
                    <a:gd name="connsiteY238" fmla="*/ 593412 h 1016771"/>
                    <a:gd name="connsiteX239" fmla="*/ 134625 w 761692"/>
                    <a:gd name="connsiteY239" fmla="*/ 584555 h 1016771"/>
                    <a:gd name="connsiteX240" fmla="*/ 131082 w 761692"/>
                    <a:gd name="connsiteY240" fmla="*/ 575698 h 1016771"/>
                    <a:gd name="connsiteX241" fmla="*/ 120454 w 761692"/>
                    <a:gd name="connsiteY241" fmla="*/ 568613 h 1016771"/>
                    <a:gd name="connsiteX242" fmla="*/ 125768 w 761692"/>
                    <a:gd name="connsiteY242" fmla="*/ 552670 h 1016771"/>
                    <a:gd name="connsiteX243" fmla="*/ 118682 w 761692"/>
                    <a:gd name="connsiteY243" fmla="*/ 543813 h 1016771"/>
                    <a:gd name="connsiteX244" fmla="*/ 90340 w 761692"/>
                    <a:gd name="connsiteY244" fmla="*/ 543813 h 1016771"/>
                    <a:gd name="connsiteX245" fmla="*/ 86797 w 761692"/>
                    <a:gd name="connsiteY245" fmla="*/ 542042 h 1016771"/>
                    <a:gd name="connsiteX246" fmla="*/ 83255 w 761692"/>
                    <a:gd name="connsiteY246" fmla="*/ 542042 h 1016771"/>
                    <a:gd name="connsiteX247" fmla="*/ 81483 w 761692"/>
                    <a:gd name="connsiteY247" fmla="*/ 540271 h 1016771"/>
                    <a:gd name="connsiteX248" fmla="*/ 81483 w 761692"/>
                    <a:gd name="connsiteY248" fmla="*/ 536728 h 1016771"/>
                    <a:gd name="connsiteX249" fmla="*/ 79712 w 761692"/>
                    <a:gd name="connsiteY249" fmla="*/ 531414 h 1016771"/>
                    <a:gd name="connsiteX250" fmla="*/ 77941 w 761692"/>
                    <a:gd name="connsiteY250" fmla="*/ 529642 h 1016771"/>
                    <a:gd name="connsiteX251" fmla="*/ 70855 w 761692"/>
                    <a:gd name="connsiteY251" fmla="*/ 527871 h 1016771"/>
                    <a:gd name="connsiteX252" fmla="*/ 60227 w 761692"/>
                    <a:gd name="connsiteY252" fmla="*/ 536728 h 1016771"/>
                    <a:gd name="connsiteX253" fmla="*/ 47827 w 761692"/>
                    <a:gd name="connsiteY253" fmla="*/ 526100 h 1016771"/>
                    <a:gd name="connsiteX254" fmla="*/ 42513 w 761692"/>
                    <a:gd name="connsiteY254" fmla="*/ 515471 h 1016771"/>
                    <a:gd name="connsiteX255" fmla="*/ 33656 w 761692"/>
                    <a:gd name="connsiteY255" fmla="*/ 506614 h 1016771"/>
                    <a:gd name="connsiteX256" fmla="*/ 31885 w 761692"/>
                    <a:gd name="connsiteY256" fmla="*/ 490672 h 1016771"/>
                    <a:gd name="connsiteX257" fmla="*/ 26571 w 761692"/>
                    <a:gd name="connsiteY257" fmla="*/ 476501 h 1016771"/>
                    <a:gd name="connsiteX258" fmla="*/ 24799 w 761692"/>
                    <a:gd name="connsiteY258" fmla="*/ 471187 h 1016771"/>
                    <a:gd name="connsiteX259" fmla="*/ 12400 w 761692"/>
                    <a:gd name="connsiteY259" fmla="*/ 472958 h 1016771"/>
                    <a:gd name="connsiteX260" fmla="*/ 7086 w 761692"/>
                    <a:gd name="connsiteY260" fmla="*/ 464101 h 1016771"/>
                    <a:gd name="connsiteX261" fmla="*/ 8857 w 761692"/>
                    <a:gd name="connsiteY261" fmla="*/ 446388 h 1016771"/>
                    <a:gd name="connsiteX262" fmla="*/ 3543 w 761692"/>
                    <a:gd name="connsiteY262" fmla="*/ 435759 h 1016771"/>
                    <a:gd name="connsiteX263" fmla="*/ 5314 w 761692"/>
                    <a:gd name="connsiteY263" fmla="*/ 412731 h 1016771"/>
                    <a:gd name="connsiteX264" fmla="*/ 0 w 761692"/>
                    <a:gd name="connsiteY264" fmla="*/ 396789 h 1016771"/>
                    <a:gd name="connsiteX265" fmla="*/ 3543 w 761692"/>
                    <a:gd name="connsiteY265" fmla="*/ 384389 h 1016771"/>
                    <a:gd name="connsiteX266" fmla="*/ 14171 w 761692"/>
                    <a:gd name="connsiteY266" fmla="*/ 380846 h 1016771"/>
                    <a:gd name="connsiteX267" fmla="*/ 24799 w 761692"/>
                    <a:gd name="connsiteY267" fmla="*/ 364904 h 1016771"/>
                    <a:gd name="connsiteX268" fmla="*/ 30113 w 761692"/>
                    <a:gd name="connsiteY268" fmla="*/ 350733 h 1016771"/>
                    <a:gd name="connsiteX269" fmla="*/ 35428 w 761692"/>
                    <a:gd name="connsiteY269" fmla="*/ 341876 h 1016771"/>
                    <a:gd name="connsiteX270" fmla="*/ 42513 w 761692"/>
                    <a:gd name="connsiteY270" fmla="*/ 327705 h 1016771"/>
                    <a:gd name="connsiteX271" fmla="*/ 42513 w 761692"/>
                    <a:gd name="connsiteY271" fmla="*/ 315305 h 1016771"/>
                    <a:gd name="connsiteX272" fmla="*/ 56684 w 761692"/>
                    <a:gd name="connsiteY272" fmla="*/ 309991 h 1016771"/>
                    <a:gd name="connsiteX273" fmla="*/ 60227 w 761692"/>
                    <a:gd name="connsiteY273" fmla="*/ 309991 h 1016771"/>
                    <a:gd name="connsiteX274" fmla="*/ 61998 w 761692"/>
                    <a:gd name="connsiteY274" fmla="*/ 311763 h 1016771"/>
                    <a:gd name="connsiteX275" fmla="*/ 67312 w 761692"/>
                    <a:gd name="connsiteY275" fmla="*/ 311763 h 1016771"/>
                    <a:gd name="connsiteX276" fmla="*/ 67312 w 761692"/>
                    <a:gd name="connsiteY276" fmla="*/ 309991 h 1016771"/>
                    <a:gd name="connsiteX277" fmla="*/ 67312 w 761692"/>
                    <a:gd name="connsiteY277" fmla="*/ 308220 h 1016771"/>
                    <a:gd name="connsiteX278" fmla="*/ 69084 w 761692"/>
                    <a:gd name="connsiteY278" fmla="*/ 302906 h 1016771"/>
                    <a:gd name="connsiteX279" fmla="*/ 70855 w 761692"/>
                    <a:gd name="connsiteY279" fmla="*/ 301134 h 1016771"/>
                    <a:gd name="connsiteX280" fmla="*/ 70855 w 761692"/>
                    <a:gd name="connsiteY280" fmla="*/ 299363 h 1016771"/>
                    <a:gd name="connsiteX281" fmla="*/ 77941 w 761692"/>
                    <a:gd name="connsiteY281" fmla="*/ 295820 h 1016771"/>
                    <a:gd name="connsiteX282" fmla="*/ 85026 w 761692"/>
                    <a:gd name="connsiteY282" fmla="*/ 295820 h 1016771"/>
                    <a:gd name="connsiteX283" fmla="*/ 93883 w 761692"/>
                    <a:gd name="connsiteY283" fmla="*/ 297592 h 1016771"/>
                    <a:gd name="connsiteX284" fmla="*/ 100968 w 761692"/>
                    <a:gd name="connsiteY284" fmla="*/ 288735 h 1016771"/>
                    <a:gd name="connsiteX285" fmla="*/ 97426 w 761692"/>
                    <a:gd name="connsiteY285" fmla="*/ 279878 h 1016771"/>
                    <a:gd name="connsiteX286" fmla="*/ 85026 w 761692"/>
                    <a:gd name="connsiteY286" fmla="*/ 276335 h 1016771"/>
                    <a:gd name="connsiteX287" fmla="*/ 76169 w 761692"/>
                    <a:gd name="connsiteY287" fmla="*/ 271021 h 1016771"/>
                    <a:gd name="connsiteX288" fmla="*/ 76169 w 761692"/>
                    <a:gd name="connsiteY288" fmla="*/ 262164 h 1016771"/>
                    <a:gd name="connsiteX289" fmla="*/ 81483 w 761692"/>
                    <a:gd name="connsiteY289" fmla="*/ 251536 h 1016771"/>
                    <a:gd name="connsiteX290" fmla="*/ 86797 w 761692"/>
                    <a:gd name="connsiteY290" fmla="*/ 255079 h 1016771"/>
                    <a:gd name="connsiteX291" fmla="*/ 104511 w 761692"/>
                    <a:gd name="connsiteY291" fmla="*/ 262164 h 1016771"/>
                    <a:gd name="connsiteX292" fmla="*/ 116911 w 761692"/>
                    <a:gd name="connsiteY292" fmla="*/ 265707 h 1016771"/>
                    <a:gd name="connsiteX293" fmla="*/ 132853 w 761692"/>
                    <a:gd name="connsiteY293" fmla="*/ 269250 h 1016771"/>
                    <a:gd name="connsiteX294" fmla="*/ 138167 w 761692"/>
                    <a:gd name="connsiteY294" fmla="*/ 265707 h 1016771"/>
                    <a:gd name="connsiteX295" fmla="*/ 150567 w 761692"/>
                    <a:gd name="connsiteY295" fmla="*/ 255079 h 1016771"/>
                    <a:gd name="connsiteX296" fmla="*/ 166509 w 761692"/>
                    <a:gd name="connsiteY296" fmla="*/ 255079 h 1016771"/>
                    <a:gd name="connsiteX297" fmla="*/ 166509 w 761692"/>
                    <a:gd name="connsiteY297" fmla="*/ 265707 h 1016771"/>
                    <a:gd name="connsiteX298" fmla="*/ 177138 w 761692"/>
                    <a:gd name="connsiteY298" fmla="*/ 272792 h 1016771"/>
                    <a:gd name="connsiteX299" fmla="*/ 194851 w 761692"/>
                    <a:gd name="connsiteY299" fmla="*/ 276335 h 1016771"/>
                    <a:gd name="connsiteX300" fmla="*/ 209022 w 761692"/>
                    <a:gd name="connsiteY300" fmla="*/ 279878 h 1016771"/>
                    <a:gd name="connsiteX301" fmla="*/ 221422 w 761692"/>
                    <a:gd name="connsiteY301" fmla="*/ 276335 h 1016771"/>
                    <a:gd name="connsiteX302" fmla="*/ 226736 w 761692"/>
                    <a:gd name="connsiteY302" fmla="*/ 269250 h 1016771"/>
                    <a:gd name="connsiteX303" fmla="*/ 226736 w 761692"/>
                    <a:gd name="connsiteY303" fmla="*/ 251536 h 1016771"/>
                    <a:gd name="connsiteX304" fmla="*/ 224965 w 761692"/>
                    <a:gd name="connsiteY304" fmla="*/ 239136 h 1016771"/>
                    <a:gd name="connsiteX305" fmla="*/ 214337 w 761692"/>
                    <a:gd name="connsiteY305" fmla="*/ 230279 h 1016771"/>
                    <a:gd name="connsiteX306" fmla="*/ 210794 w 761692"/>
                    <a:gd name="connsiteY306" fmla="*/ 217880 h 1016771"/>
                    <a:gd name="connsiteX307" fmla="*/ 221422 w 761692"/>
                    <a:gd name="connsiteY307" fmla="*/ 207251 h 1016771"/>
                    <a:gd name="connsiteX308" fmla="*/ 235593 w 761692"/>
                    <a:gd name="connsiteY308" fmla="*/ 214337 h 1016771"/>
                    <a:gd name="connsiteX309" fmla="*/ 246221 w 761692"/>
                    <a:gd name="connsiteY309" fmla="*/ 219651 h 1016771"/>
                    <a:gd name="connsiteX310" fmla="*/ 253307 w 761692"/>
                    <a:gd name="connsiteY310" fmla="*/ 221422 h 1016771"/>
                    <a:gd name="connsiteX311" fmla="*/ 262164 w 761692"/>
                    <a:gd name="connsiteY311" fmla="*/ 210794 h 1016771"/>
                    <a:gd name="connsiteX312" fmla="*/ 263935 w 761692"/>
                    <a:gd name="connsiteY312" fmla="*/ 201937 h 1016771"/>
                    <a:gd name="connsiteX313" fmla="*/ 274563 w 761692"/>
                    <a:gd name="connsiteY313" fmla="*/ 189538 h 1016771"/>
                    <a:gd name="connsiteX314" fmla="*/ 283420 w 761692"/>
                    <a:gd name="connsiteY314" fmla="*/ 178909 h 1016771"/>
                    <a:gd name="connsiteX315" fmla="*/ 286963 w 761692"/>
                    <a:gd name="connsiteY315" fmla="*/ 173595 h 1016771"/>
                    <a:gd name="connsiteX316" fmla="*/ 311762 w 761692"/>
                    <a:gd name="connsiteY316" fmla="*/ 168281 h 1016771"/>
                    <a:gd name="connsiteX317" fmla="*/ 325933 w 761692"/>
                    <a:gd name="connsiteY317" fmla="*/ 164738 h 1016771"/>
                    <a:gd name="connsiteX318" fmla="*/ 336562 w 761692"/>
                    <a:gd name="connsiteY318" fmla="*/ 159424 h 1016771"/>
                    <a:gd name="connsiteX319" fmla="*/ 348961 w 761692"/>
                    <a:gd name="connsiteY319" fmla="*/ 145253 h 1016771"/>
                    <a:gd name="connsiteX320" fmla="*/ 359589 w 761692"/>
                    <a:gd name="connsiteY320" fmla="*/ 143482 h 1016771"/>
                    <a:gd name="connsiteX321" fmla="*/ 371989 w 761692"/>
                    <a:gd name="connsiteY321" fmla="*/ 143482 h 1016771"/>
                    <a:gd name="connsiteX322" fmla="*/ 391474 w 761692"/>
                    <a:gd name="connsiteY322" fmla="*/ 143482 h 1016771"/>
                    <a:gd name="connsiteX323" fmla="*/ 396788 w 761692"/>
                    <a:gd name="connsiteY323" fmla="*/ 141710 h 1016771"/>
                    <a:gd name="connsiteX324" fmla="*/ 403874 w 761692"/>
                    <a:gd name="connsiteY324" fmla="*/ 134625 h 1016771"/>
                    <a:gd name="connsiteX325" fmla="*/ 409188 w 761692"/>
                    <a:gd name="connsiteY325" fmla="*/ 129311 h 1016771"/>
                    <a:gd name="connsiteX326" fmla="*/ 409188 w 761692"/>
                    <a:gd name="connsiteY326" fmla="*/ 123997 h 1016771"/>
                    <a:gd name="connsiteX327" fmla="*/ 414502 w 761692"/>
                    <a:gd name="connsiteY327" fmla="*/ 115140 h 1016771"/>
                    <a:gd name="connsiteX328" fmla="*/ 428673 w 761692"/>
                    <a:gd name="connsiteY328" fmla="*/ 115140 h 1016771"/>
                    <a:gd name="connsiteX329" fmla="*/ 432216 w 761692"/>
                    <a:gd name="connsiteY329" fmla="*/ 109826 h 1016771"/>
                    <a:gd name="connsiteX330" fmla="*/ 437530 w 761692"/>
                    <a:gd name="connsiteY330" fmla="*/ 100969 h 1016771"/>
                    <a:gd name="connsiteX331" fmla="*/ 448158 w 761692"/>
                    <a:gd name="connsiteY331" fmla="*/ 99197 h 1016771"/>
                    <a:gd name="connsiteX332" fmla="*/ 460558 w 761692"/>
                    <a:gd name="connsiteY332" fmla="*/ 97426 h 1016771"/>
                    <a:gd name="connsiteX333" fmla="*/ 472958 w 761692"/>
                    <a:gd name="connsiteY333" fmla="*/ 93883 h 1016771"/>
                    <a:gd name="connsiteX334" fmla="*/ 492443 w 761692"/>
                    <a:gd name="connsiteY334" fmla="*/ 93883 h 1016771"/>
                    <a:gd name="connsiteX335" fmla="*/ 501300 w 761692"/>
                    <a:gd name="connsiteY335" fmla="*/ 83255 h 1016771"/>
                    <a:gd name="connsiteX336" fmla="*/ 517242 w 761692"/>
                    <a:gd name="connsiteY336" fmla="*/ 81484 h 1016771"/>
                    <a:gd name="connsiteX337" fmla="*/ 522556 w 761692"/>
                    <a:gd name="connsiteY337" fmla="*/ 81484 h 1016771"/>
                    <a:gd name="connsiteX338" fmla="*/ 522556 w 761692"/>
                    <a:gd name="connsiteY338" fmla="*/ 60227 h 1016771"/>
                    <a:gd name="connsiteX339" fmla="*/ 526099 w 761692"/>
                    <a:gd name="connsiteY339" fmla="*/ 54913 h 1016771"/>
                    <a:gd name="connsiteX340" fmla="*/ 529642 w 761692"/>
                    <a:gd name="connsiteY340" fmla="*/ 46056 h 1016771"/>
                    <a:gd name="connsiteX341" fmla="*/ 538499 w 761692"/>
                    <a:gd name="connsiteY341" fmla="*/ 40742 h 1016771"/>
                    <a:gd name="connsiteX342" fmla="*/ 540270 w 761692"/>
                    <a:gd name="connsiteY342" fmla="*/ 30114 h 1016771"/>
                    <a:gd name="connsiteX343" fmla="*/ 536727 w 761692"/>
                    <a:gd name="connsiteY343" fmla="*/ 19485 h 1016771"/>
                    <a:gd name="connsiteX344" fmla="*/ 543813 w 761692"/>
                    <a:gd name="connsiteY344" fmla="*/ 5314 h 1016771"/>
                    <a:gd name="connsiteX345" fmla="*/ 554441 w 761692"/>
                    <a:gd name="connsiteY345" fmla="*/ 0 h 1016771"/>
                    <a:gd name="connsiteX0" fmla="*/ 293920 w 761692"/>
                    <a:gd name="connsiteY0" fmla="*/ 899918 h 1016771"/>
                    <a:gd name="connsiteX1" fmla="*/ 307483 w 761692"/>
                    <a:gd name="connsiteY1" fmla="*/ 901613 h 1016771"/>
                    <a:gd name="connsiteX2" fmla="*/ 311729 w 761692"/>
                    <a:gd name="connsiteY2" fmla="*/ 903178 h 1016771"/>
                    <a:gd name="connsiteX3" fmla="*/ 299363 w 761692"/>
                    <a:gd name="connsiteY3" fmla="*/ 901632 h 1016771"/>
                    <a:gd name="connsiteX4" fmla="*/ 288734 w 761692"/>
                    <a:gd name="connsiteY4" fmla="*/ 903403 h 1016771"/>
                    <a:gd name="connsiteX5" fmla="*/ 286963 w 761692"/>
                    <a:gd name="connsiteY5" fmla="*/ 910489 h 1016771"/>
                    <a:gd name="connsiteX6" fmla="*/ 283420 w 761692"/>
                    <a:gd name="connsiteY6" fmla="*/ 915803 h 1016771"/>
                    <a:gd name="connsiteX7" fmla="*/ 271021 w 761692"/>
                    <a:gd name="connsiteY7" fmla="*/ 912260 h 1016771"/>
                    <a:gd name="connsiteX8" fmla="*/ 270666 w 761692"/>
                    <a:gd name="connsiteY8" fmla="*/ 911196 h 1016771"/>
                    <a:gd name="connsiteX9" fmla="*/ 278662 w 761692"/>
                    <a:gd name="connsiteY9" fmla="*/ 913481 h 1016771"/>
                    <a:gd name="connsiteX10" fmla="*/ 282053 w 761692"/>
                    <a:gd name="connsiteY10" fmla="*/ 908395 h 1016771"/>
                    <a:gd name="connsiteX11" fmla="*/ 283748 w 761692"/>
                    <a:gd name="connsiteY11" fmla="*/ 901613 h 1016771"/>
                    <a:gd name="connsiteX12" fmla="*/ 293920 w 761692"/>
                    <a:gd name="connsiteY12" fmla="*/ 899918 h 1016771"/>
                    <a:gd name="connsiteX13" fmla="*/ 222919 w 761692"/>
                    <a:gd name="connsiteY13" fmla="*/ 879608 h 1016771"/>
                    <a:gd name="connsiteX14" fmla="*/ 243060 w 761692"/>
                    <a:gd name="connsiteY14" fmla="*/ 882965 h 1016771"/>
                    <a:gd name="connsiteX15" fmla="*/ 243990 w 761692"/>
                    <a:gd name="connsiteY15" fmla="*/ 883546 h 1016771"/>
                    <a:gd name="connsiteX16" fmla="*/ 224965 w 761692"/>
                    <a:gd name="connsiteY16" fmla="*/ 880375 h 1016771"/>
                    <a:gd name="connsiteX17" fmla="*/ 222919 w 761692"/>
                    <a:gd name="connsiteY17" fmla="*/ 879608 h 1016771"/>
                    <a:gd name="connsiteX18" fmla="*/ 159250 w 761692"/>
                    <a:gd name="connsiteY18" fmla="*/ 829179 h 1016771"/>
                    <a:gd name="connsiteX19" fmla="*/ 159989 w 761692"/>
                    <a:gd name="connsiteY19" fmla="*/ 830410 h 1016771"/>
                    <a:gd name="connsiteX20" fmla="*/ 151512 w 761692"/>
                    <a:gd name="connsiteY20" fmla="*/ 838886 h 1016771"/>
                    <a:gd name="connsiteX21" fmla="*/ 149817 w 761692"/>
                    <a:gd name="connsiteY21" fmla="*/ 840582 h 1016771"/>
                    <a:gd name="connsiteX22" fmla="*/ 148122 w 761692"/>
                    <a:gd name="connsiteY22" fmla="*/ 842277 h 1016771"/>
                    <a:gd name="connsiteX23" fmla="*/ 146426 w 761692"/>
                    <a:gd name="connsiteY23" fmla="*/ 843972 h 1016771"/>
                    <a:gd name="connsiteX24" fmla="*/ 141340 w 761692"/>
                    <a:gd name="connsiteY24" fmla="*/ 849058 h 1016771"/>
                    <a:gd name="connsiteX25" fmla="*/ 141340 w 761692"/>
                    <a:gd name="connsiteY25" fmla="*/ 850754 h 1016771"/>
                    <a:gd name="connsiteX26" fmla="*/ 139645 w 761692"/>
                    <a:gd name="connsiteY26" fmla="*/ 852449 h 1016771"/>
                    <a:gd name="connsiteX27" fmla="*/ 139645 w 761692"/>
                    <a:gd name="connsiteY27" fmla="*/ 860925 h 1016771"/>
                    <a:gd name="connsiteX28" fmla="*/ 148122 w 761692"/>
                    <a:gd name="connsiteY28" fmla="*/ 867707 h 1016771"/>
                    <a:gd name="connsiteX29" fmla="*/ 158294 w 761692"/>
                    <a:gd name="connsiteY29" fmla="*/ 879574 h 1016771"/>
                    <a:gd name="connsiteX30" fmla="*/ 175247 w 761692"/>
                    <a:gd name="connsiteY30" fmla="*/ 889746 h 1016771"/>
                    <a:gd name="connsiteX31" fmla="*/ 188810 w 761692"/>
                    <a:gd name="connsiteY31" fmla="*/ 893137 h 1016771"/>
                    <a:gd name="connsiteX32" fmla="*/ 195591 w 761692"/>
                    <a:gd name="connsiteY32" fmla="*/ 893137 h 1016771"/>
                    <a:gd name="connsiteX33" fmla="*/ 202372 w 761692"/>
                    <a:gd name="connsiteY33" fmla="*/ 886355 h 1016771"/>
                    <a:gd name="connsiteX34" fmla="*/ 200677 w 761692"/>
                    <a:gd name="connsiteY34" fmla="*/ 877879 h 1016771"/>
                    <a:gd name="connsiteX35" fmla="*/ 209154 w 761692"/>
                    <a:gd name="connsiteY35" fmla="*/ 874488 h 1016771"/>
                    <a:gd name="connsiteX36" fmla="*/ 210740 w 761692"/>
                    <a:gd name="connsiteY36" fmla="*/ 875083 h 1016771"/>
                    <a:gd name="connsiteX37" fmla="*/ 201937 w 761692"/>
                    <a:gd name="connsiteY37" fmla="*/ 878604 h 1016771"/>
                    <a:gd name="connsiteX38" fmla="*/ 203708 w 761692"/>
                    <a:gd name="connsiteY38" fmla="*/ 887461 h 1016771"/>
                    <a:gd name="connsiteX39" fmla="*/ 196623 w 761692"/>
                    <a:gd name="connsiteY39" fmla="*/ 894546 h 1016771"/>
                    <a:gd name="connsiteX40" fmla="*/ 189537 w 761692"/>
                    <a:gd name="connsiteY40" fmla="*/ 894546 h 1016771"/>
                    <a:gd name="connsiteX41" fmla="*/ 175366 w 761692"/>
                    <a:gd name="connsiteY41" fmla="*/ 891003 h 1016771"/>
                    <a:gd name="connsiteX42" fmla="*/ 157653 w 761692"/>
                    <a:gd name="connsiteY42" fmla="*/ 880375 h 1016771"/>
                    <a:gd name="connsiteX43" fmla="*/ 147024 w 761692"/>
                    <a:gd name="connsiteY43" fmla="*/ 867975 h 1016771"/>
                    <a:gd name="connsiteX44" fmla="*/ 138167 w 761692"/>
                    <a:gd name="connsiteY44" fmla="*/ 860890 h 1016771"/>
                    <a:gd name="connsiteX45" fmla="*/ 138167 w 761692"/>
                    <a:gd name="connsiteY45" fmla="*/ 852033 h 1016771"/>
                    <a:gd name="connsiteX46" fmla="*/ 139939 w 761692"/>
                    <a:gd name="connsiteY46" fmla="*/ 850262 h 1016771"/>
                    <a:gd name="connsiteX47" fmla="*/ 139939 w 761692"/>
                    <a:gd name="connsiteY47" fmla="*/ 848490 h 1016771"/>
                    <a:gd name="connsiteX48" fmla="*/ 145253 w 761692"/>
                    <a:gd name="connsiteY48" fmla="*/ 843176 h 1016771"/>
                    <a:gd name="connsiteX49" fmla="*/ 147024 w 761692"/>
                    <a:gd name="connsiteY49" fmla="*/ 841405 h 1016771"/>
                    <a:gd name="connsiteX50" fmla="*/ 148796 w 761692"/>
                    <a:gd name="connsiteY50" fmla="*/ 839633 h 1016771"/>
                    <a:gd name="connsiteX51" fmla="*/ 150567 w 761692"/>
                    <a:gd name="connsiteY51" fmla="*/ 837862 h 1016771"/>
                    <a:gd name="connsiteX52" fmla="*/ 159250 w 761692"/>
                    <a:gd name="connsiteY52" fmla="*/ 829179 h 1016771"/>
                    <a:gd name="connsiteX53" fmla="*/ 116476 w 761692"/>
                    <a:gd name="connsiteY53" fmla="*/ 741349 h 1016771"/>
                    <a:gd name="connsiteX54" fmla="*/ 117606 w 761692"/>
                    <a:gd name="connsiteY54" fmla="*/ 742253 h 1016771"/>
                    <a:gd name="connsiteX55" fmla="*/ 122692 w 761692"/>
                    <a:gd name="connsiteY55" fmla="*/ 759206 h 1016771"/>
                    <a:gd name="connsiteX56" fmla="*/ 126082 w 761692"/>
                    <a:gd name="connsiteY56" fmla="*/ 771073 h 1016771"/>
                    <a:gd name="connsiteX57" fmla="*/ 129473 w 761692"/>
                    <a:gd name="connsiteY57" fmla="*/ 782940 h 1016771"/>
                    <a:gd name="connsiteX58" fmla="*/ 132864 w 761692"/>
                    <a:gd name="connsiteY58" fmla="*/ 793112 h 1016771"/>
                    <a:gd name="connsiteX59" fmla="*/ 136254 w 761692"/>
                    <a:gd name="connsiteY59" fmla="*/ 810066 h 1016771"/>
                    <a:gd name="connsiteX60" fmla="*/ 139058 w 761692"/>
                    <a:gd name="connsiteY60" fmla="*/ 818476 h 1016771"/>
                    <a:gd name="connsiteX61" fmla="*/ 138167 w 761692"/>
                    <a:gd name="connsiteY61" fmla="*/ 818377 h 1016771"/>
                    <a:gd name="connsiteX62" fmla="*/ 134625 w 761692"/>
                    <a:gd name="connsiteY62" fmla="*/ 807749 h 1016771"/>
                    <a:gd name="connsiteX63" fmla="*/ 131082 w 761692"/>
                    <a:gd name="connsiteY63" fmla="*/ 790035 h 1016771"/>
                    <a:gd name="connsiteX64" fmla="*/ 127539 w 761692"/>
                    <a:gd name="connsiteY64" fmla="*/ 779407 h 1016771"/>
                    <a:gd name="connsiteX65" fmla="*/ 123996 w 761692"/>
                    <a:gd name="connsiteY65" fmla="*/ 767007 h 1016771"/>
                    <a:gd name="connsiteX66" fmla="*/ 120454 w 761692"/>
                    <a:gd name="connsiteY66" fmla="*/ 754607 h 1016771"/>
                    <a:gd name="connsiteX67" fmla="*/ 116476 w 761692"/>
                    <a:gd name="connsiteY67" fmla="*/ 741349 h 1016771"/>
                    <a:gd name="connsiteX68" fmla="*/ 554441 w 761692"/>
                    <a:gd name="connsiteY68" fmla="*/ 0 h 1016771"/>
                    <a:gd name="connsiteX69" fmla="*/ 570383 w 761692"/>
                    <a:gd name="connsiteY69" fmla="*/ 3543 h 1016771"/>
                    <a:gd name="connsiteX70" fmla="*/ 577469 w 761692"/>
                    <a:gd name="connsiteY70" fmla="*/ 8857 h 1016771"/>
                    <a:gd name="connsiteX71" fmla="*/ 582783 w 761692"/>
                    <a:gd name="connsiteY71" fmla="*/ 17714 h 1016771"/>
                    <a:gd name="connsiteX72" fmla="*/ 582783 w 761692"/>
                    <a:gd name="connsiteY72" fmla="*/ 24799 h 1016771"/>
                    <a:gd name="connsiteX73" fmla="*/ 588097 w 761692"/>
                    <a:gd name="connsiteY73" fmla="*/ 33656 h 1016771"/>
                    <a:gd name="connsiteX74" fmla="*/ 598725 w 761692"/>
                    <a:gd name="connsiteY74" fmla="*/ 31885 h 1016771"/>
                    <a:gd name="connsiteX75" fmla="*/ 612896 w 761692"/>
                    <a:gd name="connsiteY75" fmla="*/ 37199 h 1016771"/>
                    <a:gd name="connsiteX76" fmla="*/ 618211 w 761692"/>
                    <a:gd name="connsiteY76" fmla="*/ 46056 h 1016771"/>
                    <a:gd name="connsiteX77" fmla="*/ 619982 w 761692"/>
                    <a:gd name="connsiteY77" fmla="*/ 54913 h 1016771"/>
                    <a:gd name="connsiteX78" fmla="*/ 618211 w 761692"/>
                    <a:gd name="connsiteY78" fmla="*/ 74398 h 1016771"/>
                    <a:gd name="connsiteX79" fmla="*/ 616439 w 761692"/>
                    <a:gd name="connsiteY79" fmla="*/ 85026 h 1016771"/>
                    <a:gd name="connsiteX80" fmla="*/ 621753 w 761692"/>
                    <a:gd name="connsiteY80" fmla="*/ 97426 h 1016771"/>
                    <a:gd name="connsiteX81" fmla="*/ 637696 w 761692"/>
                    <a:gd name="connsiteY81" fmla="*/ 113368 h 1016771"/>
                    <a:gd name="connsiteX82" fmla="*/ 644781 w 761692"/>
                    <a:gd name="connsiteY82" fmla="*/ 120454 h 1016771"/>
                    <a:gd name="connsiteX83" fmla="*/ 650095 w 761692"/>
                    <a:gd name="connsiteY83" fmla="*/ 136396 h 1016771"/>
                    <a:gd name="connsiteX84" fmla="*/ 655409 w 761692"/>
                    <a:gd name="connsiteY84" fmla="*/ 155881 h 1016771"/>
                    <a:gd name="connsiteX85" fmla="*/ 662495 w 761692"/>
                    <a:gd name="connsiteY85" fmla="*/ 171824 h 1016771"/>
                    <a:gd name="connsiteX86" fmla="*/ 660724 w 761692"/>
                    <a:gd name="connsiteY86" fmla="*/ 185995 h 1016771"/>
                    <a:gd name="connsiteX87" fmla="*/ 635924 w 761692"/>
                    <a:gd name="connsiteY87" fmla="*/ 194852 h 1016771"/>
                    <a:gd name="connsiteX88" fmla="*/ 619982 w 761692"/>
                    <a:gd name="connsiteY88" fmla="*/ 207251 h 1016771"/>
                    <a:gd name="connsiteX89" fmla="*/ 614668 w 761692"/>
                    <a:gd name="connsiteY89" fmla="*/ 223194 h 1016771"/>
                    <a:gd name="connsiteX90" fmla="*/ 618211 w 761692"/>
                    <a:gd name="connsiteY90" fmla="*/ 242679 h 1016771"/>
                    <a:gd name="connsiteX91" fmla="*/ 612896 w 761692"/>
                    <a:gd name="connsiteY91" fmla="*/ 256850 h 1016771"/>
                    <a:gd name="connsiteX92" fmla="*/ 625296 w 761692"/>
                    <a:gd name="connsiteY92" fmla="*/ 267478 h 1016771"/>
                    <a:gd name="connsiteX93" fmla="*/ 641238 w 761692"/>
                    <a:gd name="connsiteY93" fmla="*/ 269250 h 1016771"/>
                    <a:gd name="connsiteX94" fmla="*/ 658952 w 761692"/>
                    <a:gd name="connsiteY94" fmla="*/ 286963 h 1016771"/>
                    <a:gd name="connsiteX95" fmla="*/ 653638 w 761692"/>
                    <a:gd name="connsiteY95" fmla="*/ 309991 h 1016771"/>
                    <a:gd name="connsiteX96" fmla="*/ 653638 w 761692"/>
                    <a:gd name="connsiteY96" fmla="*/ 329476 h 1016771"/>
                    <a:gd name="connsiteX97" fmla="*/ 643010 w 761692"/>
                    <a:gd name="connsiteY97" fmla="*/ 338333 h 1016771"/>
                    <a:gd name="connsiteX98" fmla="*/ 632382 w 761692"/>
                    <a:gd name="connsiteY98" fmla="*/ 338333 h 1016771"/>
                    <a:gd name="connsiteX99" fmla="*/ 618211 w 761692"/>
                    <a:gd name="connsiteY99" fmla="*/ 357819 h 1016771"/>
                    <a:gd name="connsiteX100" fmla="*/ 609354 w 761692"/>
                    <a:gd name="connsiteY100" fmla="*/ 361361 h 1016771"/>
                    <a:gd name="connsiteX101" fmla="*/ 596954 w 761692"/>
                    <a:gd name="connsiteY101" fmla="*/ 363133 h 1016771"/>
                    <a:gd name="connsiteX102" fmla="*/ 581012 w 761692"/>
                    <a:gd name="connsiteY102" fmla="*/ 379075 h 1016771"/>
                    <a:gd name="connsiteX103" fmla="*/ 589868 w 761692"/>
                    <a:gd name="connsiteY103" fmla="*/ 393246 h 1016771"/>
                    <a:gd name="connsiteX104" fmla="*/ 586326 w 761692"/>
                    <a:gd name="connsiteY104" fmla="*/ 409189 h 1016771"/>
                    <a:gd name="connsiteX105" fmla="*/ 570383 w 761692"/>
                    <a:gd name="connsiteY105" fmla="*/ 398560 h 1016771"/>
                    <a:gd name="connsiteX106" fmla="*/ 550898 w 761692"/>
                    <a:gd name="connsiteY106" fmla="*/ 405646 h 1016771"/>
                    <a:gd name="connsiteX107" fmla="*/ 531413 w 761692"/>
                    <a:gd name="connsiteY107" fmla="*/ 425131 h 1016771"/>
                    <a:gd name="connsiteX108" fmla="*/ 543813 w 761692"/>
                    <a:gd name="connsiteY108" fmla="*/ 444616 h 1016771"/>
                    <a:gd name="connsiteX109" fmla="*/ 557984 w 761692"/>
                    <a:gd name="connsiteY109" fmla="*/ 462330 h 1016771"/>
                    <a:gd name="connsiteX110" fmla="*/ 570383 w 761692"/>
                    <a:gd name="connsiteY110" fmla="*/ 478272 h 1016771"/>
                    <a:gd name="connsiteX111" fmla="*/ 579240 w 761692"/>
                    <a:gd name="connsiteY111" fmla="*/ 485358 h 1016771"/>
                    <a:gd name="connsiteX112" fmla="*/ 602268 w 761692"/>
                    <a:gd name="connsiteY112" fmla="*/ 483586 h 1016771"/>
                    <a:gd name="connsiteX113" fmla="*/ 623525 w 761692"/>
                    <a:gd name="connsiteY113" fmla="*/ 474730 h 1016771"/>
                    <a:gd name="connsiteX114" fmla="*/ 639467 w 761692"/>
                    <a:gd name="connsiteY114" fmla="*/ 464101 h 1016771"/>
                    <a:gd name="connsiteX115" fmla="*/ 662495 w 761692"/>
                    <a:gd name="connsiteY115" fmla="*/ 464101 h 1016771"/>
                    <a:gd name="connsiteX116" fmla="*/ 673123 w 761692"/>
                    <a:gd name="connsiteY116" fmla="*/ 464101 h 1016771"/>
                    <a:gd name="connsiteX117" fmla="*/ 681980 w 761692"/>
                    <a:gd name="connsiteY117" fmla="*/ 467644 h 1016771"/>
                    <a:gd name="connsiteX118" fmla="*/ 703237 w 761692"/>
                    <a:gd name="connsiteY118" fmla="*/ 471187 h 1016771"/>
                    <a:gd name="connsiteX119" fmla="*/ 708551 w 761692"/>
                    <a:gd name="connsiteY119" fmla="*/ 474730 h 1016771"/>
                    <a:gd name="connsiteX120" fmla="*/ 722722 w 761692"/>
                    <a:gd name="connsiteY120" fmla="*/ 501300 h 1016771"/>
                    <a:gd name="connsiteX121" fmla="*/ 724493 w 761692"/>
                    <a:gd name="connsiteY121" fmla="*/ 522557 h 1016771"/>
                    <a:gd name="connsiteX122" fmla="*/ 722722 w 761692"/>
                    <a:gd name="connsiteY122" fmla="*/ 540271 h 1016771"/>
                    <a:gd name="connsiteX123" fmla="*/ 735121 w 761692"/>
                    <a:gd name="connsiteY123" fmla="*/ 552670 h 1016771"/>
                    <a:gd name="connsiteX124" fmla="*/ 735121 w 761692"/>
                    <a:gd name="connsiteY124" fmla="*/ 570384 h 1016771"/>
                    <a:gd name="connsiteX125" fmla="*/ 751064 w 761692"/>
                    <a:gd name="connsiteY125" fmla="*/ 581012 h 1016771"/>
                    <a:gd name="connsiteX126" fmla="*/ 761692 w 761692"/>
                    <a:gd name="connsiteY126" fmla="*/ 604040 h 1016771"/>
                    <a:gd name="connsiteX127" fmla="*/ 747521 w 761692"/>
                    <a:gd name="connsiteY127" fmla="*/ 616440 h 1016771"/>
                    <a:gd name="connsiteX128" fmla="*/ 728036 w 761692"/>
                    <a:gd name="connsiteY128" fmla="*/ 627068 h 1016771"/>
                    <a:gd name="connsiteX129" fmla="*/ 726264 w 761692"/>
                    <a:gd name="connsiteY129" fmla="*/ 650096 h 1016771"/>
                    <a:gd name="connsiteX130" fmla="*/ 728036 w 761692"/>
                    <a:gd name="connsiteY130" fmla="*/ 673124 h 1016771"/>
                    <a:gd name="connsiteX131" fmla="*/ 742207 w 761692"/>
                    <a:gd name="connsiteY131" fmla="*/ 689066 h 1016771"/>
                    <a:gd name="connsiteX132" fmla="*/ 742207 w 761692"/>
                    <a:gd name="connsiteY132" fmla="*/ 712094 h 1016771"/>
                    <a:gd name="connsiteX133" fmla="*/ 740435 w 761692"/>
                    <a:gd name="connsiteY133" fmla="*/ 735122 h 1016771"/>
                    <a:gd name="connsiteX134" fmla="*/ 742207 w 761692"/>
                    <a:gd name="connsiteY134" fmla="*/ 751065 h 1016771"/>
                    <a:gd name="connsiteX135" fmla="*/ 747521 w 761692"/>
                    <a:gd name="connsiteY135" fmla="*/ 768778 h 1016771"/>
                    <a:gd name="connsiteX136" fmla="*/ 759921 w 761692"/>
                    <a:gd name="connsiteY136" fmla="*/ 777635 h 1016771"/>
                    <a:gd name="connsiteX137" fmla="*/ 758149 w 761692"/>
                    <a:gd name="connsiteY137" fmla="*/ 802434 h 1016771"/>
                    <a:gd name="connsiteX138" fmla="*/ 752835 w 761692"/>
                    <a:gd name="connsiteY138" fmla="*/ 814834 h 1016771"/>
                    <a:gd name="connsiteX139" fmla="*/ 743978 w 761692"/>
                    <a:gd name="connsiteY139" fmla="*/ 827234 h 1016771"/>
                    <a:gd name="connsiteX140" fmla="*/ 743978 w 761692"/>
                    <a:gd name="connsiteY140" fmla="*/ 837862 h 1016771"/>
                    <a:gd name="connsiteX141" fmla="*/ 747521 w 761692"/>
                    <a:gd name="connsiteY141" fmla="*/ 853804 h 1016771"/>
                    <a:gd name="connsiteX142" fmla="*/ 733350 w 761692"/>
                    <a:gd name="connsiteY142" fmla="*/ 867975 h 1016771"/>
                    <a:gd name="connsiteX143" fmla="*/ 724493 w 761692"/>
                    <a:gd name="connsiteY143" fmla="*/ 880375 h 1016771"/>
                    <a:gd name="connsiteX144" fmla="*/ 722722 w 761692"/>
                    <a:gd name="connsiteY144" fmla="*/ 899860 h 1016771"/>
                    <a:gd name="connsiteX145" fmla="*/ 722722 w 761692"/>
                    <a:gd name="connsiteY145" fmla="*/ 919345 h 1016771"/>
                    <a:gd name="connsiteX146" fmla="*/ 715636 w 761692"/>
                    <a:gd name="connsiteY146" fmla="*/ 940602 h 1016771"/>
                    <a:gd name="connsiteX147" fmla="*/ 708551 w 761692"/>
                    <a:gd name="connsiteY147" fmla="*/ 954773 h 1016771"/>
                    <a:gd name="connsiteX148" fmla="*/ 699694 w 761692"/>
                    <a:gd name="connsiteY148" fmla="*/ 965401 h 1016771"/>
                    <a:gd name="connsiteX149" fmla="*/ 692608 w 761692"/>
                    <a:gd name="connsiteY149" fmla="*/ 984886 h 1016771"/>
                    <a:gd name="connsiteX150" fmla="*/ 683751 w 761692"/>
                    <a:gd name="connsiteY150" fmla="*/ 997286 h 1016771"/>
                    <a:gd name="connsiteX151" fmla="*/ 673123 w 761692"/>
                    <a:gd name="connsiteY151" fmla="*/ 1002600 h 1016771"/>
                    <a:gd name="connsiteX152" fmla="*/ 662495 w 761692"/>
                    <a:gd name="connsiteY152" fmla="*/ 1013228 h 1016771"/>
                    <a:gd name="connsiteX153" fmla="*/ 644781 w 761692"/>
                    <a:gd name="connsiteY153" fmla="*/ 1016771 h 1016771"/>
                    <a:gd name="connsiteX154" fmla="*/ 635924 w 761692"/>
                    <a:gd name="connsiteY154" fmla="*/ 1004372 h 1016771"/>
                    <a:gd name="connsiteX155" fmla="*/ 623525 w 761692"/>
                    <a:gd name="connsiteY155" fmla="*/ 997286 h 1016771"/>
                    <a:gd name="connsiteX156" fmla="*/ 614668 w 761692"/>
                    <a:gd name="connsiteY156" fmla="*/ 986658 h 1016771"/>
                    <a:gd name="connsiteX157" fmla="*/ 593411 w 761692"/>
                    <a:gd name="connsiteY157" fmla="*/ 970715 h 1016771"/>
                    <a:gd name="connsiteX158" fmla="*/ 582783 w 761692"/>
                    <a:gd name="connsiteY158" fmla="*/ 965401 h 1016771"/>
                    <a:gd name="connsiteX159" fmla="*/ 531413 w 761692"/>
                    <a:gd name="connsiteY159" fmla="*/ 965401 h 1016771"/>
                    <a:gd name="connsiteX160" fmla="*/ 511928 w 761692"/>
                    <a:gd name="connsiteY160" fmla="*/ 965401 h 1016771"/>
                    <a:gd name="connsiteX161" fmla="*/ 492443 w 761692"/>
                    <a:gd name="connsiteY161" fmla="*/ 963630 h 1016771"/>
                    <a:gd name="connsiteX162" fmla="*/ 483586 w 761692"/>
                    <a:gd name="connsiteY162" fmla="*/ 958316 h 1016771"/>
                    <a:gd name="connsiteX163" fmla="*/ 469415 w 761692"/>
                    <a:gd name="connsiteY163" fmla="*/ 954773 h 1016771"/>
                    <a:gd name="connsiteX164" fmla="*/ 460558 w 761692"/>
                    <a:gd name="connsiteY164" fmla="*/ 942373 h 1016771"/>
                    <a:gd name="connsiteX165" fmla="*/ 446387 w 761692"/>
                    <a:gd name="connsiteY165" fmla="*/ 935288 h 1016771"/>
                    <a:gd name="connsiteX166" fmla="*/ 428673 w 761692"/>
                    <a:gd name="connsiteY166" fmla="*/ 928202 h 1016771"/>
                    <a:gd name="connsiteX167" fmla="*/ 418045 w 761692"/>
                    <a:gd name="connsiteY167" fmla="*/ 917574 h 1016771"/>
                    <a:gd name="connsiteX168" fmla="*/ 421588 w 761692"/>
                    <a:gd name="connsiteY168" fmla="*/ 903403 h 1016771"/>
                    <a:gd name="connsiteX169" fmla="*/ 418045 w 761692"/>
                    <a:gd name="connsiteY169" fmla="*/ 898089 h 1016771"/>
                    <a:gd name="connsiteX170" fmla="*/ 396788 w 761692"/>
                    <a:gd name="connsiteY170" fmla="*/ 898089 h 1016771"/>
                    <a:gd name="connsiteX171" fmla="*/ 382617 w 761692"/>
                    <a:gd name="connsiteY171" fmla="*/ 896318 h 1016771"/>
                    <a:gd name="connsiteX172" fmla="*/ 380846 w 761692"/>
                    <a:gd name="connsiteY172" fmla="*/ 906946 h 1016771"/>
                    <a:gd name="connsiteX173" fmla="*/ 347190 w 761692"/>
                    <a:gd name="connsiteY173" fmla="*/ 915803 h 1016771"/>
                    <a:gd name="connsiteX174" fmla="*/ 342700 w 761692"/>
                    <a:gd name="connsiteY174" fmla="*/ 914149 h 1016771"/>
                    <a:gd name="connsiteX175" fmla="*/ 373601 w 761692"/>
                    <a:gd name="connsiteY175" fmla="*/ 894832 h 1016771"/>
                    <a:gd name="connsiteX176" fmla="*/ 387164 w 761692"/>
                    <a:gd name="connsiteY176" fmla="*/ 896527 h 1016771"/>
                    <a:gd name="connsiteX177" fmla="*/ 383773 w 761692"/>
                    <a:gd name="connsiteY177" fmla="*/ 886355 h 1016771"/>
                    <a:gd name="connsiteX178" fmla="*/ 387164 w 761692"/>
                    <a:gd name="connsiteY178" fmla="*/ 876183 h 1016771"/>
                    <a:gd name="connsiteX179" fmla="*/ 388859 w 761692"/>
                    <a:gd name="connsiteY179" fmla="*/ 867707 h 1016771"/>
                    <a:gd name="connsiteX180" fmla="*/ 380382 w 761692"/>
                    <a:gd name="connsiteY180" fmla="*/ 859230 h 1016771"/>
                    <a:gd name="connsiteX181" fmla="*/ 373601 w 761692"/>
                    <a:gd name="connsiteY181" fmla="*/ 849058 h 1016771"/>
                    <a:gd name="connsiteX182" fmla="*/ 380382 w 761692"/>
                    <a:gd name="connsiteY182" fmla="*/ 838886 h 1016771"/>
                    <a:gd name="connsiteX183" fmla="*/ 383773 w 761692"/>
                    <a:gd name="connsiteY183" fmla="*/ 833800 h 1016771"/>
                    <a:gd name="connsiteX184" fmla="*/ 388859 w 761692"/>
                    <a:gd name="connsiteY184" fmla="*/ 825324 h 1016771"/>
                    <a:gd name="connsiteX185" fmla="*/ 387164 w 761692"/>
                    <a:gd name="connsiteY185" fmla="*/ 810066 h 1016771"/>
                    <a:gd name="connsiteX186" fmla="*/ 387164 w 761692"/>
                    <a:gd name="connsiteY186" fmla="*/ 796503 h 1016771"/>
                    <a:gd name="connsiteX187" fmla="*/ 378687 w 761692"/>
                    <a:gd name="connsiteY187" fmla="*/ 789722 h 1016771"/>
                    <a:gd name="connsiteX188" fmla="*/ 366820 w 761692"/>
                    <a:gd name="connsiteY188" fmla="*/ 782940 h 1016771"/>
                    <a:gd name="connsiteX189" fmla="*/ 356648 w 761692"/>
                    <a:gd name="connsiteY189" fmla="*/ 781245 h 1016771"/>
                    <a:gd name="connsiteX190" fmla="*/ 349866 w 761692"/>
                    <a:gd name="connsiteY190" fmla="*/ 771073 h 1016771"/>
                    <a:gd name="connsiteX191" fmla="*/ 349866 w 761692"/>
                    <a:gd name="connsiteY191" fmla="*/ 752425 h 1016771"/>
                    <a:gd name="connsiteX192" fmla="*/ 353257 w 761692"/>
                    <a:gd name="connsiteY192" fmla="*/ 743948 h 1016771"/>
                    <a:gd name="connsiteX193" fmla="*/ 354952 w 761692"/>
                    <a:gd name="connsiteY193" fmla="*/ 730385 h 1016771"/>
                    <a:gd name="connsiteX194" fmla="*/ 353257 w 761692"/>
                    <a:gd name="connsiteY194" fmla="*/ 713432 h 1016771"/>
                    <a:gd name="connsiteX195" fmla="*/ 346476 w 761692"/>
                    <a:gd name="connsiteY195" fmla="*/ 701565 h 1016771"/>
                    <a:gd name="connsiteX196" fmla="*/ 332913 w 761692"/>
                    <a:gd name="connsiteY196" fmla="*/ 689697 h 1016771"/>
                    <a:gd name="connsiteX197" fmla="*/ 324436 w 761692"/>
                    <a:gd name="connsiteY197" fmla="*/ 681221 h 1016771"/>
                    <a:gd name="connsiteX198" fmla="*/ 314264 w 761692"/>
                    <a:gd name="connsiteY198" fmla="*/ 676135 h 1016771"/>
                    <a:gd name="connsiteX199" fmla="*/ 293920 w 761692"/>
                    <a:gd name="connsiteY199" fmla="*/ 669354 h 1016771"/>
                    <a:gd name="connsiteX200" fmla="*/ 282053 w 761692"/>
                    <a:gd name="connsiteY200" fmla="*/ 667658 h 1016771"/>
                    <a:gd name="connsiteX201" fmla="*/ 266795 w 761692"/>
                    <a:gd name="connsiteY201" fmla="*/ 672744 h 1016771"/>
                    <a:gd name="connsiteX202" fmla="*/ 265100 w 761692"/>
                    <a:gd name="connsiteY202" fmla="*/ 672744 h 1016771"/>
                    <a:gd name="connsiteX203" fmla="*/ 263404 w 761692"/>
                    <a:gd name="connsiteY203" fmla="*/ 671049 h 1016771"/>
                    <a:gd name="connsiteX204" fmla="*/ 260014 w 761692"/>
                    <a:gd name="connsiteY204" fmla="*/ 671049 h 1016771"/>
                    <a:gd name="connsiteX205" fmla="*/ 258318 w 761692"/>
                    <a:gd name="connsiteY205" fmla="*/ 671049 h 1016771"/>
                    <a:gd name="connsiteX206" fmla="*/ 253232 w 761692"/>
                    <a:gd name="connsiteY206" fmla="*/ 671049 h 1016771"/>
                    <a:gd name="connsiteX207" fmla="*/ 248146 w 761692"/>
                    <a:gd name="connsiteY207" fmla="*/ 672744 h 1016771"/>
                    <a:gd name="connsiteX208" fmla="*/ 248146 w 761692"/>
                    <a:gd name="connsiteY208" fmla="*/ 674440 h 1016771"/>
                    <a:gd name="connsiteX209" fmla="*/ 246451 w 761692"/>
                    <a:gd name="connsiteY209" fmla="*/ 674440 h 1016771"/>
                    <a:gd name="connsiteX210" fmla="*/ 236279 w 761692"/>
                    <a:gd name="connsiteY210" fmla="*/ 679526 h 1016771"/>
                    <a:gd name="connsiteX211" fmla="*/ 226107 w 761692"/>
                    <a:gd name="connsiteY211" fmla="*/ 684612 h 1016771"/>
                    <a:gd name="connsiteX212" fmla="*/ 217630 w 761692"/>
                    <a:gd name="connsiteY212" fmla="*/ 684612 h 1016771"/>
                    <a:gd name="connsiteX213" fmla="*/ 207458 w 761692"/>
                    <a:gd name="connsiteY213" fmla="*/ 693088 h 1016771"/>
                    <a:gd name="connsiteX214" fmla="*/ 198982 w 761692"/>
                    <a:gd name="connsiteY214" fmla="*/ 694783 h 1016771"/>
                    <a:gd name="connsiteX215" fmla="*/ 192200 w 761692"/>
                    <a:gd name="connsiteY215" fmla="*/ 699869 h 1016771"/>
                    <a:gd name="connsiteX216" fmla="*/ 178638 w 761692"/>
                    <a:gd name="connsiteY216" fmla="*/ 706651 h 1016771"/>
                    <a:gd name="connsiteX217" fmla="*/ 163380 w 761692"/>
                    <a:gd name="connsiteY217" fmla="*/ 710041 h 1016771"/>
                    <a:gd name="connsiteX218" fmla="*/ 141340 w 761692"/>
                    <a:gd name="connsiteY218" fmla="*/ 710041 h 1016771"/>
                    <a:gd name="connsiteX219" fmla="*/ 134559 w 761692"/>
                    <a:gd name="connsiteY219" fmla="*/ 716823 h 1016771"/>
                    <a:gd name="connsiteX220" fmla="*/ 127778 w 761692"/>
                    <a:gd name="connsiteY220" fmla="*/ 718518 h 1016771"/>
                    <a:gd name="connsiteX221" fmla="*/ 120996 w 761692"/>
                    <a:gd name="connsiteY221" fmla="*/ 725299 h 1016771"/>
                    <a:gd name="connsiteX222" fmla="*/ 111172 w 761692"/>
                    <a:gd name="connsiteY222" fmla="*/ 733720 h 1016771"/>
                    <a:gd name="connsiteX223" fmla="*/ 106283 w 761692"/>
                    <a:gd name="connsiteY223" fmla="*/ 729808 h 1016771"/>
                    <a:gd name="connsiteX224" fmla="*/ 92112 w 761692"/>
                    <a:gd name="connsiteY224" fmla="*/ 724494 h 1016771"/>
                    <a:gd name="connsiteX225" fmla="*/ 77941 w 761692"/>
                    <a:gd name="connsiteY225" fmla="*/ 726265 h 1016771"/>
                    <a:gd name="connsiteX226" fmla="*/ 70855 w 761692"/>
                    <a:gd name="connsiteY226" fmla="*/ 719180 h 1016771"/>
                    <a:gd name="connsiteX227" fmla="*/ 70855 w 761692"/>
                    <a:gd name="connsiteY227" fmla="*/ 699695 h 1016771"/>
                    <a:gd name="connsiteX228" fmla="*/ 81483 w 761692"/>
                    <a:gd name="connsiteY228" fmla="*/ 685524 h 1016771"/>
                    <a:gd name="connsiteX229" fmla="*/ 85026 w 761692"/>
                    <a:gd name="connsiteY229" fmla="*/ 673124 h 1016771"/>
                    <a:gd name="connsiteX230" fmla="*/ 86797 w 761692"/>
                    <a:gd name="connsiteY230" fmla="*/ 660724 h 1016771"/>
                    <a:gd name="connsiteX231" fmla="*/ 97426 w 761692"/>
                    <a:gd name="connsiteY231" fmla="*/ 650096 h 1016771"/>
                    <a:gd name="connsiteX232" fmla="*/ 102740 w 761692"/>
                    <a:gd name="connsiteY232" fmla="*/ 635925 h 1016771"/>
                    <a:gd name="connsiteX233" fmla="*/ 113368 w 761692"/>
                    <a:gd name="connsiteY233" fmla="*/ 625297 h 1016771"/>
                    <a:gd name="connsiteX234" fmla="*/ 115139 w 761692"/>
                    <a:gd name="connsiteY234" fmla="*/ 612897 h 1016771"/>
                    <a:gd name="connsiteX235" fmla="*/ 127539 w 761692"/>
                    <a:gd name="connsiteY235" fmla="*/ 609354 h 1016771"/>
                    <a:gd name="connsiteX236" fmla="*/ 136396 w 761692"/>
                    <a:gd name="connsiteY236" fmla="*/ 604040 h 1016771"/>
                    <a:gd name="connsiteX237" fmla="*/ 132853 w 761692"/>
                    <a:gd name="connsiteY237" fmla="*/ 593412 h 1016771"/>
                    <a:gd name="connsiteX238" fmla="*/ 134625 w 761692"/>
                    <a:gd name="connsiteY238" fmla="*/ 584555 h 1016771"/>
                    <a:gd name="connsiteX239" fmla="*/ 131082 w 761692"/>
                    <a:gd name="connsiteY239" fmla="*/ 575698 h 1016771"/>
                    <a:gd name="connsiteX240" fmla="*/ 120454 w 761692"/>
                    <a:gd name="connsiteY240" fmla="*/ 568613 h 1016771"/>
                    <a:gd name="connsiteX241" fmla="*/ 125768 w 761692"/>
                    <a:gd name="connsiteY241" fmla="*/ 552670 h 1016771"/>
                    <a:gd name="connsiteX242" fmla="*/ 118682 w 761692"/>
                    <a:gd name="connsiteY242" fmla="*/ 543813 h 1016771"/>
                    <a:gd name="connsiteX243" fmla="*/ 90340 w 761692"/>
                    <a:gd name="connsiteY243" fmla="*/ 543813 h 1016771"/>
                    <a:gd name="connsiteX244" fmla="*/ 86797 w 761692"/>
                    <a:gd name="connsiteY244" fmla="*/ 542042 h 1016771"/>
                    <a:gd name="connsiteX245" fmla="*/ 83255 w 761692"/>
                    <a:gd name="connsiteY245" fmla="*/ 542042 h 1016771"/>
                    <a:gd name="connsiteX246" fmla="*/ 81483 w 761692"/>
                    <a:gd name="connsiteY246" fmla="*/ 540271 h 1016771"/>
                    <a:gd name="connsiteX247" fmla="*/ 81483 w 761692"/>
                    <a:gd name="connsiteY247" fmla="*/ 536728 h 1016771"/>
                    <a:gd name="connsiteX248" fmla="*/ 79712 w 761692"/>
                    <a:gd name="connsiteY248" fmla="*/ 531414 h 1016771"/>
                    <a:gd name="connsiteX249" fmla="*/ 77941 w 761692"/>
                    <a:gd name="connsiteY249" fmla="*/ 529642 h 1016771"/>
                    <a:gd name="connsiteX250" fmla="*/ 70855 w 761692"/>
                    <a:gd name="connsiteY250" fmla="*/ 527871 h 1016771"/>
                    <a:gd name="connsiteX251" fmla="*/ 60227 w 761692"/>
                    <a:gd name="connsiteY251" fmla="*/ 536728 h 1016771"/>
                    <a:gd name="connsiteX252" fmla="*/ 47827 w 761692"/>
                    <a:gd name="connsiteY252" fmla="*/ 526100 h 1016771"/>
                    <a:gd name="connsiteX253" fmla="*/ 42513 w 761692"/>
                    <a:gd name="connsiteY253" fmla="*/ 515471 h 1016771"/>
                    <a:gd name="connsiteX254" fmla="*/ 33656 w 761692"/>
                    <a:gd name="connsiteY254" fmla="*/ 506614 h 1016771"/>
                    <a:gd name="connsiteX255" fmla="*/ 31885 w 761692"/>
                    <a:gd name="connsiteY255" fmla="*/ 490672 h 1016771"/>
                    <a:gd name="connsiteX256" fmla="*/ 26571 w 761692"/>
                    <a:gd name="connsiteY256" fmla="*/ 476501 h 1016771"/>
                    <a:gd name="connsiteX257" fmla="*/ 24799 w 761692"/>
                    <a:gd name="connsiteY257" fmla="*/ 471187 h 1016771"/>
                    <a:gd name="connsiteX258" fmla="*/ 12400 w 761692"/>
                    <a:gd name="connsiteY258" fmla="*/ 472958 h 1016771"/>
                    <a:gd name="connsiteX259" fmla="*/ 7086 w 761692"/>
                    <a:gd name="connsiteY259" fmla="*/ 464101 h 1016771"/>
                    <a:gd name="connsiteX260" fmla="*/ 8857 w 761692"/>
                    <a:gd name="connsiteY260" fmla="*/ 446388 h 1016771"/>
                    <a:gd name="connsiteX261" fmla="*/ 3543 w 761692"/>
                    <a:gd name="connsiteY261" fmla="*/ 435759 h 1016771"/>
                    <a:gd name="connsiteX262" fmla="*/ 5314 w 761692"/>
                    <a:gd name="connsiteY262" fmla="*/ 412731 h 1016771"/>
                    <a:gd name="connsiteX263" fmla="*/ 0 w 761692"/>
                    <a:gd name="connsiteY263" fmla="*/ 396789 h 1016771"/>
                    <a:gd name="connsiteX264" fmla="*/ 3543 w 761692"/>
                    <a:gd name="connsiteY264" fmla="*/ 384389 h 1016771"/>
                    <a:gd name="connsiteX265" fmla="*/ 14171 w 761692"/>
                    <a:gd name="connsiteY265" fmla="*/ 380846 h 1016771"/>
                    <a:gd name="connsiteX266" fmla="*/ 24799 w 761692"/>
                    <a:gd name="connsiteY266" fmla="*/ 364904 h 1016771"/>
                    <a:gd name="connsiteX267" fmla="*/ 30113 w 761692"/>
                    <a:gd name="connsiteY267" fmla="*/ 350733 h 1016771"/>
                    <a:gd name="connsiteX268" fmla="*/ 35428 w 761692"/>
                    <a:gd name="connsiteY268" fmla="*/ 341876 h 1016771"/>
                    <a:gd name="connsiteX269" fmla="*/ 42513 w 761692"/>
                    <a:gd name="connsiteY269" fmla="*/ 327705 h 1016771"/>
                    <a:gd name="connsiteX270" fmla="*/ 42513 w 761692"/>
                    <a:gd name="connsiteY270" fmla="*/ 315305 h 1016771"/>
                    <a:gd name="connsiteX271" fmla="*/ 56684 w 761692"/>
                    <a:gd name="connsiteY271" fmla="*/ 309991 h 1016771"/>
                    <a:gd name="connsiteX272" fmla="*/ 60227 w 761692"/>
                    <a:gd name="connsiteY272" fmla="*/ 309991 h 1016771"/>
                    <a:gd name="connsiteX273" fmla="*/ 61998 w 761692"/>
                    <a:gd name="connsiteY273" fmla="*/ 311763 h 1016771"/>
                    <a:gd name="connsiteX274" fmla="*/ 67312 w 761692"/>
                    <a:gd name="connsiteY274" fmla="*/ 311763 h 1016771"/>
                    <a:gd name="connsiteX275" fmla="*/ 67312 w 761692"/>
                    <a:gd name="connsiteY275" fmla="*/ 309991 h 1016771"/>
                    <a:gd name="connsiteX276" fmla="*/ 67312 w 761692"/>
                    <a:gd name="connsiteY276" fmla="*/ 308220 h 1016771"/>
                    <a:gd name="connsiteX277" fmla="*/ 69084 w 761692"/>
                    <a:gd name="connsiteY277" fmla="*/ 302906 h 1016771"/>
                    <a:gd name="connsiteX278" fmla="*/ 70855 w 761692"/>
                    <a:gd name="connsiteY278" fmla="*/ 301134 h 1016771"/>
                    <a:gd name="connsiteX279" fmla="*/ 70855 w 761692"/>
                    <a:gd name="connsiteY279" fmla="*/ 299363 h 1016771"/>
                    <a:gd name="connsiteX280" fmla="*/ 77941 w 761692"/>
                    <a:gd name="connsiteY280" fmla="*/ 295820 h 1016771"/>
                    <a:gd name="connsiteX281" fmla="*/ 85026 w 761692"/>
                    <a:gd name="connsiteY281" fmla="*/ 295820 h 1016771"/>
                    <a:gd name="connsiteX282" fmla="*/ 93883 w 761692"/>
                    <a:gd name="connsiteY282" fmla="*/ 297592 h 1016771"/>
                    <a:gd name="connsiteX283" fmla="*/ 100968 w 761692"/>
                    <a:gd name="connsiteY283" fmla="*/ 288735 h 1016771"/>
                    <a:gd name="connsiteX284" fmla="*/ 97426 w 761692"/>
                    <a:gd name="connsiteY284" fmla="*/ 279878 h 1016771"/>
                    <a:gd name="connsiteX285" fmla="*/ 85026 w 761692"/>
                    <a:gd name="connsiteY285" fmla="*/ 276335 h 1016771"/>
                    <a:gd name="connsiteX286" fmla="*/ 76169 w 761692"/>
                    <a:gd name="connsiteY286" fmla="*/ 271021 h 1016771"/>
                    <a:gd name="connsiteX287" fmla="*/ 76169 w 761692"/>
                    <a:gd name="connsiteY287" fmla="*/ 262164 h 1016771"/>
                    <a:gd name="connsiteX288" fmla="*/ 81483 w 761692"/>
                    <a:gd name="connsiteY288" fmla="*/ 251536 h 1016771"/>
                    <a:gd name="connsiteX289" fmla="*/ 86797 w 761692"/>
                    <a:gd name="connsiteY289" fmla="*/ 255079 h 1016771"/>
                    <a:gd name="connsiteX290" fmla="*/ 104511 w 761692"/>
                    <a:gd name="connsiteY290" fmla="*/ 262164 h 1016771"/>
                    <a:gd name="connsiteX291" fmla="*/ 116911 w 761692"/>
                    <a:gd name="connsiteY291" fmla="*/ 265707 h 1016771"/>
                    <a:gd name="connsiteX292" fmla="*/ 132853 w 761692"/>
                    <a:gd name="connsiteY292" fmla="*/ 269250 h 1016771"/>
                    <a:gd name="connsiteX293" fmla="*/ 138167 w 761692"/>
                    <a:gd name="connsiteY293" fmla="*/ 265707 h 1016771"/>
                    <a:gd name="connsiteX294" fmla="*/ 150567 w 761692"/>
                    <a:gd name="connsiteY294" fmla="*/ 255079 h 1016771"/>
                    <a:gd name="connsiteX295" fmla="*/ 166509 w 761692"/>
                    <a:gd name="connsiteY295" fmla="*/ 255079 h 1016771"/>
                    <a:gd name="connsiteX296" fmla="*/ 166509 w 761692"/>
                    <a:gd name="connsiteY296" fmla="*/ 265707 h 1016771"/>
                    <a:gd name="connsiteX297" fmla="*/ 177138 w 761692"/>
                    <a:gd name="connsiteY297" fmla="*/ 272792 h 1016771"/>
                    <a:gd name="connsiteX298" fmla="*/ 194851 w 761692"/>
                    <a:gd name="connsiteY298" fmla="*/ 276335 h 1016771"/>
                    <a:gd name="connsiteX299" fmla="*/ 209022 w 761692"/>
                    <a:gd name="connsiteY299" fmla="*/ 279878 h 1016771"/>
                    <a:gd name="connsiteX300" fmla="*/ 221422 w 761692"/>
                    <a:gd name="connsiteY300" fmla="*/ 276335 h 1016771"/>
                    <a:gd name="connsiteX301" fmla="*/ 226736 w 761692"/>
                    <a:gd name="connsiteY301" fmla="*/ 269250 h 1016771"/>
                    <a:gd name="connsiteX302" fmla="*/ 226736 w 761692"/>
                    <a:gd name="connsiteY302" fmla="*/ 251536 h 1016771"/>
                    <a:gd name="connsiteX303" fmla="*/ 224965 w 761692"/>
                    <a:gd name="connsiteY303" fmla="*/ 239136 h 1016771"/>
                    <a:gd name="connsiteX304" fmla="*/ 214337 w 761692"/>
                    <a:gd name="connsiteY304" fmla="*/ 230279 h 1016771"/>
                    <a:gd name="connsiteX305" fmla="*/ 210794 w 761692"/>
                    <a:gd name="connsiteY305" fmla="*/ 217880 h 1016771"/>
                    <a:gd name="connsiteX306" fmla="*/ 221422 w 761692"/>
                    <a:gd name="connsiteY306" fmla="*/ 207251 h 1016771"/>
                    <a:gd name="connsiteX307" fmla="*/ 235593 w 761692"/>
                    <a:gd name="connsiteY307" fmla="*/ 214337 h 1016771"/>
                    <a:gd name="connsiteX308" fmla="*/ 246221 w 761692"/>
                    <a:gd name="connsiteY308" fmla="*/ 219651 h 1016771"/>
                    <a:gd name="connsiteX309" fmla="*/ 253307 w 761692"/>
                    <a:gd name="connsiteY309" fmla="*/ 221422 h 1016771"/>
                    <a:gd name="connsiteX310" fmla="*/ 262164 w 761692"/>
                    <a:gd name="connsiteY310" fmla="*/ 210794 h 1016771"/>
                    <a:gd name="connsiteX311" fmla="*/ 263935 w 761692"/>
                    <a:gd name="connsiteY311" fmla="*/ 201937 h 1016771"/>
                    <a:gd name="connsiteX312" fmla="*/ 274563 w 761692"/>
                    <a:gd name="connsiteY312" fmla="*/ 189538 h 1016771"/>
                    <a:gd name="connsiteX313" fmla="*/ 283420 w 761692"/>
                    <a:gd name="connsiteY313" fmla="*/ 178909 h 1016771"/>
                    <a:gd name="connsiteX314" fmla="*/ 286963 w 761692"/>
                    <a:gd name="connsiteY314" fmla="*/ 173595 h 1016771"/>
                    <a:gd name="connsiteX315" fmla="*/ 311762 w 761692"/>
                    <a:gd name="connsiteY315" fmla="*/ 168281 h 1016771"/>
                    <a:gd name="connsiteX316" fmla="*/ 325933 w 761692"/>
                    <a:gd name="connsiteY316" fmla="*/ 164738 h 1016771"/>
                    <a:gd name="connsiteX317" fmla="*/ 336562 w 761692"/>
                    <a:gd name="connsiteY317" fmla="*/ 159424 h 1016771"/>
                    <a:gd name="connsiteX318" fmla="*/ 348961 w 761692"/>
                    <a:gd name="connsiteY318" fmla="*/ 145253 h 1016771"/>
                    <a:gd name="connsiteX319" fmla="*/ 359589 w 761692"/>
                    <a:gd name="connsiteY319" fmla="*/ 143482 h 1016771"/>
                    <a:gd name="connsiteX320" fmla="*/ 371989 w 761692"/>
                    <a:gd name="connsiteY320" fmla="*/ 143482 h 1016771"/>
                    <a:gd name="connsiteX321" fmla="*/ 391474 w 761692"/>
                    <a:gd name="connsiteY321" fmla="*/ 143482 h 1016771"/>
                    <a:gd name="connsiteX322" fmla="*/ 396788 w 761692"/>
                    <a:gd name="connsiteY322" fmla="*/ 141710 h 1016771"/>
                    <a:gd name="connsiteX323" fmla="*/ 403874 w 761692"/>
                    <a:gd name="connsiteY323" fmla="*/ 134625 h 1016771"/>
                    <a:gd name="connsiteX324" fmla="*/ 409188 w 761692"/>
                    <a:gd name="connsiteY324" fmla="*/ 129311 h 1016771"/>
                    <a:gd name="connsiteX325" fmla="*/ 409188 w 761692"/>
                    <a:gd name="connsiteY325" fmla="*/ 123997 h 1016771"/>
                    <a:gd name="connsiteX326" fmla="*/ 414502 w 761692"/>
                    <a:gd name="connsiteY326" fmla="*/ 115140 h 1016771"/>
                    <a:gd name="connsiteX327" fmla="*/ 428673 w 761692"/>
                    <a:gd name="connsiteY327" fmla="*/ 115140 h 1016771"/>
                    <a:gd name="connsiteX328" fmla="*/ 432216 w 761692"/>
                    <a:gd name="connsiteY328" fmla="*/ 109826 h 1016771"/>
                    <a:gd name="connsiteX329" fmla="*/ 437530 w 761692"/>
                    <a:gd name="connsiteY329" fmla="*/ 100969 h 1016771"/>
                    <a:gd name="connsiteX330" fmla="*/ 448158 w 761692"/>
                    <a:gd name="connsiteY330" fmla="*/ 99197 h 1016771"/>
                    <a:gd name="connsiteX331" fmla="*/ 460558 w 761692"/>
                    <a:gd name="connsiteY331" fmla="*/ 97426 h 1016771"/>
                    <a:gd name="connsiteX332" fmla="*/ 472958 w 761692"/>
                    <a:gd name="connsiteY332" fmla="*/ 93883 h 1016771"/>
                    <a:gd name="connsiteX333" fmla="*/ 492443 w 761692"/>
                    <a:gd name="connsiteY333" fmla="*/ 93883 h 1016771"/>
                    <a:gd name="connsiteX334" fmla="*/ 501300 w 761692"/>
                    <a:gd name="connsiteY334" fmla="*/ 83255 h 1016771"/>
                    <a:gd name="connsiteX335" fmla="*/ 517242 w 761692"/>
                    <a:gd name="connsiteY335" fmla="*/ 81484 h 1016771"/>
                    <a:gd name="connsiteX336" fmla="*/ 522556 w 761692"/>
                    <a:gd name="connsiteY336" fmla="*/ 81484 h 1016771"/>
                    <a:gd name="connsiteX337" fmla="*/ 522556 w 761692"/>
                    <a:gd name="connsiteY337" fmla="*/ 60227 h 1016771"/>
                    <a:gd name="connsiteX338" fmla="*/ 526099 w 761692"/>
                    <a:gd name="connsiteY338" fmla="*/ 54913 h 1016771"/>
                    <a:gd name="connsiteX339" fmla="*/ 529642 w 761692"/>
                    <a:gd name="connsiteY339" fmla="*/ 46056 h 1016771"/>
                    <a:gd name="connsiteX340" fmla="*/ 538499 w 761692"/>
                    <a:gd name="connsiteY340" fmla="*/ 40742 h 1016771"/>
                    <a:gd name="connsiteX341" fmla="*/ 540270 w 761692"/>
                    <a:gd name="connsiteY341" fmla="*/ 30114 h 1016771"/>
                    <a:gd name="connsiteX342" fmla="*/ 536727 w 761692"/>
                    <a:gd name="connsiteY342" fmla="*/ 19485 h 1016771"/>
                    <a:gd name="connsiteX343" fmla="*/ 543813 w 761692"/>
                    <a:gd name="connsiteY343" fmla="*/ 5314 h 1016771"/>
                    <a:gd name="connsiteX344" fmla="*/ 554441 w 761692"/>
                    <a:gd name="connsiteY344" fmla="*/ 0 h 1016771"/>
                    <a:gd name="connsiteX0" fmla="*/ 293920 w 761692"/>
                    <a:gd name="connsiteY0" fmla="*/ 899918 h 1016771"/>
                    <a:gd name="connsiteX1" fmla="*/ 307483 w 761692"/>
                    <a:gd name="connsiteY1" fmla="*/ 901613 h 1016771"/>
                    <a:gd name="connsiteX2" fmla="*/ 311729 w 761692"/>
                    <a:gd name="connsiteY2" fmla="*/ 903178 h 1016771"/>
                    <a:gd name="connsiteX3" fmla="*/ 299363 w 761692"/>
                    <a:gd name="connsiteY3" fmla="*/ 901632 h 1016771"/>
                    <a:gd name="connsiteX4" fmla="*/ 288734 w 761692"/>
                    <a:gd name="connsiteY4" fmla="*/ 903403 h 1016771"/>
                    <a:gd name="connsiteX5" fmla="*/ 286963 w 761692"/>
                    <a:gd name="connsiteY5" fmla="*/ 910489 h 1016771"/>
                    <a:gd name="connsiteX6" fmla="*/ 283420 w 761692"/>
                    <a:gd name="connsiteY6" fmla="*/ 915803 h 1016771"/>
                    <a:gd name="connsiteX7" fmla="*/ 271021 w 761692"/>
                    <a:gd name="connsiteY7" fmla="*/ 912260 h 1016771"/>
                    <a:gd name="connsiteX8" fmla="*/ 270666 w 761692"/>
                    <a:gd name="connsiteY8" fmla="*/ 911196 h 1016771"/>
                    <a:gd name="connsiteX9" fmla="*/ 278662 w 761692"/>
                    <a:gd name="connsiteY9" fmla="*/ 913481 h 1016771"/>
                    <a:gd name="connsiteX10" fmla="*/ 282053 w 761692"/>
                    <a:gd name="connsiteY10" fmla="*/ 908395 h 1016771"/>
                    <a:gd name="connsiteX11" fmla="*/ 283748 w 761692"/>
                    <a:gd name="connsiteY11" fmla="*/ 901613 h 1016771"/>
                    <a:gd name="connsiteX12" fmla="*/ 293920 w 761692"/>
                    <a:gd name="connsiteY12" fmla="*/ 899918 h 1016771"/>
                    <a:gd name="connsiteX13" fmla="*/ 222919 w 761692"/>
                    <a:gd name="connsiteY13" fmla="*/ 879608 h 1016771"/>
                    <a:gd name="connsiteX14" fmla="*/ 243060 w 761692"/>
                    <a:gd name="connsiteY14" fmla="*/ 882965 h 1016771"/>
                    <a:gd name="connsiteX15" fmla="*/ 243990 w 761692"/>
                    <a:gd name="connsiteY15" fmla="*/ 883546 h 1016771"/>
                    <a:gd name="connsiteX16" fmla="*/ 224965 w 761692"/>
                    <a:gd name="connsiteY16" fmla="*/ 880375 h 1016771"/>
                    <a:gd name="connsiteX17" fmla="*/ 222919 w 761692"/>
                    <a:gd name="connsiteY17" fmla="*/ 879608 h 1016771"/>
                    <a:gd name="connsiteX18" fmla="*/ 159250 w 761692"/>
                    <a:gd name="connsiteY18" fmla="*/ 829179 h 1016771"/>
                    <a:gd name="connsiteX19" fmla="*/ 159989 w 761692"/>
                    <a:gd name="connsiteY19" fmla="*/ 830410 h 1016771"/>
                    <a:gd name="connsiteX20" fmla="*/ 151512 w 761692"/>
                    <a:gd name="connsiteY20" fmla="*/ 838886 h 1016771"/>
                    <a:gd name="connsiteX21" fmla="*/ 149817 w 761692"/>
                    <a:gd name="connsiteY21" fmla="*/ 840582 h 1016771"/>
                    <a:gd name="connsiteX22" fmla="*/ 148122 w 761692"/>
                    <a:gd name="connsiteY22" fmla="*/ 842277 h 1016771"/>
                    <a:gd name="connsiteX23" fmla="*/ 146426 w 761692"/>
                    <a:gd name="connsiteY23" fmla="*/ 843972 h 1016771"/>
                    <a:gd name="connsiteX24" fmla="*/ 141340 w 761692"/>
                    <a:gd name="connsiteY24" fmla="*/ 849058 h 1016771"/>
                    <a:gd name="connsiteX25" fmla="*/ 141340 w 761692"/>
                    <a:gd name="connsiteY25" fmla="*/ 850754 h 1016771"/>
                    <a:gd name="connsiteX26" fmla="*/ 139645 w 761692"/>
                    <a:gd name="connsiteY26" fmla="*/ 852449 h 1016771"/>
                    <a:gd name="connsiteX27" fmla="*/ 139645 w 761692"/>
                    <a:gd name="connsiteY27" fmla="*/ 860925 h 1016771"/>
                    <a:gd name="connsiteX28" fmla="*/ 148122 w 761692"/>
                    <a:gd name="connsiteY28" fmla="*/ 867707 h 1016771"/>
                    <a:gd name="connsiteX29" fmla="*/ 158294 w 761692"/>
                    <a:gd name="connsiteY29" fmla="*/ 879574 h 1016771"/>
                    <a:gd name="connsiteX30" fmla="*/ 175247 w 761692"/>
                    <a:gd name="connsiteY30" fmla="*/ 889746 h 1016771"/>
                    <a:gd name="connsiteX31" fmla="*/ 188810 w 761692"/>
                    <a:gd name="connsiteY31" fmla="*/ 893137 h 1016771"/>
                    <a:gd name="connsiteX32" fmla="*/ 195591 w 761692"/>
                    <a:gd name="connsiteY32" fmla="*/ 893137 h 1016771"/>
                    <a:gd name="connsiteX33" fmla="*/ 202372 w 761692"/>
                    <a:gd name="connsiteY33" fmla="*/ 886355 h 1016771"/>
                    <a:gd name="connsiteX34" fmla="*/ 200677 w 761692"/>
                    <a:gd name="connsiteY34" fmla="*/ 877879 h 1016771"/>
                    <a:gd name="connsiteX35" fmla="*/ 209154 w 761692"/>
                    <a:gd name="connsiteY35" fmla="*/ 874488 h 1016771"/>
                    <a:gd name="connsiteX36" fmla="*/ 210740 w 761692"/>
                    <a:gd name="connsiteY36" fmla="*/ 875083 h 1016771"/>
                    <a:gd name="connsiteX37" fmla="*/ 201937 w 761692"/>
                    <a:gd name="connsiteY37" fmla="*/ 878604 h 1016771"/>
                    <a:gd name="connsiteX38" fmla="*/ 203708 w 761692"/>
                    <a:gd name="connsiteY38" fmla="*/ 887461 h 1016771"/>
                    <a:gd name="connsiteX39" fmla="*/ 196623 w 761692"/>
                    <a:gd name="connsiteY39" fmla="*/ 894546 h 1016771"/>
                    <a:gd name="connsiteX40" fmla="*/ 189537 w 761692"/>
                    <a:gd name="connsiteY40" fmla="*/ 894546 h 1016771"/>
                    <a:gd name="connsiteX41" fmla="*/ 175366 w 761692"/>
                    <a:gd name="connsiteY41" fmla="*/ 891003 h 1016771"/>
                    <a:gd name="connsiteX42" fmla="*/ 157653 w 761692"/>
                    <a:gd name="connsiteY42" fmla="*/ 880375 h 1016771"/>
                    <a:gd name="connsiteX43" fmla="*/ 147024 w 761692"/>
                    <a:gd name="connsiteY43" fmla="*/ 867975 h 1016771"/>
                    <a:gd name="connsiteX44" fmla="*/ 138167 w 761692"/>
                    <a:gd name="connsiteY44" fmla="*/ 860890 h 1016771"/>
                    <a:gd name="connsiteX45" fmla="*/ 138167 w 761692"/>
                    <a:gd name="connsiteY45" fmla="*/ 852033 h 1016771"/>
                    <a:gd name="connsiteX46" fmla="*/ 139939 w 761692"/>
                    <a:gd name="connsiteY46" fmla="*/ 850262 h 1016771"/>
                    <a:gd name="connsiteX47" fmla="*/ 139939 w 761692"/>
                    <a:gd name="connsiteY47" fmla="*/ 848490 h 1016771"/>
                    <a:gd name="connsiteX48" fmla="*/ 145253 w 761692"/>
                    <a:gd name="connsiteY48" fmla="*/ 843176 h 1016771"/>
                    <a:gd name="connsiteX49" fmla="*/ 147024 w 761692"/>
                    <a:gd name="connsiteY49" fmla="*/ 841405 h 1016771"/>
                    <a:gd name="connsiteX50" fmla="*/ 148796 w 761692"/>
                    <a:gd name="connsiteY50" fmla="*/ 839633 h 1016771"/>
                    <a:gd name="connsiteX51" fmla="*/ 150567 w 761692"/>
                    <a:gd name="connsiteY51" fmla="*/ 837862 h 1016771"/>
                    <a:gd name="connsiteX52" fmla="*/ 159250 w 761692"/>
                    <a:gd name="connsiteY52" fmla="*/ 829179 h 1016771"/>
                    <a:gd name="connsiteX53" fmla="*/ 116476 w 761692"/>
                    <a:gd name="connsiteY53" fmla="*/ 741349 h 1016771"/>
                    <a:gd name="connsiteX54" fmla="*/ 117606 w 761692"/>
                    <a:gd name="connsiteY54" fmla="*/ 742253 h 1016771"/>
                    <a:gd name="connsiteX55" fmla="*/ 122692 w 761692"/>
                    <a:gd name="connsiteY55" fmla="*/ 759206 h 1016771"/>
                    <a:gd name="connsiteX56" fmla="*/ 126082 w 761692"/>
                    <a:gd name="connsiteY56" fmla="*/ 771073 h 1016771"/>
                    <a:gd name="connsiteX57" fmla="*/ 129473 w 761692"/>
                    <a:gd name="connsiteY57" fmla="*/ 782940 h 1016771"/>
                    <a:gd name="connsiteX58" fmla="*/ 132864 w 761692"/>
                    <a:gd name="connsiteY58" fmla="*/ 793112 h 1016771"/>
                    <a:gd name="connsiteX59" fmla="*/ 136254 w 761692"/>
                    <a:gd name="connsiteY59" fmla="*/ 810066 h 1016771"/>
                    <a:gd name="connsiteX60" fmla="*/ 139058 w 761692"/>
                    <a:gd name="connsiteY60" fmla="*/ 818476 h 1016771"/>
                    <a:gd name="connsiteX61" fmla="*/ 138167 w 761692"/>
                    <a:gd name="connsiteY61" fmla="*/ 818377 h 1016771"/>
                    <a:gd name="connsiteX62" fmla="*/ 134625 w 761692"/>
                    <a:gd name="connsiteY62" fmla="*/ 807749 h 1016771"/>
                    <a:gd name="connsiteX63" fmla="*/ 131082 w 761692"/>
                    <a:gd name="connsiteY63" fmla="*/ 790035 h 1016771"/>
                    <a:gd name="connsiteX64" fmla="*/ 127539 w 761692"/>
                    <a:gd name="connsiteY64" fmla="*/ 779407 h 1016771"/>
                    <a:gd name="connsiteX65" fmla="*/ 123996 w 761692"/>
                    <a:gd name="connsiteY65" fmla="*/ 767007 h 1016771"/>
                    <a:gd name="connsiteX66" fmla="*/ 120454 w 761692"/>
                    <a:gd name="connsiteY66" fmla="*/ 754607 h 1016771"/>
                    <a:gd name="connsiteX67" fmla="*/ 116476 w 761692"/>
                    <a:gd name="connsiteY67" fmla="*/ 741349 h 1016771"/>
                    <a:gd name="connsiteX68" fmla="*/ 554441 w 761692"/>
                    <a:gd name="connsiteY68" fmla="*/ 0 h 1016771"/>
                    <a:gd name="connsiteX69" fmla="*/ 570383 w 761692"/>
                    <a:gd name="connsiteY69" fmla="*/ 3543 h 1016771"/>
                    <a:gd name="connsiteX70" fmla="*/ 577469 w 761692"/>
                    <a:gd name="connsiteY70" fmla="*/ 8857 h 1016771"/>
                    <a:gd name="connsiteX71" fmla="*/ 582783 w 761692"/>
                    <a:gd name="connsiteY71" fmla="*/ 17714 h 1016771"/>
                    <a:gd name="connsiteX72" fmla="*/ 582783 w 761692"/>
                    <a:gd name="connsiteY72" fmla="*/ 24799 h 1016771"/>
                    <a:gd name="connsiteX73" fmla="*/ 588097 w 761692"/>
                    <a:gd name="connsiteY73" fmla="*/ 33656 h 1016771"/>
                    <a:gd name="connsiteX74" fmla="*/ 598725 w 761692"/>
                    <a:gd name="connsiteY74" fmla="*/ 31885 h 1016771"/>
                    <a:gd name="connsiteX75" fmla="*/ 612896 w 761692"/>
                    <a:gd name="connsiteY75" fmla="*/ 37199 h 1016771"/>
                    <a:gd name="connsiteX76" fmla="*/ 618211 w 761692"/>
                    <a:gd name="connsiteY76" fmla="*/ 46056 h 1016771"/>
                    <a:gd name="connsiteX77" fmla="*/ 619982 w 761692"/>
                    <a:gd name="connsiteY77" fmla="*/ 54913 h 1016771"/>
                    <a:gd name="connsiteX78" fmla="*/ 618211 w 761692"/>
                    <a:gd name="connsiteY78" fmla="*/ 74398 h 1016771"/>
                    <a:gd name="connsiteX79" fmla="*/ 616439 w 761692"/>
                    <a:gd name="connsiteY79" fmla="*/ 85026 h 1016771"/>
                    <a:gd name="connsiteX80" fmla="*/ 621753 w 761692"/>
                    <a:gd name="connsiteY80" fmla="*/ 97426 h 1016771"/>
                    <a:gd name="connsiteX81" fmla="*/ 637696 w 761692"/>
                    <a:gd name="connsiteY81" fmla="*/ 113368 h 1016771"/>
                    <a:gd name="connsiteX82" fmla="*/ 644781 w 761692"/>
                    <a:gd name="connsiteY82" fmla="*/ 120454 h 1016771"/>
                    <a:gd name="connsiteX83" fmla="*/ 650095 w 761692"/>
                    <a:gd name="connsiteY83" fmla="*/ 136396 h 1016771"/>
                    <a:gd name="connsiteX84" fmla="*/ 655409 w 761692"/>
                    <a:gd name="connsiteY84" fmla="*/ 155881 h 1016771"/>
                    <a:gd name="connsiteX85" fmla="*/ 662495 w 761692"/>
                    <a:gd name="connsiteY85" fmla="*/ 171824 h 1016771"/>
                    <a:gd name="connsiteX86" fmla="*/ 660724 w 761692"/>
                    <a:gd name="connsiteY86" fmla="*/ 185995 h 1016771"/>
                    <a:gd name="connsiteX87" fmla="*/ 635924 w 761692"/>
                    <a:gd name="connsiteY87" fmla="*/ 194852 h 1016771"/>
                    <a:gd name="connsiteX88" fmla="*/ 619982 w 761692"/>
                    <a:gd name="connsiteY88" fmla="*/ 207251 h 1016771"/>
                    <a:gd name="connsiteX89" fmla="*/ 614668 w 761692"/>
                    <a:gd name="connsiteY89" fmla="*/ 223194 h 1016771"/>
                    <a:gd name="connsiteX90" fmla="*/ 618211 w 761692"/>
                    <a:gd name="connsiteY90" fmla="*/ 242679 h 1016771"/>
                    <a:gd name="connsiteX91" fmla="*/ 612896 w 761692"/>
                    <a:gd name="connsiteY91" fmla="*/ 256850 h 1016771"/>
                    <a:gd name="connsiteX92" fmla="*/ 625296 w 761692"/>
                    <a:gd name="connsiteY92" fmla="*/ 267478 h 1016771"/>
                    <a:gd name="connsiteX93" fmla="*/ 641238 w 761692"/>
                    <a:gd name="connsiteY93" fmla="*/ 269250 h 1016771"/>
                    <a:gd name="connsiteX94" fmla="*/ 658952 w 761692"/>
                    <a:gd name="connsiteY94" fmla="*/ 286963 h 1016771"/>
                    <a:gd name="connsiteX95" fmla="*/ 653638 w 761692"/>
                    <a:gd name="connsiteY95" fmla="*/ 309991 h 1016771"/>
                    <a:gd name="connsiteX96" fmla="*/ 653638 w 761692"/>
                    <a:gd name="connsiteY96" fmla="*/ 329476 h 1016771"/>
                    <a:gd name="connsiteX97" fmla="*/ 643010 w 761692"/>
                    <a:gd name="connsiteY97" fmla="*/ 338333 h 1016771"/>
                    <a:gd name="connsiteX98" fmla="*/ 632382 w 761692"/>
                    <a:gd name="connsiteY98" fmla="*/ 338333 h 1016771"/>
                    <a:gd name="connsiteX99" fmla="*/ 618211 w 761692"/>
                    <a:gd name="connsiteY99" fmla="*/ 357819 h 1016771"/>
                    <a:gd name="connsiteX100" fmla="*/ 609354 w 761692"/>
                    <a:gd name="connsiteY100" fmla="*/ 361361 h 1016771"/>
                    <a:gd name="connsiteX101" fmla="*/ 596954 w 761692"/>
                    <a:gd name="connsiteY101" fmla="*/ 363133 h 1016771"/>
                    <a:gd name="connsiteX102" fmla="*/ 581012 w 761692"/>
                    <a:gd name="connsiteY102" fmla="*/ 379075 h 1016771"/>
                    <a:gd name="connsiteX103" fmla="*/ 589868 w 761692"/>
                    <a:gd name="connsiteY103" fmla="*/ 393246 h 1016771"/>
                    <a:gd name="connsiteX104" fmla="*/ 586326 w 761692"/>
                    <a:gd name="connsiteY104" fmla="*/ 409189 h 1016771"/>
                    <a:gd name="connsiteX105" fmla="*/ 570383 w 761692"/>
                    <a:gd name="connsiteY105" fmla="*/ 398560 h 1016771"/>
                    <a:gd name="connsiteX106" fmla="*/ 550898 w 761692"/>
                    <a:gd name="connsiteY106" fmla="*/ 405646 h 1016771"/>
                    <a:gd name="connsiteX107" fmla="*/ 531413 w 761692"/>
                    <a:gd name="connsiteY107" fmla="*/ 425131 h 1016771"/>
                    <a:gd name="connsiteX108" fmla="*/ 543813 w 761692"/>
                    <a:gd name="connsiteY108" fmla="*/ 444616 h 1016771"/>
                    <a:gd name="connsiteX109" fmla="*/ 557984 w 761692"/>
                    <a:gd name="connsiteY109" fmla="*/ 462330 h 1016771"/>
                    <a:gd name="connsiteX110" fmla="*/ 570383 w 761692"/>
                    <a:gd name="connsiteY110" fmla="*/ 478272 h 1016771"/>
                    <a:gd name="connsiteX111" fmla="*/ 579240 w 761692"/>
                    <a:gd name="connsiteY111" fmla="*/ 485358 h 1016771"/>
                    <a:gd name="connsiteX112" fmla="*/ 602268 w 761692"/>
                    <a:gd name="connsiteY112" fmla="*/ 483586 h 1016771"/>
                    <a:gd name="connsiteX113" fmla="*/ 623525 w 761692"/>
                    <a:gd name="connsiteY113" fmla="*/ 474730 h 1016771"/>
                    <a:gd name="connsiteX114" fmla="*/ 639467 w 761692"/>
                    <a:gd name="connsiteY114" fmla="*/ 464101 h 1016771"/>
                    <a:gd name="connsiteX115" fmla="*/ 662495 w 761692"/>
                    <a:gd name="connsiteY115" fmla="*/ 464101 h 1016771"/>
                    <a:gd name="connsiteX116" fmla="*/ 673123 w 761692"/>
                    <a:gd name="connsiteY116" fmla="*/ 464101 h 1016771"/>
                    <a:gd name="connsiteX117" fmla="*/ 681980 w 761692"/>
                    <a:gd name="connsiteY117" fmla="*/ 467644 h 1016771"/>
                    <a:gd name="connsiteX118" fmla="*/ 703237 w 761692"/>
                    <a:gd name="connsiteY118" fmla="*/ 471187 h 1016771"/>
                    <a:gd name="connsiteX119" fmla="*/ 708551 w 761692"/>
                    <a:gd name="connsiteY119" fmla="*/ 474730 h 1016771"/>
                    <a:gd name="connsiteX120" fmla="*/ 722722 w 761692"/>
                    <a:gd name="connsiteY120" fmla="*/ 501300 h 1016771"/>
                    <a:gd name="connsiteX121" fmla="*/ 724493 w 761692"/>
                    <a:gd name="connsiteY121" fmla="*/ 522557 h 1016771"/>
                    <a:gd name="connsiteX122" fmla="*/ 722722 w 761692"/>
                    <a:gd name="connsiteY122" fmla="*/ 540271 h 1016771"/>
                    <a:gd name="connsiteX123" fmla="*/ 735121 w 761692"/>
                    <a:gd name="connsiteY123" fmla="*/ 552670 h 1016771"/>
                    <a:gd name="connsiteX124" fmla="*/ 735121 w 761692"/>
                    <a:gd name="connsiteY124" fmla="*/ 570384 h 1016771"/>
                    <a:gd name="connsiteX125" fmla="*/ 751064 w 761692"/>
                    <a:gd name="connsiteY125" fmla="*/ 581012 h 1016771"/>
                    <a:gd name="connsiteX126" fmla="*/ 761692 w 761692"/>
                    <a:gd name="connsiteY126" fmla="*/ 604040 h 1016771"/>
                    <a:gd name="connsiteX127" fmla="*/ 747521 w 761692"/>
                    <a:gd name="connsiteY127" fmla="*/ 616440 h 1016771"/>
                    <a:gd name="connsiteX128" fmla="*/ 728036 w 761692"/>
                    <a:gd name="connsiteY128" fmla="*/ 627068 h 1016771"/>
                    <a:gd name="connsiteX129" fmla="*/ 726264 w 761692"/>
                    <a:gd name="connsiteY129" fmla="*/ 650096 h 1016771"/>
                    <a:gd name="connsiteX130" fmla="*/ 728036 w 761692"/>
                    <a:gd name="connsiteY130" fmla="*/ 673124 h 1016771"/>
                    <a:gd name="connsiteX131" fmla="*/ 742207 w 761692"/>
                    <a:gd name="connsiteY131" fmla="*/ 689066 h 1016771"/>
                    <a:gd name="connsiteX132" fmla="*/ 742207 w 761692"/>
                    <a:gd name="connsiteY132" fmla="*/ 712094 h 1016771"/>
                    <a:gd name="connsiteX133" fmla="*/ 740435 w 761692"/>
                    <a:gd name="connsiteY133" fmla="*/ 735122 h 1016771"/>
                    <a:gd name="connsiteX134" fmla="*/ 742207 w 761692"/>
                    <a:gd name="connsiteY134" fmla="*/ 751065 h 1016771"/>
                    <a:gd name="connsiteX135" fmla="*/ 747521 w 761692"/>
                    <a:gd name="connsiteY135" fmla="*/ 768778 h 1016771"/>
                    <a:gd name="connsiteX136" fmla="*/ 759921 w 761692"/>
                    <a:gd name="connsiteY136" fmla="*/ 777635 h 1016771"/>
                    <a:gd name="connsiteX137" fmla="*/ 758149 w 761692"/>
                    <a:gd name="connsiteY137" fmla="*/ 802434 h 1016771"/>
                    <a:gd name="connsiteX138" fmla="*/ 752835 w 761692"/>
                    <a:gd name="connsiteY138" fmla="*/ 814834 h 1016771"/>
                    <a:gd name="connsiteX139" fmla="*/ 743978 w 761692"/>
                    <a:gd name="connsiteY139" fmla="*/ 827234 h 1016771"/>
                    <a:gd name="connsiteX140" fmla="*/ 743978 w 761692"/>
                    <a:gd name="connsiteY140" fmla="*/ 837862 h 1016771"/>
                    <a:gd name="connsiteX141" fmla="*/ 747521 w 761692"/>
                    <a:gd name="connsiteY141" fmla="*/ 853804 h 1016771"/>
                    <a:gd name="connsiteX142" fmla="*/ 733350 w 761692"/>
                    <a:gd name="connsiteY142" fmla="*/ 867975 h 1016771"/>
                    <a:gd name="connsiteX143" fmla="*/ 724493 w 761692"/>
                    <a:gd name="connsiteY143" fmla="*/ 880375 h 1016771"/>
                    <a:gd name="connsiteX144" fmla="*/ 722722 w 761692"/>
                    <a:gd name="connsiteY144" fmla="*/ 899860 h 1016771"/>
                    <a:gd name="connsiteX145" fmla="*/ 722722 w 761692"/>
                    <a:gd name="connsiteY145" fmla="*/ 919345 h 1016771"/>
                    <a:gd name="connsiteX146" fmla="*/ 715636 w 761692"/>
                    <a:gd name="connsiteY146" fmla="*/ 940602 h 1016771"/>
                    <a:gd name="connsiteX147" fmla="*/ 708551 w 761692"/>
                    <a:gd name="connsiteY147" fmla="*/ 954773 h 1016771"/>
                    <a:gd name="connsiteX148" fmla="*/ 699694 w 761692"/>
                    <a:gd name="connsiteY148" fmla="*/ 965401 h 1016771"/>
                    <a:gd name="connsiteX149" fmla="*/ 692608 w 761692"/>
                    <a:gd name="connsiteY149" fmla="*/ 984886 h 1016771"/>
                    <a:gd name="connsiteX150" fmla="*/ 683751 w 761692"/>
                    <a:gd name="connsiteY150" fmla="*/ 997286 h 1016771"/>
                    <a:gd name="connsiteX151" fmla="*/ 673123 w 761692"/>
                    <a:gd name="connsiteY151" fmla="*/ 1002600 h 1016771"/>
                    <a:gd name="connsiteX152" fmla="*/ 662495 w 761692"/>
                    <a:gd name="connsiteY152" fmla="*/ 1013228 h 1016771"/>
                    <a:gd name="connsiteX153" fmla="*/ 644781 w 761692"/>
                    <a:gd name="connsiteY153" fmla="*/ 1016771 h 1016771"/>
                    <a:gd name="connsiteX154" fmla="*/ 635924 w 761692"/>
                    <a:gd name="connsiteY154" fmla="*/ 1004372 h 1016771"/>
                    <a:gd name="connsiteX155" fmla="*/ 623525 w 761692"/>
                    <a:gd name="connsiteY155" fmla="*/ 997286 h 1016771"/>
                    <a:gd name="connsiteX156" fmla="*/ 614668 w 761692"/>
                    <a:gd name="connsiteY156" fmla="*/ 986658 h 1016771"/>
                    <a:gd name="connsiteX157" fmla="*/ 593411 w 761692"/>
                    <a:gd name="connsiteY157" fmla="*/ 970715 h 1016771"/>
                    <a:gd name="connsiteX158" fmla="*/ 582783 w 761692"/>
                    <a:gd name="connsiteY158" fmla="*/ 965401 h 1016771"/>
                    <a:gd name="connsiteX159" fmla="*/ 531413 w 761692"/>
                    <a:gd name="connsiteY159" fmla="*/ 965401 h 1016771"/>
                    <a:gd name="connsiteX160" fmla="*/ 511928 w 761692"/>
                    <a:gd name="connsiteY160" fmla="*/ 965401 h 1016771"/>
                    <a:gd name="connsiteX161" fmla="*/ 492443 w 761692"/>
                    <a:gd name="connsiteY161" fmla="*/ 963630 h 1016771"/>
                    <a:gd name="connsiteX162" fmla="*/ 483586 w 761692"/>
                    <a:gd name="connsiteY162" fmla="*/ 958316 h 1016771"/>
                    <a:gd name="connsiteX163" fmla="*/ 469415 w 761692"/>
                    <a:gd name="connsiteY163" fmla="*/ 954773 h 1016771"/>
                    <a:gd name="connsiteX164" fmla="*/ 460558 w 761692"/>
                    <a:gd name="connsiteY164" fmla="*/ 942373 h 1016771"/>
                    <a:gd name="connsiteX165" fmla="*/ 446387 w 761692"/>
                    <a:gd name="connsiteY165" fmla="*/ 935288 h 1016771"/>
                    <a:gd name="connsiteX166" fmla="*/ 428673 w 761692"/>
                    <a:gd name="connsiteY166" fmla="*/ 928202 h 1016771"/>
                    <a:gd name="connsiteX167" fmla="*/ 418045 w 761692"/>
                    <a:gd name="connsiteY167" fmla="*/ 917574 h 1016771"/>
                    <a:gd name="connsiteX168" fmla="*/ 421588 w 761692"/>
                    <a:gd name="connsiteY168" fmla="*/ 903403 h 1016771"/>
                    <a:gd name="connsiteX169" fmla="*/ 418045 w 761692"/>
                    <a:gd name="connsiteY169" fmla="*/ 898089 h 1016771"/>
                    <a:gd name="connsiteX170" fmla="*/ 396788 w 761692"/>
                    <a:gd name="connsiteY170" fmla="*/ 898089 h 1016771"/>
                    <a:gd name="connsiteX171" fmla="*/ 382617 w 761692"/>
                    <a:gd name="connsiteY171" fmla="*/ 896318 h 1016771"/>
                    <a:gd name="connsiteX172" fmla="*/ 380846 w 761692"/>
                    <a:gd name="connsiteY172" fmla="*/ 906946 h 1016771"/>
                    <a:gd name="connsiteX173" fmla="*/ 347190 w 761692"/>
                    <a:gd name="connsiteY173" fmla="*/ 915803 h 1016771"/>
                    <a:gd name="connsiteX174" fmla="*/ 373601 w 761692"/>
                    <a:gd name="connsiteY174" fmla="*/ 894832 h 1016771"/>
                    <a:gd name="connsiteX175" fmla="*/ 387164 w 761692"/>
                    <a:gd name="connsiteY175" fmla="*/ 896527 h 1016771"/>
                    <a:gd name="connsiteX176" fmla="*/ 383773 w 761692"/>
                    <a:gd name="connsiteY176" fmla="*/ 886355 h 1016771"/>
                    <a:gd name="connsiteX177" fmla="*/ 387164 w 761692"/>
                    <a:gd name="connsiteY177" fmla="*/ 876183 h 1016771"/>
                    <a:gd name="connsiteX178" fmla="*/ 388859 w 761692"/>
                    <a:gd name="connsiteY178" fmla="*/ 867707 h 1016771"/>
                    <a:gd name="connsiteX179" fmla="*/ 380382 w 761692"/>
                    <a:gd name="connsiteY179" fmla="*/ 859230 h 1016771"/>
                    <a:gd name="connsiteX180" fmla="*/ 373601 w 761692"/>
                    <a:gd name="connsiteY180" fmla="*/ 849058 h 1016771"/>
                    <a:gd name="connsiteX181" fmla="*/ 380382 w 761692"/>
                    <a:gd name="connsiteY181" fmla="*/ 838886 h 1016771"/>
                    <a:gd name="connsiteX182" fmla="*/ 383773 w 761692"/>
                    <a:gd name="connsiteY182" fmla="*/ 833800 h 1016771"/>
                    <a:gd name="connsiteX183" fmla="*/ 388859 w 761692"/>
                    <a:gd name="connsiteY183" fmla="*/ 825324 h 1016771"/>
                    <a:gd name="connsiteX184" fmla="*/ 387164 w 761692"/>
                    <a:gd name="connsiteY184" fmla="*/ 810066 h 1016771"/>
                    <a:gd name="connsiteX185" fmla="*/ 387164 w 761692"/>
                    <a:gd name="connsiteY185" fmla="*/ 796503 h 1016771"/>
                    <a:gd name="connsiteX186" fmla="*/ 378687 w 761692"/>
                    <a:gd name="connsiteY186" fmla="*/ 789722 h 1016771"/>
                    <a:gd name="connsiteX187" fmla="*/ 366820 w 761692"/>
                    <a:gd name="connsiteY187" fmla="*/ 782940 h 1016771"/>
                    <a:gd name="connsiteX188" fmla="*/ 356648 w 761692"/>
                    <a:gd name="connsiteY188" fmla="*/ 781245 h 1016771"/>
                    <a:gd name="connsiteX189" fmla="*/ 349866 w 761692"/>
                    <a:gd name="connsiteY189" fmla="*/ 771073 h 1016771"/>
                    <a:gd name="connsiteX190" fmla="*/ 349866 w 761692"/>
                    <a:gd name="connsiteY190" fmla="*/ 752425 h 1016771"/>
                    <a:gd name="connsiteX191" fmla="*/ 353257 w 761692"/>
                    <a:gd name="connsiteY191" fmla="*/ 743948 h 1016771"/>
                    <a:gd name="connsiteX192" fmla="*/ 354952 w 761692"/>
                    <a:gd name="connsiteY192" fmla="*/ 730385 h 1016771"/>
                    <a:gd name="connsiteX193" fmla="*/ 353257 w 761692"/>
                    <a:gd name="connsiteY193" fmla="*/ 713432 h 1016771"/>
                    <a:gd name="connsiteX194" fmla="*/ 346476 w 761692"/>
                    <a:gd name="connsiteY194" fmla="*/ 701565 h 1016771"/>
                    <a:gd name="connsiteX195" fmla="*/ 332913 w 761692"/>
                    <a:gd name="connsiteY195" fmla="*/ 689697 h 1016771"/>
                    <a:gd name="connsiteX196" fmla="*/ 324436 w 761692"/>
                    <a:gd name="connsiteY196" fmla="*/ 681221 h 1016771"/>
                    <a:gd name="connsiteX197" fmla="*/ 314264 w 761692"/>
                    <a:gd name="connsiteY197" fmla="*/ 676135 h 1016771"/>
                    <a:gd name="connsiteX198" fmla="*/ 293920 w 761692"/>
                    <a:gd name="connsiteY198" fmla="*/ 669354 h 1016771"/>
                    <a:gd name="connsiteX199" fmla="*/ 282053 w 761692"/>
                    <a:gd name="connsiteY199" fmla="*/ 667658 h 1016771"/>
                    <a:gd name="connsiteX200" fmla="*/ 266795 w 761692"/>
                    <a:gd name="connsiteY200" fmla="*/ 672744 h 1016771"/>
                    <a:gd name="connsiteX201" fmla="*/ 265100 w 761692"/>
                    <a:gd name="connsiteY201" fmla="*/ 672744 h 1016771"/>
                    <a:gd name="connsiteX202" fmla="*/ 263404 w 761692"/>
                    <a:gd name="connsiteY202" fmla="*/ 671049 h 1016771"/>
                    <a:gd name="connsiteX203" fmla="*/ 260014 w 761692"/>
                    <a:gd name="connsiteY203" fmla="*/ 671049 h 1016771"/>
                    <a:gd name="connsiteX204" fmla="*/ 258318 w 761692"/>
                    <a:gd name="connsiteY204" fmla="*/ 671049 h 1016771"/>
                    <a:gd name="connsiteX205" fmla="*/ 253232 w 761692"/>
                    <a:gd name="connsiteY205" fmla="*/ 671049 h 1016771"/>
                    <a:gd name="connsiteX206" fmla="*/ 248146 w 761692"/>
                    <a:gd name="connsiteY206" fmla="*/ 672744 h 1016771"/>
                    <a:gd name="connsiteX207" fmla="*/ 248146 w 761692"/>
                    <a:gd name="connsiteY207" fmla="*/ 674440 h 1016771"/>
                    <a:gd name="connsiteX208" fmla="*/ 246451 w 761692"/>
                    <a:gd name="connsiteY208" fmla="*/ 674440 h 1016771"/>
                    <a:gd name="connsiteX209" fmla="*/ 236279 w 761692"/>
                    <a:gd name="connsiteY209" fmla="*/ 679526 h 1016771"/>
                    <a:gd name="connsiteX210" fmla="*/ 226107 w 761692"/>
                    <a:gd name="connsiteY210" fmla="*/ 684612 h 1016771"/>
                    <a:gd name="connsiteX211" fmla="*/ 217630 w 761692"/>
                    <a:gd name="connsiteY211" fmla="*/ 684612 h 1016771"/>
                    <a:gd name="connsiteX212" fmla="*/ 207458 w 761692"/>
                    <a:gd name="connsiteY212" fmla="*/ 693088 h 1016771"/>
                    <a:gd name="connsiteX213" fmla="*/ 198982 w 761692"/>
                    <a:gd name="connsiteY213" fmla="*/ 694783 h 1016771"/>
                    <a:gd name="connsiteX214" fmla="*/ 192200 w 761692"/>
                    <a:gd name="connsiteY214" fmla="*/ 699869 h 1016771"/>
                    <a:gd name="connsiteX215" fmla="*/ 178638 w 761692"/>
                    <a:gd name="connsiteY215" fmla="*/ 706651 h 1016771"/>
                    <a:gd name="connsiteX216" fmla="*/ 163380 w 761692"/>
                    <a:gd name="connsiteY216" fmla="*/ 710041 h 1016771"/>
                    <a:gd name="connsiteX217" fmla="*/ 141340 w 761692"/>
                    <a:gd name="connsiteY217" fmla="*/ 710041 h 1016771"/>
                    <a:gd name="connsiteX218" fmla="*/ 134559 w 761692"/>
                    <a:gd name="connsiteY218" fmla="*/ 716823 h 1016771"/>
                    <a:gd name="connsiteX219" fmla="*/ 127778 w 761692"/>
                    <a:gd name="connsiteY219" fmla="*/ 718518 h 1016771"/>
                    <a:gd name="connsiteX220" fmla="*/ 120996 w 761692"/>
                    <a:gd name="connsiteY220" fmla="*/ 725299 h 1016771"/>
                    <a:gd name="connsiteX221" fmla="*/ 111172 w 761692"/>
                    <a:gd name="connsiteY221" fmla="*/ 733720 h 1016771"/>
                    <a:gd name="connsiteX222" fmla="*/ 106283 w 761692"/>
                    <a:gd name="connsiteY222" fmla="*/ 729808 h 1016771"/>
                    <a:gd name="connsiteX223" fmla="*/ 92112 w 761692"/>
                    <a:gd name="connsiteY223" fmla="*/ 724494 h 1016771"/>
                    <a:gd name="connsiteX224" fmla="*/ 77941 w 761692"/>
                    <a:gd name="connsiteY224" fmla="*/ 726265 h 1016771"/>
                    <a:gd name="connsiteX225" fmla="*/ 70855 w 761692"/>
                    <a:gd name="connsiteY225" fmla="*/ 719180 h 1016771"/>
                    <a:gd name="connsiteX226" fmla="*/ 70855 w 761692"/>
                    <a:gd name="connsiteY226" fmla="*/ 699695 h 1016771"/>
                    <a:gd name="connsiteX227" fmla="*/ 81483 w 761692"/>
                    <a:gd name="connsiteY227" fmla="*/ 685524 h 1016771"/>
                    <a:gd name="connsiteX228" fmla="*/ 85026 w 761692"/>
                    <a:gd name="connsiteY228" fmla="*/ 673124 h 1016771"/>
                    <a:gd name="connsiteX229" fmla="*/ 86797 w 761692"/>
                    <a:gd name="connsiteY229" fmla="*/ 660724 h 1016771"/>
                    <a:gd name="connsiteX230" fmla="*/ 97426 w 761692"/>
                    <a:gd name="connsiteY230" fmla="*/ 650096 h 1016771"/>
                    <a:gd name="connsiteX231" fmla="*/ 102740 w 761692"/>
                    <a:gd name="connsiteY231" fmla="*/ 635925 h 1016771"/>
                    <a:gd name="connsiteX232" fmla="*/ 113368 w 761692"/>
                    <a:gd name="connsiteY232" fmla="*/ 625297 h 1016771"/>
                    <a:gd name="connsiteX233" fmla="*/ 115139 w 761692"/>
                    <a:gd name="connsiteY233" fmla="*/ 612897 h 1016771"/>
                    <a:gd name="connsiteX234" fmla="*/ 127539 w 761692"/>
                    <a:gd name="connsiteY234" fmla="*/ 609354 h 1016771"/>
                    <a:gd name="connsiteX235" fmla="*/ 136396 w 761692"/>
                    <a:gd name="connsiteY235" fmla="*/ 604040 h 1016771"/>
                    <a:gd name="connsiteX236" fmla="*/ 132853 w 761692"/>
                    <a:gd name="connsiteY236" fmla="*/ 593412 h 1016771"/>
                    <a:gd name="connsiteX237" fmla="*/ 134625 w 761692"/>
                    <a:gd name="connsiteY237" fmla="*/ 584555 h 1016771"/>
                    <a:gd name="connsiteX238" fmla="*/ 131082 w 761692"/>
                    <a:gd name="connsiteY238" fmla="*/ 575698 h 1016771"/>
                    <a:gd name="connsiteX239" fmla="*/ 120454 w 761692"/>
                    <a:gd name="connsiteY239" fmla="*/ 568613 h 1016771"/>
                    <a:gd name="connsiteX240" fmla="*/ 125768 w 761692"/>
                    <a:gd name="connsiteY240" fmla="*/ 552670 h 1016771"/>
                    <a:gd name="connsiteX241" fmla="*/ 118682 w 761692"/>
                    <a:gd name="connsiteY241" fmla="*/ 543813 h 1016771"/>
                    <a:gd name="connsiteX242" fmla="*/ 90340 w 761692"/>
                    <a:gd name="connsiteY242" fmla="*/ 543813 h 1016771"/>
                    <a:gd name="connsiteX243" fmla="*/ 86797 w 761692"/>
                    <a:gd name="connsiteY243" fmla="*/ 542042 h 1016771"/>
                    <a:gd name="connsiteX244" fmla="*/ 83255 w 761692"/>
                    <a:gd name="connsiteY244" fmla="*/ 542042 h 1016771"/>
                    <a:gd name="connsiteX245" fmla="*/ 81483 w 761692"/>
                    <a:gd name="connsiteY245" fmla="*/ 540271 h 1016771"/>
                    <a:gd name="connsiteX246" fmla="*/ 81483 w 761692"/>
                    <a:gd name="connsiteY246" fmla="*/ 536728 h 1016771"/>
                    <a:gd name="connsiteX247" fmla="*/ 79712 w 761692"/>
                    <a:gd name="connsiteY247" fmla="*/ 531414 h 1016771"/>
                    <a:gd name="connsiteX248" fmla="*/ 77941 w 761692"/>
                    <a:gd name="connsiteY248" fmla="*/ 529642 h 1016771"/>
                    <a:gd name="connsiteX249" fmla="*/ 70855 w 761692"/>
                    <a:gd name="connsiteY249" fmla="*/ 527871 h 1016771"/>
                    <a:gd name="connsiteX250" fmla="*/ 60227 w 761692"/>
                    <a:gd name="connsiteY250" fmla="*/ 536728 h 1016771"/>
                    <a:gd name="connsiteX251" fmla="*/ 47827 w 761692"/>
                    <a:gd name="connsiteY251" fmla="*/ 526100 h 1016771"/>
                    <a:gd name="connsiteX252" fmla="*/ 42513 w 761692"/>
                    <a:gd name="connsiteY252" fmla="*/ 515471 h 1016771"/>
                    <a:gd name="connsiteX253" fmla="*/ 33656 w 761692"/>
                    <a:gd name="connsiteY253" fmla="*/ 506614 h 1016771"/>
                    <a:gd name="connsiteX254" fmla="*/ 31885 w 761692"/>
                    <a:gd name="connsiteY254" fmla="*/ 490672 h 1016771"/>
                    <a:gd name="connsiteX255" fmla="*/ 26571 w 761692"/>
                    <a:gd name="connsiteY255" fmla="*/ 476501 h 1016771"/>
                    <a:gd name="connsiteX256" fmla="*/ 24799 w 761692"/>
                    <a:gd name="connsiteY256" fmla="*/ 471187 h 1016771"/>
                    <a:gd name="connsiteX257" fmla="*/ 12400 w 761692"/>
                    <a:gd name="connsiteY257" fmla="*/ 472958 h 1016771"/>
                    <a:gd name="connsiteX258" fmla="*/ 7086 w 761692"/>
                    <a:gd name="connsiteY258" fmla="*/ 464101 h 1016771"/>
                    <a:gd name="connsiteX259" fmla="*/ 8857 w 761692"/>
                    <a:gd name="connsiteY259" fmla="*/ 446388 h 1016771"/>
                    <a:gd name="connsiteX260" fmla="*/ 3543 w 761692"/>
                    <a:gd name="connsiteY260" fmla="*/ 435759 h 1016771"/>
                    <a:gd name="connsiteX261" fmla="*/ 5314 w 761692"/>
                    <a:gd name="connsiteY261" fmla="*/ 412731 h 1016771"/>
                    <a:gd name="connsiteX262" fmla="*/ 0 w 761692"/>
                    <a:gd name="connsiteY262" fmla="*/ 396789 h 1016771"/>
                    <a:gd name="connsiteX263" fmla="*/ 3543 w 761692"/>
                    <a:gd name="connsiteY263" fmla="*/ 384389 h 1016771"/>
                    <a:gd name="connsiteX264" fmla="*/ 14171 w 761692"/>
                    <a:gd name="connsiteY264" fmla="*/ 380846 h 1016771"/>
                    <a:gd name="connsiteX265" fmla="*/ 24799 w 761692"/>
                    <a:gd name="connsiteY265" fmla="*/ 364904 h 1016771"/>
                    <a:gd name="connsiteX266" fmla="*/ 30113 w 761692"/>
                    <a:gd name="connsiteY266" fmla="*/ 350733 h 1016771"/>
                    <a:gd name="connsiteX267" fmla="*/ 35428 w 761692"/>
                    <a:gd name="connsiteY267" fmla="*/ 341876 h 1016771"/>
                    <a:gd name="connsiteX268" fmla="*/ 42513 w 761692"/>
                    <a:gd name="connsiteY268" fmla="*/ 327705 h 1016771"/>
                    <a:gd name="connsiteX269" fmla="*/ 42513 w 761692"/>
                    <a:gd name="connsiteY269" fmla="*/ 315305 h 1016771"/>
                    <a:gd name="connsiteX270" fmla="*/ 56684 w 761692"/>
                    <a:gd name="connsiteY270" fmla="*/ 309991 h 1016771"/>
                    <a:gd name="connsiteX271" fmla="*/ 60227 w 761692"/>
                    <a:gd name="connsiteY271" fmla="*/ 309991 h 1016771"/>
                    <a:gd name="connsiteX272" fmla="*/ 61998 w 761692"/>
                    <a:gd name="connsiteY272" fmla="*/ 311763 h 1016771"/>
                    <a:gd name="connsiteX273" fmla="*/ 67312 w 761692"/>
                    <a:gd name="connsiteY273" fmla="*/ 311763 h 1016771"/>
                    <a:gd name="connsiteX274" fmla="*/ 67312 w 761692"/>
                    <a:gd name="connsiteY274" fmla="*/ 309991 h 1016771"/>
                    <a:gd name="connsiteX275" fmla="*/ 67312 w 761692"/>
                    <a:gd name="connsiteY275" fmla="*/ 308220 h 1016771"/>
                    <a:gd name="connsiteX276" fmla="*/ 69084 w 761692"/>
                    <a:gd name="connsiteY276" fmla="*/ 302906 h 1016771"/>
                    <a:gd name="connsiteX277" fmla="*/ 70855 w 761692"/>
                    <a:gd name="connsiteY277" fmla="*/ 301134 h 1016771"/>
                    <a:gd name="connsiteX278" fmla="*/ 70855 w 761692"/>
                    <a:gd name="connsiteY278" fmla="*/ 299363 h 1016771"/>
                    <a:gd name="connsiteX279" fmla="*/ 77941 w 761692"/>
                    <a:gd name="connsiteY279" fmla="*/ 295820 h 1016771"/>
                    <a:gd name="connsiteX280" fmla="*/ 85026 w 761692"/>
                    <a:gd name="connsiteY280" fmla="*/ 295820 h 1016771"/>
                    <a:gd name="connsiteX281" fmla="*/ 93883 w 761692"/>
                    <a:gd name="connsiteY281" fmla="*/ 297592 h 1016771"/>
                    <a:gd name="connsiteX282" fmla="*/ 100968 w 761692"/>
                    <a:gd name="connsiteY282" fmla="*/ 288735 h 1016771"/>
                    <a:gd name="connsiteX283" fmla="*/ 97426 w 761692"/>
                    <a:gd name="connsiteY283" fmla="*/ 279878 h 1016771"/>
                    <a:gd name="connsiteX284" fmla="*/ 85026 w 761692"/>
                    <a:gd name="connsiteY284" fmla="*/ 276335 h 1016771"/>
                    <a:gd name="connsiteX285" fmla="*/ 76169 w 761692"/>
                    <a:gd name="connsiteY285" fmla="*/ 271021 h 1016771"/>
                    <a:gd name="connsiteX286" fmla="*/ 76169 w 761692"/>
                    <a:gd name="connsiteY286" fmla="*/ 262164 h 1016771"/>
                    <a:gd name="connsiteX287" fmla="*/ 81483 w 761692"/>
                    <a:gd name="connsiteY287" fmla="*/ 251536 h 1016771"/>
                    <a:gd name="connsiteX288" fmla="*/ 86797 w 761692"/>
                    <a:gd name="connsiteY288" fmla="*/ 255079 h 1016771"/>
                    <a:gd name="connsiteX289" fmla="*/ 104511 w 761692"/>
                    <a:gd name="connsiteY289" fmla="*/ 262164 h 1016771"/>
                    <a:gd name="connsiteX290" fmla="*/ 116911 w 761692"/>
                    <a:gd name="connsiteY290" fmla="*/ 265707 h 1016771"/>
                    <a:gd name="connsiteX291" fmla="*/ 132853 w 761692"/>
                    <a:gd name="connsiteY291" fmla="*/ 269250 h 1016771"/>
                    <a:gd name="connsiteX292" fmla="*/ 138167 w 761692"/>
                    <a:gd name="connsiteY292" fmla="*/ 265707 h 1016771"/>
                    <a:gd name="connsiteX293" fmla="*/ 150567 w 761692"/>
                    <a:gd name="connsiteY293" fmla="*/ 255079 h 1016771"/>
                    <a:gd name="connsiteX294" fmla="*/ 166509 w 761692"/>
                    <a:gd name="connsiteY294" fmla="*/ 255079 h 1016771"/>
                    <a:gd name="connsiteX295" fmla="*/ 166509 w 761692"/>
                    <a:gd name="connsiteY295" fmla="*/ 265707 h 1016771"/>
                    <a:gd name="connsiteX296" fmla="*/ 177138 w 761692"/>
                    <a:gd name="connsiteY296" fmla="*/ 272792 h 1016771"/>
                    <a:gd name="connsiteX297" fmla="*/ 194851 w 761692"/>
                    <a:gd name="connsiteY297" fmla="*/ 276335 h 1016771"/>
                    <a:gd name="connsiteX298" fmla="*/ 209022 w 761692"/>
                    <a:gd name="connsiteY298" fmla="*/ 279878 h 1016771"/>
                    <a:gd name="connsiteX299" fmla="*/ 221422 w 761692"/>
                    <a:gd name="connsiteY299" fmla="*/ 276335 h 1016771"/>
                    <a:gd name="connsiteX300" fmla="*/ 226736 w 761692"/>
                    <a:gd name="connsiteY300" fmla="*/ 269250 h 1016771"/>
                    <a:gd name="connsiteX301" fmla="*/ 226736 w 761692"/>
                    <a:gd name="connsiteY301" fmla="*/ 251536 h 1016771"/>
                    <a:gd name="connsiteX302" fmla="*/ 224965 w 761692"/>
                    <a:gd name="connsiteY302" fmla="*/ 239136 h 1016771"/>
                    <a:gd name="connsiteX303" fmla="*/ 214337 w 761692"/>
                    <a:gd name="connsiteY303" fmla="*/ 230279 h 1016771"/>
                    <a:gd name="connsiteX304" fmla="*/ 210794 w 761692"/>
                    <a:gd name="connsiteY304" fmla="*/ 217880 h 1016771"/>
                    <a:gd name="connsiteX305" fmla="*/ 221422 w 761692"/>
                    <a:gd name="connsiteY305" fmla="*/ 207251 h 1016771"/>
                    <a:gd name="connsiteX306" fmla="*/ 235593 w 761692"/>
                    <a:gd name="connsiteY306" fmla="*/ 214337 h 1016771"/>
                    <a:gd name="connsiteX307" fmla="*/ 246221 w 761692"/>
                    <a:gd name="connsiteY307" fmla="*/ 219651 h 1016771"/>
                    <a:gd name="connsiteX308" fmla="*/ 253307 w 761692"/>
                    <a:gd name="connsiteY308" fmla="*/ 221422 h 1016771"/>
                    <a:gd name="connsiteX309" fmla="*/ 262164 w 761692"/>
                    <a:gd name="connsiteY309" fmla="*/ 210794 h 1016771"/>
                    <a:gd name="connsiteX310" fmla="*/ 263935 w 761692"/>
                    <a:gd name="connsiteY310" fmla="*/ 201937 h 1016771"/>
                    <a:gd name="connsiteX311" fmla="*/ 274563 w 761692"/>
                    <a:gd name="connsiteY311" fmla="*/ 189538 h 1016771"/>
                    <a:gd name="connsiteX312" fmla="*/ 283420 w 761692"/>
                    <a:gd name="connsiteY312" fmla="*/ 178909 h 1016771"/>
                    <a:gd name="connsiteX313" fmla="*/ 286963 w 761692"/>
                    <a:gd name="connsiteY313" fmla="*/ 173595 h 1016771"/>
                    <a:gd name="connsiteX314" fmla="*/ 311762 w 761692"/>
                    <a:gd name="connsiteY314" fmla="*/ 168281 h 1016771"/>
                    <a:gd name="connsiteX315" fmla="*/ 325933 w 761692"/>
                    <a:gd name="connsiteY315" fmla="*/ 164738 h 1016771"/>
                    <a:gd name="connsiteX316" fmla="*/ 336562 w 761692"/>
                    <a:gd name="connsiteY316" fmla="*/ 159424 h 1016771"/>
                    <a:gd name="connsiteX317" fmla="*/ 348961 w 761692"/>
                    <a:gd name="connsiteY317" fmla="*/ 145253 h 1016771"/>
                    <a:gd name="connsiteX318" fmla="*/ 359589 w 761692"/>
                    <a:gd name="connsiteY318" fmla="*/ 143482 h 1016771"/>
                    <a:gd name="connsiteX319" fmla="*/ 371989 w 761692"/>
                    <a:gd name="connsiteY319" fmla="*/ 143482 h 1016771"/>
                    <a:gd name="connsiteX320" fmla="*/ 391474 w 761692"/>
                    <a:gd name="connsiteY320" fmla="*/ 143482 h 1016771"/>
                    <a:gd name="connsiteX321" fmla="*/ 396788 w 761692"/>
                    <a:gd name="connsiteY321" fmla="*/ 141710 h 1016771"/>
                    <a:gd name="connsiteX322" fmla="*/ 403874 w 761692"/>
                    <a:gd name="connsiteY322" fmla="*/ 134625 h 1016771"/>
                    <a:gd name="connsiteX323" fmla="*/ 409188 w 761692"/>
                    <a:gd name="connsiteY323" fmla="*/ 129311 h 1016771"/>
                    <a:gd name="connsiteX324" fmla="*/ 409188 w 761692"/>
                    <a:gd name="connsiteY324" fmla="*/ 123997 h 1016771"/>
                    <a:gd name="connsiteX325" fmla="*/ 414502 w 761692"/>
                    <a:gd name="connsiteY325" fmla="*/ 115140 h 1016771"/>
                    <a:gd name="connsiteX326" fmla="*/ 428673 w 761692"/>
                    <a:gd name="connsiteY326" fmla="*/ 115140 h 1016771"/>
                    <a:gd name="connsiteX327" fmla="*/ 432216 w 761692"/>
                    <a:gd name="connsiteY327" fmla="*/ 109826 h 1016771"/>
                    <a:gd name="connsiteX328" fmla="*/ 437530 w 761692"/>
                    <a:gd name="connsiteY328" fmla="*/ 100969 h 1016771"/>
                    <a:gd name="connsiteX329" fmla="*/ 448158 w 761692"/>
                    <a:gd name="connsiteY329" fmla="*/ 99197 h 1016771"/>
                    <a:gd name="connsiteX330" fmla="*/ 460558 w 761692"/>
                    <a:gd name="connsiteY330" fmla="*/ 97426 h 1016771"/>
                    <a:gd name="connsiteX331" fmla="*/ 472958 w 761692"/>
                    <a:gd name="connsiteY331" fmla="*/ 93883 h 1016771"/>
                    <a:gd name="connsiteX332" fmla="*/ 492443 w 761692"/>
                    <a:gd name="connsiteY332" fmla="*/ 93883 h 1016771"/>
                    <a:gd name="connsiteX333" fmla="*/ 501300 w 761692"/>
                    <a:gd name="connsiteY333" fmla="*/ 83255 h 1016771"/>
                    <a:gd name="connsiteX334" fmla="*/ 517242 w 761692"/>
                    <a:gd name="connsiteY334" fmla="*/ 81484 h 1016771"/>
                    <a:gd name="connsiteX335" fmla="*/ 522556 w 761692"/>
                    <a:gd name="connsiteY335" fmla="*/ 81484 h 1016771"/>
                    <a:gd name="connsiteX336" fmla="*/ 522556 w 761692"/>
                    <a:gd name="connsiteY336" fmla="*/ 60227 h 1016771"/>
                    <a:gd name="connsiteX337" fmla="*/ 526099 w 761692"/>
                    <a:gd name="connsiteY337" fmla="*/ 54913 h 1016771"/>
                    <a:gd name="connsiteX338" fmla="*/ 529642 w 761692"/>
                    <a:gd name="connsiteY338" fmla="*/ 46056 h 1016771"/>
                    <a:gd name="connsiteX339" fmla="*/ 538499 w 761692"/>
                    <a:gd name="connsiteY339" fmla="*/ 40742 h 1016771"/>
                    <a:gd name="connsiteX340" fmla="*/ 540270 w 761692"/>
                    <a:gd name="connsiteY340" fmla="*/ 30114 h 1016771"/>
                    <a:gd name="connsiteX341" fmla="*/ 536727 w 761692"/>
                    <a:gd name="connsiteY341" fmla="*/ 19485 h 1016771"/>
                    <a:gd name="connsiteX342" fmla="*/ 543813 w 761692"/>
                    <a:gd name="connsiteY342" fmla="*/ 5314 h 1016771"/>
                    <a:gd name="connsiteX343" fmla="*/ 554441 w 761692"/>
                    <a:gd name="connsiteY343" fmla="*/ 0 h 1016771"/>
                    <a:gd name="connsiteX0" fmla="*/ 293920 w 761692"/>
                    <a:gd name="connsiteY0" fmla="*/ 899918 h 1016771"/>
                    <a:gd name="connsiteX1" fmla="*/ 307483 w 761692"/>
                    <a:gd name="connsiteY1" fmla="*/ 901613 h 1016771"/>
                    <a:gd name="connsiteX2" fmla="*/ 311729 w 761692"/>
                    <a:gd name="connsiteY2" fmla="*/ 903178 h 1016771"/>
                    <a:gd name="connsiteX3" fmla="*/ 299363 w 761692"/>
                    <a:gd name="connsiteY3" fmla="*/ 901632 h 1016771"/>
                    <a:gd name="connsiteX4" fmla="*/ 288734 w 761692"/>
                    <a:gd name="connsiteY4" fmla="*/ 903403 h 1016771"/>
                    <a:gd name="connsiteX5" fmla="*/ 286963 w 761692"/>
                    <a:gd name="connsiteY5" fmla="*/ 910489 h 1016771"/>
                    <a:gd name="connsiteX6" fmla="*/ 283420 w 761692"/>
                    <a:gd name="connsiteY6" fmla="*/ 915803 h 1016771"/>
                    <a:gd name="connsiteX7" fmla="*/ 271021 w 761692"/>
                    <a:gd name="connsiteY7" fmla="*/ 912260 h 1016771"/>
                    <a:gd name="connsiteX8" fmla="*/ 270666 w 761692"/>
                    <a:gd name="connsiteY8" fmla="*/ 911196 h 1016771"/>
                    <a:gd name="connsiteX9" fmla="*/ 278662 w 761692"/>
                    <a:gd name="connsiteY9" fmla="*/ 913481 h 1016771"/>
                    <a:gd name="connsiteX10" fmla="*/ 282053 w 761692"/>
                    <a:gd name="connsiteY10" fmla="*/ 908395 h 1016771"/>
                    <a:gd name="connsiteX11" fmla="*/ 283748 w 761692"/>
                    <a:gd name="connsiteY11" fmla="*/ 901613 h 1016771"/>
                    <a:gd name="connsiteX12" fmla="*/ 293920 w 761692"/>
                    <a:gd name="connsiteY12" fmla="*/ 899918 h 1016771"/>
                    <a:gd name="connsiteX13" fmla="*/ 222919 w 761692"/>
                    <a:gd name="connsiteY13" fmla="*/ 879608 h 1016771"/>
                    <a:gd name="connsiteX14" fmla="*/ 243060 w 761692"/>
                    <a:gd name="connsiteY14" fmla="*/ 882965 h 1016771"/>
                    <a:gd name="connsiteX15" fmla="*/ 243990 w 761692"/>
                    <a:gd name="connsiteY15" fmla="*/ 883546 h 1016771"/>
                    <a:gd name="connsiteX16" fmla="*/ 224965 w 761692"/>
                    <a:gd name="connsiteY16" fmla="*/ 880375 h 1016771"/>
                    <a:gd name="connsiteX17" fmla="*/ 222919 w 761692"/>
                    <a:gd name="connsiteY17" fmla="*/ 879608 h 1016771"/>
                    <a:gd name="connsiteX18" fmla="*/ 159250 w 761692"/>
                    <a:gd name="connsiteY18" fmla="*/ 829179 h 1016771"/>
                    <a:gd name="connsiteX19" fmla="*/ 159989 w 761692"/>
                    <a:gd name="connsiteY19" fmla="*/ 830410 h 1016771"/>
                    <a:gd name="connsiteX20" fmla="*/ 151512 w 761692"/>
                    <a:gd name="connsiteY20" fmla="*/ 838886 h 1016771"/>
                    <a:gd name="connsiteX21" fmla="*/ 149817 w 761692"/>
                    <a:gd name="connsiteY21" fmla="*/ 840582 h 1016771"/>
                    <a:gd name="connsiteX22" fmla="*/ 148122 w 761692"/>
                    <a:gd name="connsiteY22" fmla="*/ 842277 h 1016771"/>
                    <a:gd name="connsiteX23" fmla="*/ 146426 w 761692"/>
                    <a:gd name="connsiteY23" fmla="*/ 843972 h 1016771"/>
                    <a:gd name="connsiteX24" fmla="*/ 141340 w 761692"/>
                    <a:gd name="connsiteY24" fmla="*/ 849058 h 1016771"/>
                    <a:gd name="connsiteX25" fmla="*/ 141340 w 761692"/>
                    <a:gd name="connsiteY25" fmla="*/ 850754 h 1016771"/>
                    <a:gd name="connsiteX26" fmla="*/ 139645 w 761692"/>
                    <a:gd name="connsiteY26" fmla="*/ 852449 h 1016771"/>
                    <a:gd name="connsiteX27" fmla="*/ 139645 w 761692"/>
                    <a:gd name="connsiteY27" fmla="*/ 860925 h 1016771"/>
                    <a:gd name="connsiteX28" fmla="*/ 148122 w 761692"/>
                    <a:gd name="connsiteY28" fmla="*/ 867707 h 1016771"/>
                    <a:gd name="connsiteX29" fmla="*/ 158294 w 761692"/>
                    <a:gd name="connsiteY29" fmla="*/ 879574 h 1016771"/>
                    <a:gd name="connsiteX30" fmla="*/ 175247 w 761692"/>
                    <a:gd name="connsiteY30" fmla="*/ 889746 h 1016771"/>
                    <a:gd name="connsiteX31" fmla="*/ 188810 w 761692"/>
                    <a:gd name="connsiteY31" fmla="*/ 893137 h 1016771"/>
                    <a:gd name="connsiteX32" fmla="*/ 195591 w 761692"/>
                    <a:gd name="connsiteY32" fmla="*/ 893137 h 1016771"/>
                    <a:gd name="connsiteX33" fmla="*/ 202372 w 761692"/>
                    <a:gd name="connsiteY33" fmla="*/ 886355 h 1016771"/>
                    <a:gd name="connsiteX34" fmla="*/ 200677 w 761692"/>
                    <a:gd name="connsiteY34" fmla="*/ 877879 h 1016771"/>
                    <a:gd name="connsiteX35" fmla="*/ 209154 w 761692"/>
                    <a:gd name="connsiteY35" fmla="*/ 874488 h 1016771"/>
                    <a:gd name="connsiteX36" fmla="*/ 210740 w 761692"/>
                    <a:gd name="connsiteY36" fmla="*/ 875083 h 1016771"/>
                    <a:gd name="connsiteX37" fmla="*/ 201937 w 761692"/>
                    <a:gd name="connsiteY37" fmla="*/ 878604 h 1016771"/>
                    <a:gd name="connsiteX38" fmla="*/ 203708 w 761692"/>
                    <a:gd name="connsiteY38" fmla="*/ 887461 h 1016771"/>
                    <a:gd name="connsiteX39" fmla="*/ 196623 w 761692"/>
                    <a:gd name="connsiteY39" fmla="*/ 894546 h 1016771"/>
                    <a:gd name="connsiteX40" fmla="*/ 189537 w 761692"/>
                    <a:gd name="connsiteY40" fmla="*/ 894546 h 1016771"/>
                    <a:gd name="connsiteX41" fmla="*/ 175366 w 761692"/>
                    <a:gd name="connsiteY41" fmla="*/ 891003 h 1016771"/>
                    <a:gd name="connsiteX42" fmla="*/ 157653 w 761692"/>
                    <a:gd name="connsiteY42" fmla="*/ 880375 h 1016771"/>
                    <a:gd name="connsiteX43" fmla="*/ 147024 w 761692"/>
                    <a:gd name="connsiteY43" fmla="*/ 867975 h 1016771"/>
                    <a:gd name="connsiteX44" fmla="*/ 138167 w 761692"/>
                    <a:gd name="connsiteY44" fmla="*/ 860890 h 1016771"/>
                    <a:gd name="connsiteX45" fmla="*/ 138167 w 761692"/>
                    <a:gd name="connsiteY45" fmla="*/ 852033 h 1016771"/>
                    <a:gd name="connsiteX46" fmla="*/ 139939 w 761692"/>
                    <a:gd name="connsiteY46" fmla="*/ 850262 h 1016771"/>
                    <a:gd name="connsiteX47" fmla="*/ 139939 w 761692"/>
                    <a:gd name="connsiteY47" fmla="*/ 848490 h 1016771"/>
                    <a:gd name="connsiteX48" fmla="*/ 145253 w 761692"/>
                    <a:gd name="connsiteY48" fmla="*/ 843176 h 1016771"/>
                    <a:gd name="connsiteX49" fmla="*/ 147024 w 761692"/>
                    <a:gd name="connsiteY49" fmla="*/ 841405 h 1016771"/>
                    <a:gd name="connsiteX50" fmla="*/ 148796 w 761692"/>
                    <a:gd name="connsiteY50" fmla="*/ 839633 h 1016771"/>
                    <a:gd name="connsiteX51" fmla="*/ 150567 w 761692"/>
                    <a:gd name="connsiteY51" fmla="*/ 837862 h 1016771"/>
                    <a:gd name="connsiteX52" fmla="*/ 159250 w 761692"/>
                    <a:gd name="connsiteY52" fmla="*/ 829179 h 1016771"/>
                    <a:gd name="connsiteX53" fmla="*/ 116476 w 761692"/>
                    <a:gd name="connsiteY53" fmla="*/ 741349 h 1016771"/>
                    <a:gd name="connsiteX54" fmla="*/ 117606 w 761692"/>
                    <a:gd name="connsiteY54" fmla="*/ 742253 h 1016771"/>
                    <a:gd name="connsiteX55" fmla="*/ 122692 w 761692"/>
                    <a:gd name="connsiteY55" fmla="*/ 759206 h 1016771"/>
                    <a:gd name="connsiteX56" fmla="*/ 126082 w 761692"/>
                    <a:gd name="connsiteY56" fmla="*/ 771073 h 1016771"/>
                    <a:gd name="connsiteX57" fmla="*/ 129473 w 761692"/>
                    <a:gd name="connsiteY57" fmla="*/ 782940 h 1016771"/>
                    <a:gd name="connsiteX58" fmla="*/ 132864 w 761692"/>
                    <a:gd name="connsiteY58" fmla="*/ 793112 h 1016771"/>
                    <a:gd name="connsiteX59" fmla="*/ 136254 w 761692"/>
                    <a:gd name="connsiteY59" fmla="*/ 810066 h 1016771"/>
                    <a:gd name="connsiteX60" fmla="*/ 139058 w 761692"/>
                    <a:gd name="connsiteY60" fmla="*/ 818476 h 1016771"/>
                    <a:gd name="connsiteX61" fmla="*/ 138167 w 761692"/>
                    <a:gd name="connsiteY61" fmla="*/ 818377 h 1016771"/>
                    <a:gd name="connsiteX62" fmla="*/ 134625 w 761692"/>
                    <a:gd name="connsiteY62" fmla="*/ 807749 h 1016771"/>
                    <a:gd name="connsiteX63" fmla="*/ 131082 w 761692"/>
                    <a:gd name="connsiteY63" fmla="*/ 790035 h 1016771"/>
                    <a:gd name="connsiteX64" fmla="*/ 127539 w 761692"/>
                    <a:gd name="connsiteY64" fmla="*/ 779407 h 1016771"/>
                    <a:gd name="connsiteX65" fmla="*/ 123996 w 761692"/>
                    <a:gd name="connsiteY65" fmla="*/ 767007 h 1016771"/>
                    <a:gd name="connsiteX66" fmla="*/ 120454 w 761692"/>
                    <a:gd name="connsiteY66" fmla="*/ 754607 h 1016771"/>
                    <a:gd name="connsiteX67" fmla="*/ 116476 w 761692"/>
                    <a:gd name="connsiteY67" fmla="*/ 741349 h 1016771"/>
                    <a:gd name="connsiteX68" fmla="*/ 554441 w 761692"/>
                    <a:gd name="connsiteY68" fmla="*/ 0 h 1016771"/>
                    <a:gd name="connsiteX69" fmla="*/ 570383 w 761692"/>
                    <a:gd name="connsiteY69" fmla="*/ 3543 h 1016771"/>
                    <a:gd name="connsiteX70" fmla="*/ 577469 w 761692"/>
                    <a:gd name="connsiteY70" fmla="*/ 8857 h 1016771"/>
                    <a:gd name="connsiteX71" fmla="*/ 582783 w 761692"/>
                    <a:gd name="connsiteY71" fmla="*/ 17714 h 1016771"/>
                    <a:gd name="connsiteX72" fmla="*/ 582783 w 761692"/>
                    <a:gd name="connsiteY72" fmla="*/ 24799 h 1016771"/>
                    <a:gd name="connsiteX73" fmla="*/ 588097 w 761692"/>
                    <a:gd name="connsiteY73" fmla="*/ 33656 h 1016771"/>
                    <a:gd name="connsiteX74" fmla="*/ 598725 w 761692"/>
                    <a:gd name="connsiteY74" fmla="*/ 31885 h 1016771"/>
                    <a:gd name="connsiteX75" fmla="*/ 612896 w 761692"/>
                    <a:gd name="connsiteY75" fmla="*/ 37199 h 1016771"/>
                    <a:gd name="connsiteX76" fmla="*/ 618211 w 761692"/>
                    <a:gd name="connsiteY76" fmla="*/ 46056 h 1016771"/>
                    <a:gd name="connsiteX77" fmla="*/ 619982 w 761692"/>
                    <a:gd name="connsiteY77" fmla="*/ 54913 h 1016771"/>
                    <a:gd name="connsiteX78" fmla="*/ 618211 w 761692"/>
                    <a:gd name="connsiteY78" fmla="*/ 74398 h 1016771"/>
                    <a:gd name="connsiteX79" fmla="*/ 616439 w 761692"/>
                    <a:gd name="connsiteY79" fmla="*/ 85026 h 1016771"/>
                    <a:gd name="connsiteX80" fmla="*/ 621753 w 761692"/>
                    <a:gd name="connsiteY80" fmla="*/ 97426 h 1016771"/>
                    <a:gd name="connsiteX81" fmla="*/ 637696 w 761692"/>
                    <a:gd name="connsiteY81" fmla="*/ 113368 h 1016771"/>
                    <a:gd name="connsiteX82" fmla="*/ 644781 w 761692"/>
                    <a:gd name="connsiteY82" fmla="*/ 120454 h 1016771"/>
                    <a:gd name="connsiteX83" fmla="*/ 650095 w 761692"/>
                    <a:gd name="connsiteY83" fmla="*/ 136396 h 1016771"/>
                    <a:gd name="connsiteX84" fmla="*/ 655409 w 761692"/>
                    <a:gd name="connsiteY84" fmla="*/ 155881 h 1016771"/>
                    <a:gd name="connsiteX85" fmla="*/ 662495 w 761692"/>
                    <a:gd name="connsiteY85" fmla="*/ 171824 h 1016771"/>
                    <a:gd name="connsiteX86" fmla="*/ 660724 w 761692"/>
                    <a:gd name="connsiteY86" fmla="*/ 185995 h 1016771"/>
                    <a:gd name="connsiteX87" fmla="*/ 635924 w 761692"/>
                    <a:gd name="connsiteY87" fmla="*/ 194852 h 1016771"/>
                    <a:gd name="connsiteX88" fmla="*/ 619982 w 761692"/>
                    <a:gd name="connsiteY88" fmla="*/ 207251 h 1016771"/>
                    <a:gd name="connsiteX89" fmla="*/ 614668 w 761692"/>
                    <a:gd name="connsiteY89" fmla="*/ 223194 h 1016771"/>
                    <a:gd name="connsiteX90" fmla="*/ 618211 w 761692"/>
                    <a:gd name="connsiteY90" fmla="*/ 242679 h 1016771"/>
                    <a:gd name="connsiteX91" fmla="*/ 612896 w 761692"/>
                    <a:gd name="connsiteY91" fmla="*/ 256850 h 1016771"/>
                    <a:gd name="connsiteX92" fmla="*/ 625296 w 761692"/>
                    <a:gd name="connsiteY92" fmla="*/ 267478 h 1016771"/>
                    <a:gd name="connsiteX93" fmla="*/ 641238 w 761692"/>
                    <a:gd name="connsiteY93" fmla="*/ 269250 h 1016771"/>
                    <a:gd name="connsiteX94" fmla="*/ 658952 w 761692"/>
                    <a:gd name="connsiteY94" fmla="*/ 286963 h 1016771"/>
                    <a:gd name="connsiteX95" fmla="*/ 653638 w 761692"/>
                    <a:gd name="connsiteY95" fmla="*/ 309991 h 1016771"/>
                    <a:gd name="connsiteX96" fmla="*/ 653638 w 761692"/>
                    <a:gd name="connsiteY96" fmla="*/ 329476 h 1016771"/>
                    <a:gd name="connsiteX97" fmla="*/ 643010 w 761692"/>
                    <a:gd name="connsiteY97" fmla="*/ 338333 h 1016771"/>
                    <a:gd name="connsiteX98" fmla="*/ 632382 w 761692"/>
                    <a:gd name="connsiteY98" fmla="*/ 338333 h 1016771"/>
                    <a:gd name="connsiteX99" fmla="*/ 618211 w 761692"/>
                    <a:gd name="connsiteY99" fmla="*/ 357819 h 1016771"/>
                    <a:gd name="connsiteX100" fmla="*/ 609354 w 761692"/>
                    <a:gd name="connsiteY100" fmla="*/ 361361 h 1016771"/>
                    <a:gd name="connsiteX101" fmla="*/ 596954 w 761692"/>
                    <a:gd name="connsiteY101" fmla="*/ 363133 h 1016771"/>
                    <a:gd name="connsiteX102" fmla="*/ 581012 w 761692"/>
                    <a:gd name="connsiteY102" fmla="*/ 379075 h 1016771"/>
                    <a:gd name="connsiteX103" fmla="*/ 589868 w 761692"/>
                    <a:gd name="connsiteY103" fmla="*/ 393246 h 1016771"/>
                    <a:gd name="connsiteX104" fmla="*/ 586326 w 761692"/>
                    <a:gd name="connsiteY104" fmla="*/ 409189 h 1016771"/>
                    <a:gd name="connsiteX105" fmla="*/ 570383 w 761692"/>
                    <a:gd name="connsiteY105" fmla="*/ 398560 h 1016771"/>
                    <a:gd name="connsiteX106" fmla="*/ 550898 w 761692"/>
                    <a:gd name="connsiteY106" fmla="*/ 405646 h 1016771"/>
                    <a:gd name="connsiteX107" fmla="*/ 531413 w 761692"/>
                    <a:gd name="connsiteY107" fmla="*/ 425131 h 1016771"/>
                    <a:gd name="connsiteX108" fmla="*/ 543813 w 761692"/>
                    <a:gd name="connsiteY108" fmla="*/ 444616 h 1016771"/>
                    <a:gd name="connsiteX109" fmla="*/ 557984 w 761692"/>
                    <a:gd name="connsiteY109" fmla="*/ 462330 h 1016771"/>
                    <a:gd name="connsiteX110" fmla="*/ 570383 w 761692"/>
                    <a:gd name="connsiteY110" fmla="*/ 478272 h 1016771"/>
                    <a:gd name="connsiteX111" fmla="*/ 579240 w 761692"/>
                    <a:gd name="connsiteY111" fmla="*/ 485358 h 1016771"/>
                    <a:gd name="connsiteX112" fmla="*/ 602268 w 761692"/>
                    <a:gd name="connsiteY112" fmla="*/ 483586 h 1016771"/>
                    <a:gd name="connsiteX113" fmla="*/ 623525 w 761692"/>
                    <a:gd name="connsiteY113" fmla="*/ 474730 h 1016771"/>
                    <a:gd name="connsiteX114" fmla="*/ 639467 w 761692"/>
                    <a:gd name="connsiteY114" fmla="*/ 464101 h 1016771"/>
                    <a:gd name="connsiteX115" fmla="*/ 662495 w 761692"/>
                    <a:gd name="connsiteY115" fmla="*/ 464101 h 1016771"/>
                    <a:gd name="connsiteX116" fmla="*/ 673123 w 761692"/>
                    <a:gd name="connsiteY116" fmla="*/ 464101 h 1016771"/>
                    <a:gd name="connsiteX117" fmla="*/ 681980 w 761692"/>
                    <a:gd name="connsiteY117" fmla="*/ 467644 h 1016771"/>
                    <a:gd name="connsiteX118" fmla="*/ 703237 w 761692"/>
                    <a:gd name="connsiteY118" fmla="*/ 471187 h 1016771"/>
                    <a:gd name="connsiteX119" fmla="*/ 708551 w 761692"/>
                    <a:gd name="connsiteY119" fmla="*/ 474730 h 1016771"/>
                    <a:gd name="connsiteX120" fmla="*/ 722722 w 761692"/>
                    <a:gd name="connsiteY120" fmla="*/ 501300 h 1016771"/>
                    <a:gd name="connsiteX121" fmla="*/ 724493 w 761692"/>
                    <a:gd name="connsiteY121" fmla="*/ 522557 h 1016771"/>
                    <a:gd name="connsiteX122" fmla="*/ 722722 w 761692"/>
                    <a:gd name="connsiteY122" fmla="*/ 540271 h 1016771"/>
                    <a:gd name="connsiteX123" fmla="*/ 735121 w 761692"/>
                    <a:gd name="connsiteY123" fmla="*/ 552670 h 1016771"/>
                    <a:gd name="connsiteX124" fmla="*/ 735121 w 761692"/>
                    <a:gd name="connsiteY124" fmla="*/ 570384 h 1016771"/>
                    <a:gd name="connsiteX125" fmla="*/ 751064 w 761692"/>
                    <a:gd name="connsiteY125" fmla="*/ 581012 h 1016771"/>
                    <a:gd name="connsiteX126" fmla="*/ 761692 w 761692"/>
                    <a:gd name="connsiteY126" fmla="*/ 604040 h 1016771"/>
                    <a:gd name="connsiteX127" fmla="*/ 747521 w 761692"/>
                    <a:gd name="connsiteY127" fmla="*/ 616440 h 1016771"/>
                    <a:gd name="connsiteX128" fmla="*/ 728036 w 761692"/>
                    <a:gd name="connsiteY128" fmla="*/ 627068 h 1016771"/>
                    <a:gd name="connsiteX129" fmla="*/ 726264 w 761692"/>
                    <a:gd name="connsiteY129" fmla="*/ 650096 h 1016771"/>
                    <a:gd name="connsiteX130" fmla="*/ 728036 w 761692"/>
                    <a:gd name="connsiteY130" fmla="*/ 673124 h 1016771"/>
                    <a:gd name="connsiteX131" fmla="*/ 742207 w 761692"/>
                    <a:gd name="connsiteY131" fmla="*/ 689066 h 1016771"/>
                    <a:gd name="connsiteX132" fmla="*/ 742207 w 761692"/>
                    <a:gd name="connsiteY132" fmla="*/ 712094 h 1016771"/>
                    <a:gd name="connsiteX133" fmla="*/ 740435 w 761692"/>
                    <a:gd name="connsiteY133" fmla="*/ 735122 h 1016771"/>
                    <a:gd name="connsiteX134" fmla="*/ 742207 w 761692"/>
                    <a:gd name="connsiteY134" fmla="*/ 751065 h 1016771"/>
                    <a:gd name="connsiteX135" fmla="*/ 747521 w 761692"/>
                    <a:gd name="connsiteY135" fmla="*/ 768778 h 1016771"/>
                    <a:gd name="connsiteX136" fmla="*/ 759921 w 761692"/>
                    <a:gd name="connsiteY136" fmla="*/ 777635 h 1016771"/>
                    <a:gd name="connsiteX137" fmla="*/ 758149 w 761692"/>
                    <a:gd name="connsiteY137" fmla="*/ 802434 h 1016771"/>
                    <a:gd name="connsiteX138" fmla="*/ 752835 w 761692"/>
                    <a:gd name="connsiteY138" fmla="*/ 814834 h 1016771"/>
                    <a:gd name="connsiteX139" fmla="*/ 743978 w 761692"/>
                    <a:gd name="connsiteY139" fmla="*/ 827234 h 1016771"/>
                    <a:gd name="connsiteX140" fmla="*/ 743978 w 761692"/>
                    <a:gd name="connsiteY140" fmla="*/ 837862 h 1016771"/>
                    <a:gd name="connsiteX141" fmla="*/ 747521 w 761692"/>
                    <a:gd name="connsiteY141" fmla="*/ 853804 h 1016771"/>
                    <a:gd name="connsiteX142" fmla="*/ 733350 w 761692"/>
                    <a:gd name="connsiteY142" fmla="*/ 867975 h 1016771"/>
                    <a:gd name="connsiteX143" fmla="*/ 724493 w 761692"/>
                    <a:gd name="connsiteY143" fmla="*/ 880375 h 1016771"/>
                    <a:gd name="connsiteX144" fmla="*/ 722722 w 761692"/>
                    <a:gd name="connsiteY144" fmla="*/ 899860 h 1016771"/>
                    <a:gd name="connsiteX145" fmla="*/ 722722 w 761692"/>
                    <a:gd name="connsiteY145" fmla="*/ 919345 h 1016771"/>
                    <a:gd name="connsiteX146" fmla="*/ 715636 w 761692"/>
                    <a:gd name="connsiteY146" fmla="*/ 940602 h 1016771"/>
                    <a:gd name="connsiteX147" fmla="*/ 708551 w 761692"/>
                    <a:gd name="connsiteY147" fmla="*/ 954773 h 1016771"/>
                    <a:gd name="connsiteX148" fmla="*/ 699694 w 761692"/>
                    <a:gd name="connsiteY148" fmla="*/ 965401 h 1016771"/>
                    <a:gd name="connsiteX149" fmla="*/ 692608 w 761692"/>
                    <a:gd name="connsiteY149" fmla="*/ 984886 h 1016771"/>
                    <a:gd name="connsiteX150" fmla="*/ 683751 w 761692"/>
                    <a:gd name="connsiteY150" fmla="*/ 997286 h 1016771"/>
                    <a:gd name="connsiteX151" fmla="*/ 673123 w 761692"/>
                    <a:gd name="connsiteY151" fmla="*/ 1002600 h 1016771"/>
                    <a:gd name="connsiteX152" fmla="*/ 662495 w 761692"/>
                    <a:gd name="connsiteY152" fmla="*/ 1013228 h 1016771"/>
                    <a:gd name="connsiteX153" fmla="*/ 644781 w 761692"/>
                    <a:gd name="connsiteY153" fmla="*/ 1016771 h 1016771"/>
                    <a:gd name="connsiteX154" fmla="*/ 635924 w 761692"/>
                    <a:gd name="connsiteY154" fmla="*/ 1004372 h 1016771"/>
                    <a:gd name="connsiteX155" fmla="*/ 623525 w 761692"/>
                    <a:gd name="connsiteY155" fmla="*/ 997286 h 1016771"/>
                    <a:gd name="connsiteX156" fmla="*/ 614668 w 761692"/>
                    <a:gd name="connsiteY156" fmla="*/ 986658 h 1016771"/>
                    <a:gd name="connsiteX157" fmla="*/ 593411 w 761692"/>
                    <a:gd name="connsiteY157" fmla="*/ 970715 h 1016771"/>
                    <a:gd name="connsiteX158" fmla="*/ 582783 w 761692"/>
                    <a:gd name="connsiteY158" fmla="*/ 965401 h 1016771"/>
                    <a:gd name="connsiteX159" fmla="*/ 531413 w 761692"/>
                    <a:gd name="connsiteY159" fmla="*/ 965401 h 1016771"/>
                    <a:gd name="connsiteX160" fmla="*/ 511928 w 761692"/>
                    <a:gd name="connsiteY160" fmla="*/ 965401 h 1016771"/>
                    <a:gd name="connsiteX161" fmla="*/ 492443 w 761692"/>
                    <a:gd name="connsiteY161" fmla="*/ 963630 h 1016771"/>
                    <a:gd name="connsiteX162" fmla="*/ 483586 w 761692"/>
                    <a:gd name="connsiteY162" fmla="*/ 958316 h 1016771"/>
                    <a:gd name="connsiteX163" fmla="*/ 469415 w 761692"/>
                    <a:gd name="connsiteY163" fmla="*/ 954773 h 1016771"/>
                    <a:gd name="connsiteX164" fmla="*/ 460558 w 761692"/>
                    <a:gd name="connsiteY164" fmla="*/ 942373 h 1016771"/>
                    <a:gd name="connsiteX165" fmla="*/ 446387 w 761692"/>
                    <a:gd name="connsiteY165" fmla="*/ 935288 h 1016771"/>
                    <a:gd name="connsiteX166" fmla="*/ 428673 w 761692"/>
                    <a:gd name="connsiteY166" fmla="*/ 928202 h 1016771"/>
                    <a:gd name="connsiteX167" fmla="*/ 418045 w 761692"/>
                    <a:gd name="connsiteY167" fmla="*/ 917574 h 1016771"/>
                    <a:gd name="connsiteX168" fmla="*/ 421588 w 761692"/>
                    <a:gd name="connsiteY168" fmla="*/ 903403 h 1016771"/>
                    <a:gd name="connsiteX169" fmla="*/ 418045 w 761692"/>
                    <a:gd name="connsiteY169" fmla="*/ 898089 h 1016771"/>
                    <a:gd name="connsiteX170" fmla="*/ 396788 w 761692"/>
                    <a:gd name="connsiteY170" fmla="*/ 898089 h 1016771"/>
                    <a:gd name="connsiteX171" fmla="*/ 382617 w 761692"/>
                    <a:gd name="connsiteY171" fmla="*/ 896318 h 1016771"/>
                    <a:gd name="connsiteX172" fmla="*/ 380846 w 761692"/>
                    <a:gd name="connsiteY172" fmla="*/ 906946 h 1016771"/>
                    <a:gd name="connsiteX173" fmla="*/ 373601 w 761692"/>
                    <a:gd name="connsiteY173" fmla="*/ 894832 h 1016771"/>
                    <a:gd name="connsiteX174" fmla="*/ 387164 w 761692"/>
                    <a:gd name="connsiteY174" fmla="*/ 896527 h 1016771"/>
                    <a:gd name="connsiteX175" fmla="*/ 383773 w 761692"/>
                    <a:gd name="connsiteY175" fmla="*/ 886355 h 1016771"/>
                    <a:gd name="connsiteX176" fmla="*/ 387164 w 761692"/>
                    <a:gd name="connsiteY176" fmla="*/ 876183 h 1016771"/>
                    <a:gd name="connsiteX177" fmla="*/ 388859 w 761692"/>
                    <a:gd name="connsiteY177" fmla="*/ 867707 h 1016771"/>
                    <a:gd name="connsiteX178" fmla="*/ 380382 w 761692"/>
                    <a:gd name="connsiteY178" fmla="*/ 859230 h 1016771"/>
                    <a:gd name="connsiteX179" fmla="*/ 373601 w 761692"/>
                    <a:gd name="connsiteY179" fmla="*/ 849058 h 1016771"/>
                    <a:gd name="connsiteX180" fmla="*/ 380382 w 761692"/>
                    <a:gd name="connsiteY180" fmla="*/ 838886 h 1016771"/>
                    <a:gd name="connsiteX181" fmla="*/ 383773 w 761692"/>
                    <a:gd name="connsiteY181" fmla="*/ 833800 h 1016771"/>
                    <a:gd name="connsiteX182" fmla="*/ 388859 w 761692"/>
                    <a:gd name="connsiteY182" fmla="*/ 825324 h 1016771"/>
                    <a:gd name="connsiteX183" fmla="*/ 387164 w 761692"/>
                    <a:gd name="connsiteY183" fmla="*/ 810066 h 1016771"/>
                    <a:gd name="connsiteX184" fmla="*/ 387164 w 761692"/>
                    <a:gd name="connsiteY184" fmla="*/ 796503 h 1016771"/>
                    <a:gd name="connsiteX185" fmla="*/ 378687 w 761692"/>
                    <a:gd name="connsiteY185" fmla="*/ 789722 h 1016771"/>
                    <a:gd name="connsiteX186" fmla="*/ 366820 w 761692"/>
                    <a:gd name="connsiteY186" fmla="*/ 782940 h 1016771"/>
                    <a:gd name="connsiteX187" fmla="*/ 356648 w 761692"/>
                    <a:gd name="connsiteY187" fmla="*/ 781245 h 1016771"/>
                    <a:gd name="connsiteX188" fmla="*/ 349866 w 761692"/>
                    <a:gd name="connsiteY188" fmla="*/ 771073 h 1016771"/>
                    <a:gd name="connsiteX189" fmla="*/ 349866 w 761692"/>
                    <a:gd name="connsiteY189" fmla="*/ 752425 h 1016771"/>
                    <a:gd name="connsiteX190" fmla="*/ 353257 w 761692"/>
                    <a:gd name="connsiteY190" fmla="*/ 743948 h 1016771"/>
                    <a:gd name="connsiteX191" fmla="*/ 354952 w 761692"/>
                    <a:gd name="connsiteY191" fmla="*/ 730385 h 1016771"/>
                    <a:gd name="connsiteX192" fmla="*/ 353257 w 761692"/>
                    <a:gd name="connsiteY192" fmla="*/ 713432 h 1016771"/>
                    <a:gd name="connsiteX193" fmla="*/ 346476 w 761692"/>
                    <a:gd name="connsiteY193" fmla="*/ 701565 h 1016771"/>
                    <a:gd name="connsiteX194" fmla="*/ 332913 w 761692"/>
                    <a:gd name="connsiteY194" fmla="*/ 689697 h 1016771"/>
                    <a:gd name="connsiteX195" fmla="*/ 324436 w 761692"/>
                    <a:gd name="connsiteY195" fmla="*/ 681221 h 1016771"/>
                    <a:gd name="connsiteX196" fmla="*/ 314264 w 761692"/>
                    <a:gd name="connsiteY196" fmla="*/ 676135 h 1016771"/>
                    <a:gd name="connsiteX197" fmla="*/ 293920 w 761692"/>
                    <a:gd name="connsiteY197" fmla="*/ 669354 h 1016771"/>
                    <a:gd name="connsiteX198" fmla="*/ 282053 w 761692"/>
                    <a:gd name="connsiteY198" fmla="*/ 667658 h 1016771"/>
                    <a:gd name="connsiteX199" fmla="*/ 266795 w 761692"/>
                    <a:gd name="connsiteY199" fmla="*/ 672744 h 1016771"/>
                    <a:gd name="connsiteX200" fmla="*/ 265100 w 761692"/>
                    <a:gd name="connsiteY200" fmla="*/ 672744 h 1016771"/>
                    <a:gd name="connsiteX201" fmla="*/ 263404 w 761692"/>
                    <a:gd name="connsiteY201" fmla="*/ 671049 h 1016771"/>
                    <a:gd name="connsiteX202" fmla="*/ 260014 w 761692"/>
                    <a:gd name="connsiteY202" fmla="*/ 671049 h 1016771"/>
                    <a:gd name="connsiteX203" fmla="*/ 258318 w 761692"/>
                    <a:gd name="connsiteY203" fmla="*/ 671049 h 1016771"/>
                    <a:gd name="connsiteX204" fmla="*/ 253232 w 761692"/>
                    <a:gd name="connsiteY204" fmla="*/ 671049 h 1016771"/>
                    <a:gd name="connsiteX205" fmla="*/ 248146 w 761692"/>
                    <a:gd name="connsiteY205" fmla="*/ 672744 h 1016771"/>
                    <a:gd name="connsiteX206" fmla="*/ 248146 w 761692"/>
                    <a:gd name="connsiteY206" fmla="*/ 674440 h 1016771"/>
                    <a:gd name="connsiteX207" fmla="*/ 246451 w 761692"/>
                    <a:gd name="connsiteY207" fmla="*/ 674440 h 1016771"/>
                    <a:gd name="connsiteX208" fmla="*/ 236279 w 761692"/>
                    <a:gd name="connsiteY208" fmla="*/ 679526 h 1016771"/>
                    <a:gd name="connsiteX209" fmla="*/ 226107 w 761692"/>
                    <a:gd name="connsiteY209" fmla="*/ 684612 h 1016771"/>
                    <a:gd name="connsiteX210" fmla="*/ 217630 w 761692"/>
                    <a:gd name="connsiteY210" fmla="*/ 684612 h 1016771"/>
                    <a:gd name="connsiteX211" fmla="*/ 207458 w 761692"/>
                    <a:gd name="connsiteY211" fmla="*/ 693088 h 1016771"/>
                    <a:gd name="connsiteX212" fmla="*/ 198982 w 761692"/>
                    <a:gd name="connsiteY212" fmla="*/ 694783 h 1016771"/>
                    <a:gd name="connsiteX213" fmla="*/ 192200 w 761692"/>
                    <a:gd name="connsiteY213" fmla="*/ 699869 h 1016771"/>
                    <a:gd name="connsiteX214" fmla="*/ 178638 w 761692"/>
                    <a:gd name="connsiteY214" fmla="*/ 706651 h 1016771"/>
                    <a:gd name="connsiteX215" fmla="*/ 163380 w 761692"/>
                    <a:gd name="connsiteY215" fmla="*/ 710041 h 1016771"/>
                    <a:gd name="connsiteX216" fmla="*/ 141340 w 761692"/>
                    <a:gd name="connsiteY216" fmla="*/ 710041 h 1016771"/>
                    <a:gd name="connsiteX217" fmla="*/ 134559 w 761692"/>
                    <a:gd name="connsiteY217" fmla="*/ 716823 h 1016771"/>
                    <a:gd name="connsiteX218" fmla="*/ 127778 w 761692"/>
                    <a:gd name="connsiteY218" fmla="*/ 718518 h 1016771"/>
                    <a:gd name="connsiteX219" fmla="*/ 120996 w 761692"/>
                    <a:gd name="connsiteY219" fmla="*/ 725299 h 1016771"/>
                    <a:gd name="connsiteX220" fmla="*/ 111172 w 761692"/>
                    <a:gd name="connsiteY220" fmla="*/ 733720 h 1016771"/>
                    <a:gd name="connsiteX221" fmla="*/ 106283 w 761692"/>
                    <a:gd name="connsiteY221" fmla="*/ 729808 h 1016771"/>
                    <a:gd name="connsiteX222" fmla="*/ 92112 w 761692"/>
                    <a:gd name="connsiteY222" fmla="*/ 724494 h 1016771"/>
                    <a:gd name="connsiteX223" fmla="*/ 77941 w 761692"/>
                    <a:gd name="connsiteY223" fmla="*/ 726265 h 1016771"/>
                    <a:gd name="connsiteX224" fmla="*/ 70855 w 761692"/>
                    <a:gd name="connsiteY224" fmla="*/ 719180 h 1016771"/>
                    <a:gd name="connsiteX225" fmla="*/ 70855 w 761692"/>
                    <a:gd name="connsiteY225" fmla="*/ 699695 h 1016771"/>
                    <a:gd name="connsiteX226" fmla="*/ 81483 w 761692"/>
                    <a:gd name="connsiteY226" fmla="*/ 685524 h 1016771"/>
                    <a:gd name="connsiteX227" fmla="*/ 85026 w 761692"/>
                    <a:gd name="connsiteY227" fmla="*/ 673124 h 1016771"/>
                    <a:gd name="connsiteX228" fmla="*/ 86797 w 761692"/>
                    <a:gd name="connsiteY228" fmla="*/ 660724 h 1016771"/>
                    <a:gd name="connsiteX229" fmla="*/ 97426 w 761692"/>
                    <a:gd name="connsiteY229" fmla="*/ 650096 h 1016771"/>
                    <a:gd name="connsiteX230" fmla="*/ 102740 w 761692"/>
                    <a:gd name="connsiteY230" fmla="*/ 635925 h 1016771"/>
                    <a:gd name="connsiteX231" fmla="*/ 113368 w 761692"/>
                    <a:gd name="connsiteY231" fmla="*/ 625297 h 1016771"/>
                    <a:gd name="connsiteX232" fmla="*/ 115139 w 761692"/>
                    <a:gd name="connsiteY232" fmla="*/ 612897 h 1016771"/>
                    <a:gd name="connsiteX233" fmla="*/ 127539 w 761692"/>
                    <a:gd name="connsiteY233" fmla="*/ 609354 h 1016771"/>
                    <a:gd name="connsiteX234" fmla="*/ 136396 w 761692"/>
                    <a:gd name="connsiteY234" fmla="*/ 604040 h 1016771"/>
                    <a:gd name="connsiteX235" fmla="*/ 132853 w 761692"/>
                    <a:gd name="connsiteY235" fmla="*/ 593412 h 1016771"/>
                    <a:gd name="connsiteX236" fmla="*/ 134625 w 761692"/>
                    <a:gd name="connsiteY236" fmla="*/ 584555 h 1016771"/>
                    <a:gd name="connsiteX237" fmla="*/ 131082 w 761692"/>
                    <a:gd name="connsiteY237" fmla="*/ 575698 h 1016771"/>
                    <a:gd name="connsiteX238" fmla="*/ 120454 w 761692"/>
                    <a:gd name="connsiteY238" fmla="*/ 568613 h 1016771"/>
                    <a:gd name="connsiteX239" fmla="*/ 125768 w 761692"/>
                    <a:gd name="connsiteY239" fmla="*/ 552670 h 1016771"/>
                    <a:gd name="connsiteX240" fmla="*/ 118682 w 761692"/>
                    <a:gd name="connsiteY240" fmla="*/ 543813 h 1016771"/>
                    <a:gd name="connsiteX241" fmla="*/ 90340 w 761692"/>
                    <a:gd name="connsiteY241" fmla="*/ 543813 h 1016771"/>
                    <a:gd name="connsiteX242" fmla="*/ 86797 w 761692"/>
                    <a:gd name="connsiteY242" fmla="*/ 542042 h 1016771"/>
                    <a:gd name="connsiteX243" fmla="*/ 83255 w 761692"/>
                    <a:gd name="connsiteY243" fmla="*/ 542042 h 1016771"/>
                    <a:gd name="connsiteX244" fmla="*/ 81483 w 761692"/>
                    <a:gd name="connsiteY244" fmla="*/ 540271 h 1016771"/>
                    <a:gd name="connsiteX245" fmla="*/ 81483 w 761692"/>
                    <a:gd name="connsiteY245" fmla="*/ 536728 h 1016771"/>
                    <a:gd name="connsiteX246" fmla="*/ 79712 w 761692"/>
                    <a:gd name="connsiteY246" fmla="*/ 531414 h 1016771"/>
                    <a:gd name="connsiteX247" fmla="*/ 77941 w 761692"/>
                    <a:gd name="connsiteY247" fmla="*/ 529642 h 1016771"/>
                    <a:gd name="connsiteX248" fmla="*/ 70855 w 761692"/>
                    <a:gd name="connsiteY248" fmla="*/ 527871 h 1016771"/>
                    <a:gd name="connsiteX249" fmla="*/ 60227 w 761692"/>
                    <a:gd name="connsiteY249" fmla="*/ 536728 h 1016771"/>
                    <a:gd name="connsiteX250" fmla="*/ 47827 w 761692"/>
                    <a:gd name="connsiteY250" fmla="*/ 526100 h 1016771"/>
                    <a:gd name="connsiteX251" fmla="*/ 42513 w 761692"/>
                    <a:gd name="connsiteY251" fmla="*/ 515471 h 1016771"/>
                    <a:gd name="connsiteX252" fmla="*/ 33656 w 761692"/>
                    <a:gd name="connsiteY252" fmla="*/ 506614 h 1016771"/>
                    <a:gd name="connsiteX253" fmla="*/ 31885 w 761692"/>
                    <a:gd name="connsiteY253" fmla="*/ 490672 h 1016771"/>
                    <a:gd name="connsiteX254" fmla="*/ 26571 w 761692"/>
                    <a:gd name="connsiteY254" fmla="*/ 476501 h 1016771"/>
                    <a:gd name="connsiteX255" fmla="*/ 24799 w 761692"/>
                    <a:gd name="connsiteY255" fmla="*/ 471187 h 1016771"/>
                    <a:gd name="connsiteX256" fmla="*/ 12400 w 761692"/>
                    <a:gd name="connsiteY256" fmla="*/ 472958 h 1016771"/>
                    <a:gd name="connsiteX257" fmla="*/ 7086 w 761692"/>
                    <a:gd name="connsiteY257" fmla="*/ 464101 h 1016771"/>
                    <a:gd name="connsiteX258" fmla="*/ 8857 w 761692"/>
                    <a:gd name="connsiteY258" fmla="*/ 446388 h 1016771"/>
                    <a:gd name="connsiteX259" fmla="*/ 3543 w 761692"/>
                    <a:gd name="connsiteY259" fmla="*/ 435759 h 1016771"/>
                    <a:gd name="connsiteX260" fmla="*/ 5314 w 761692"/>
                    <a:gd name="connsiteY260" fmla="*/ 412731 h 1016771"/>
                    <a:gd name="connsiteX261" fmla="*/ 0 w 761692"/>
                    <a:gd name="connsiteY261" fmla="*/ 396789 h 1016771"/>
                    <a:gd name="connsiteX262" fmla="*/ 3543 w 761692"/>
                    <a:gd name="connsiteY262" fmla="*/ 384389 h 1016771"/>
                    <a:gd name="connsiteX263" fmla="*/ 14171 w 761692"/>
                    <a:gd name="connsiteY263" fmla="*/ 380846 h 1016771"/>
                    <a:gd name="connsiteX264" fmla="*/ 24799 w 761692"/>
                    <a:gd name="connsiteY264" fmla="*/ 364904 h 1016771"/>
                    <a:gd name="connsiteX265" fmla="*/ 30113 w 761692"/>
                    <a:gd name="connsiteY265" fmla="*/ 350733 h 1016771"/>
                    <a:gd name="connsiteX266" fmla="*/ 35428 w 761692"/>
                    <a:gd name="connsiteY266" fmla="*/ 341876 h 1016771"/>
                    <a:gd name="connsiteX267" fmla="*/ 42513 w 761692"/>
                    <a:gd name="connsiteY267" fmla="*/ 327705 h 1016771"/>
                    <a:gd name="connsiteX268" fmla="*/ 42513 w 761692"/>
                    <a:gd name="connsiteY268" fmla="*/ 315305 h 1016771"/>
                    <a:gd name="connsiteX269" fmla="*/ 56684 w 761692"/>
                    <a:gd name="connsiteY269" fmla="*/ 309991 h 1016771"/>
                    <a:gd name="connsiteX270" fmla="*/ 60227 w 761692"/>
                    <a:gd name="connsiteY270" fmla="*/ 309991 h 1016771"/>
                    <a:gd name="connsiteX271" fmla="*/ 61998 w 761692"/>
                    <a:gd name="connsiteY271" fmla="*/ 311763 h 1016771"/>
                    <a:gd name="connsiteX272" fmla="*/ 67312 w 761692"/>
                    <a:gd name="connsiteY272" fmla="*/ 311763 h 1016771"/>
                    <a:gd name="connsiteX273" fmla="*/ 67312 w 761692"/>
                    <a:gd name="connsiteY273" fmla="*/ 309991 h 1016771"/>
                    <a:gd name="connsiteX274" fmla="*/ 67312 w 761692"/>
                    <a:gd name="connsiteY274" fmla="*/ 308220 h 1016771"/>
                    <a:gd name="connsiteX275" fmla="*/ 69084 w 761692"/>
                    <a:gd name="connsiteY275" fmla="*/ 302906 h 1016771"/>
                    <a:gd name="connsiteX276" fmla="*/ 70855 w 761692"/>
                    <a:gd name="connsiteY276" fmla="*/ 301134 h 1016771"/>
                    <a:gd name="connsiteX277" fmla="*/ 70855 w 761692"/>
                    <a:gd name="connsiteY277" fmla="*/ 299363 h 1016771"/>
                    <a:gd name="connsiteX278" fmla="*/ 77941 w 761692"/>
                    <a:gd name="connsiteY278" fmla="*/ 295820 h 1016771"/>
                    <a:gd name="connsiteX279" fmla="*/ 85026 w 761692"/>
                    <a:gd name="connsiteY279" fmla="*/ 295820 h 1016771"/>
                    <a:gd name="connsiteX280" fmla="*/ 93883 w 761692"/>
                    <a:gd name="connsiteY280" fmla="*/ 297592 h 1016771"/>
                    <a:gd name="connsiteX281" fmla="*/ 100968 w 761692"/>
                    <a:gd name="connsiteY281" fmla="*/ 288735 h 1016771"/>
                    <a:gd name="connsiteX282" fmla="*/ 97426 w 761692"/>
                    <a:gd name="connsiteY282" fmla="*/ 279878 h 1016771"/>
                    <a:gd name="connsiteX283" fmla="*/ 85026 w 761692"/>
                    <a:gd name="connsiteY283" fmla="*/ 276335 h 1016771"/>
                    <a:gd name="connsiteX284" fmla="*/ 76169 w 761692"/>
                    <a:gd name="connsiteY284" fmla="*/ 271021 h 1016771"/>
                    <a:gd name="connsiteX285" fmla="*/ 76169 w 761692"/>
                    <a:gd name="connsiteY285" fmla="*/ 262164 h 1016771"/>
                    <a:gd name="connsiteX286" fmla="*/ 81483 w 761692"/>
                    <a:gd name="connsiteY286" fmla="*/ 251536 h 1016771"/>
                    <a:gd name="connsiteX287" fmla="*/ 86797 w 761692"/>
                    <a:gd name="connsiteY287" fmla="*/ 255079 h 1016771"/>
                    <a:gd name="connsiteX288" fmla="*/ 104511 w 761692"/>
                    <a:gd name="connsiteY288" fmla="*/ 262164 h 1016771"/>
                    <a:gd name="connsiteX289" fmla="*/ 116911 w 761692"/>
                    <a:gd name="connsiteY289" fmla="*/ 265707 h 1016771"/>
                    <a:gd name="connsiteX290" fmla="*/ 132853 w 761692"/>
                    <a:gd name="connsiteY290" fmla="*/ 269250 h 1016771"/>
                    <a:gd name="connsiteX291" fmla="*/ 138167 w 761692"/>
                    <a:gd name="connsiteY291" fmla="*/ 265707 h 1016771"/>
                    <a:gd name="connsiteX292" fmla="*/ 150567 w 761692"/>
                    <a:gd name="connsiteY292" fmla="*/ 255079 h 1016771"/>
                    <a:gd name="connsiteX293" fmla="*/ 166509 w 761692"/>
                    <a:gd name="connsiteY293" fmla="*/ 255079 h 1016771"/>
                    <a:gd name="connsiteX294" fmla="*/ 166509 w 761692"/>
                    <a:gd name="connsiteY294" fmla="*/ 265707 h 1016771"/>
                    <a:gd name="connsiteX295" fmla="*/ 177138 w 761692"/>
                    <a:gd name="connsiteY295" fmla="*/ 272792 h 1016771"/>
                    <a:gd name="connsiteX296" fmla="*/ 194851 w 761692"/>
                    <a:gd name="connsiteY296" fmla="*/ 276335 h 1016771"/>
                    <a:gd name="connsiteX297" fmla="*/ 209022 w 761692"/>
                    <a:gd name="connsiteY297" fmla="*/ 279878 h 1016771"/>
                    <a:gd name="connsiteX298" fmla="*/ 221422 w 761692"/>
                    <a:gd name="connsiteY298" fmla="*/ 276335 h 1016771"/>
                    <a:gd name="connsiteX299" fmla="*/ 226736 w 761692"/>
                    <a:gd name="connsiteY299" fmla="*/ 269250 h 1016771"/>
                    <a:gd name="connsiteX300" fmla="*/ 226736 w 761692"/>
                    <a:gd name="connsiteY300" fmla="*/ 251536 h 1016771"/>
                    <a:gd name="connsiteX301" fmla="*/ 224965 w 761692"/>
                    <a:gd name="connsiteY301" fmla="*/ 239136 h 1016771"/>
                    <a:gd name="connsiteX302" fmla="*/ 214337 w 761692"/>
                    <a:gd name="connsiteY302" fmla="*/ 230279 h 1016771"/>
                    <a:gd name="connsiteX303" fmla="*/ 210794 w 761692"/>
                    <a:gd name="connsiteY303" fmla="*/ 217880 h 1016771"/>
                    <a:gd name="connsiteX304" fmla="*/ 221422 w 761692"/>
                    <a:gd name="connsiteY304" fmla="*/ 207251 h 1016771"/>
                    <a:gd name="connsiteX305" fmla="*/ 235593 w 761692"/>
                    <a:gd name="connsiteY305" fmla="*/ 214337 h 1016771"/>
                    <a:gd name="connsiteX306" fmla="*/ 246221 w 761692"/>
                    <a:gd name="connsiteY306" fmla="*/ 219651 h 1016771"/>
                    <a:gd name="connsiteX307" fmla="*/ 253307 w 761692"/>
                    <a:gd name="connsiteY307" fmla="*/ 221422 h 1016771"/>
                    <a:gd name="connsiteX308" fmla="*/ 262164 w 761692"/>
                    <a:gd name="connsiteY308" fmla="*/ 210794 h 1016771"/>
                    <a:gd name="connsiteX309" fmla="*/ 263935 w 761692"/>
                    <a:gd name="connsiteY309" fmla="*/ 201937 h 1016771"/>
                    <a:gd name="connsiteX310" fmla="*/ 274563 w 761692"/>
                    <a:gd name="connsiteY310" fmla="*/ 189538 h 1016771"/>
                    <a:gd name="connsiteX311" fmla="*/ 283420 w 761692"/>
                    <a:gd name="connsiteY311" fmla="*/ 178909 h 1016771"/>
                    <a:gd name="connsiteX312" fmla="*/ 286963 w 761692"/>
                    <a:gd name="connsiteY312" fmla="*/ 173595 h 1016771"/>
                    <a:gd name="connsiteX313" fmla="*/ 311762 w 761692"/>
                    <a:gd name="connsiteY313" fmla="*/ 168281 h 1016771"/>
                    <a:gd name="connsiteX314" fmla="*/ 325933 w 761692"/>
                    <a:gd name="connsiteY314" fmla="*/ 164738 h 1016771"/>
                    <a:gd name="connsiteX315" fmla="*/ 336562 w 761692"/>
                    <a:gd name="connsiteY315" fmla="*/ 159424 h 1016771"/>
                    <a:gd name="connsiteX316" fmla="*/ 348961 w 761692"/>
                    <a:gd name="connsiteY316" fmla="*/ 145253 h 1016771"/>
                    <a:gd name="connsiteX317" fmla="*/ 359589 w 761692"/>
                    <a:gd name="connsiteY317" fmla="*/ 143482 h 1016771"/>
                    <a:gd name="connsiteX318" fmla="*/ 371989 w 761692"/>
                    <a:gd name="connsiteY318" fmla="*/ 143482 h 1016771"/>
                    <a:gd name="connsiteX319" fmla="*/ 391474 w 761692"/>
                    <a:gd name="connsiteY319" fmla="*/ 143482 h 1016771"/>
                    <a:gd name="connsiteX320" fmla="*/ 396788 w 761692"/>
                    <a:gd name="connsiteY320" fmla="*/ 141710 h 1016771"/>
                    <a:gd name="connsiteX321" fmla="*/ 403874 w 761692"/>
                    <a:gd name="connsiteY321" fmla="*/ 134625 h 1016771"/>
                    <a:gd name="connsiteX322" fmla="*/ 409188 w 761692"/>
                    <a:gd name="connsiteY322" fmla="*/ 129311 h 1016771"/>
                    <a:gd name="connsiteX323" fmla="*/ 409188 w 761692"/>
                    <a:gd name="connsiteY323" fmla="*/ 123997 h 1016771"/>
                    <a:gd name="connsiteX324" fmla="*/ 414502 w 761692"/>
                    <a:gd name="connsiteY324" fmla="*/ 115140 h 1016771"/>
                    <a:gd name="connsiteX325" fmla="*/ 428673 w 761692"/>
                    <a:gd name="connsiteY325" fmla="*/ 115140 h 1016771"/>
                    <a:gd name="connsiteX326" fmla="*/ 432216 w 761692"/>
                    <a:gd name="connsiteY326" fmla="*/ 109826 h 1016771"/>
                    <a:gd name="connsiteX327" fmla="*/ 437530 w 761692"/>
                    <a:gd name="connsiteY327" fmla="*/ 100969 h 1016771"/>
                    <a:gd name="connsiteX328" fmla="*/ 448158 w 761692"/>
                    <a:gd name="connsiteY328" fmla="*/ 99197 h 1016771"/>
                    <a:gd name="connsiteX329" fmla="*/ 460558 w 761692"/>
                    <a:gd name="connsiteY329" fmla="*/ 97426 h 1016771"/>
                    <a:gd name="connsiteX330" fmla="*/ 472958 w 761692"/>
                    <a:gd name="connsiteY330" fmla="*/ 93883 h 1016771"/>
                    <a:gd name="connsiteX331" fmla="*/ 492443 w 761692"/>
                    <a:gd name="connsiteY331" fmla="*/ 93883 h 1016771"/>
                    <a:gd name="connsiteX332" fmla="*/ 501300 w 761692"/>
                    <a:gd name="connsiteY332" fmla="*/ 83255 h 1016771"/>
                    <a:gd name="connsiteX333" fmla="*/ 517242 w 761692"/>
                    <a:gd name="connsiteY333" fmla="*/ 81484 h 1016771"/>
                    <a:gd name="connsiteX334" fmla="*/ 522556 w 761692"/>
                    <a:gd name="connsiteY334" fmla="*/ 81484 h 1016771"/>
                    <a:gd name="connsiteX335" fmla="*/ 522556 w 761692"/>
                    <a:gd name="connsiteY335" fmla="*/ 60227 h 1016771"/>
                    <a:gd name="connsiteX336" fmla="*/ 526099 w 761692"/>
                    <a:gd name="connsiteY336" fmla="*/ 54913 h 1016771"/>
                    <a:gd name="connsiteX337" fmla="*/ 529642 w 761692"/>
                    <a:gd name="connsiteY337" fmla="*/ 46056 h 1016771"/>
                    <a:gd name="connsiteX338" fmla="*/ 538499 w 761692"/>
                    <a:gd name="connsiteY338" fmla="*/ 40742 h 1016771"/>
                    <a:gd name="connsiteX339" fmla="*/ 540270 w 761692"/>
                    <a:gd name="connsiteY339" fmla="*/ 30114 h 1016771"/>
                    <a:gd name="connsiteX340" fmla="*/ 536727 w 761692"/>
                    <a:gd name="connsiteY340" fmla="*/ 19485 h 1016771"/>
                    <a:gd name="connsiteX341" fmla="*/ 543813 w 761692"/>
                    <a:gd name="connsiteY341" fmla="*/ 5314 h 1016771"/>
                    <a:gd name="connsiteX342" fmla="*/ 554441 w 761692"/>
                    <a:gd name="connsiteY342" fmla="*/ 0 h 1016771"/>
                    <a:gd name="connsiteX0" fmla="*/ 293920 w 761692"/>
                    <a:gd name="connsiteY0" fmla="*/ 899918 h 1016771"/>
                    <a:gd name="connsiteX1" fmla="*/ 307483 w 761692"/>
                    <a:gd name="connsiteY1" fmla="*/ 901613 h 1016771"/>
                    <a:gd name="connsiteX2" fmla="*/ 311729 w 761692"/>
                    <a:gd name="connsiteY2" fmla="*/ 903178 h 1016771"/>
                    <a:gd name="connsiteX3" fmla="*/ 299363 w 761692"/>
                    <a:gd name="connsiteY3" fmla="*/ 901632 h 1016771"/>
                    <a:gd name="connsiteX4" fmla="*/ 288734 w 761692"/>
                    <a:gd name="connsiteY4" fmla="*/ 903403 h 1016771"/>
                    <a:gd name="connsiteX5" fmla="*/ 286963 w 761692"/>
                    <a:gd name="connsiteY5" fmla="*/ 910489 h 1016771"/>
                    <a:gd name="connsiteX6" fmla="*/ 283420 w 761692"/>
                    <a:gd name="connsiteY6" fmla="*/ 915803 h 1016771"/>
                    <a:gd name="connsiteX7" fmla="*/ 271021 w 761692"/>
                    <a:gd name="connsiteY7" fmla="*/ 912260 h 1016771"/>
                    <a:gd name="connsiteX8" fmla="*/ 270666 w 761692"/>
                    <a:gd name="connsiteY8" fmla="*/ 911196 h 1016771"/>
                    <a:gd name="connsiteX9" fmla="*/ 278662 w 761692"/>
                    <a:gd name="connsiteY9" fmla="*/ 913481 h 1016771"/>
                    <a:gd name="connsiteX10" fmla="*/ 283748 w 761692"/>
                    <a:gd name="connsiteY10" fmla="*/ 901613 h 1016771"/>
                    <a:gd name="connsiteX11" fmla="*/ 293920 w 761692"/>
                    <a:gd name="connsiteY11" fmla="*/ 899918 h 1016771"/>
                    <a:gd name="connsiteX12" fmla="*/ 222919 w 761692"/>
                    <a:gd name="connsiteY12" fmla="*/ 879608 h 1016771"/>
                    <a:gd name="connsiteX13" fmla="*/ 243060 w 761692"/>
                    <a:gd name="connsiteY13" fmla="*/ 882965 h 1016771"/>
                    <a:gd name="connsiteX14" fmla="*/ 243990 w 761692"/>
                    <a:gd name="connsiteY14" fmla="*/ 883546 h 1016771"/>
                    <a:gd name="connsiteX15" fmla="*/ 224965 w 761692"/>
                    <a:gd name="connsiteY15" fmla="*/ 880375 h 1016771"/>
                    <a:gd name="connsiteX16" fmla="*/ 222919 w 761692"/>
                    <a:gd name="connsiteY16" fmla="*/ 879608 h 1016771"/>
                    <a:gd name="connsiteX17" fmla="*/ 159250 w 761692"/>
                    <a:gd name="connsiteY17" fmla="*/ 829179 h 1016771"/>
                    <a:gd name="connsiteX18" fmla="*/ 159989 w 761692"/>
                    <a:gd name="connsiteY18" fmla="*/ 830410 h 1016771"/>
                    <a:gd name="connsiteX19" fmla="*/ 151512 w 761692"/>
                    <a:gd name="connsiteY19" fmla="*/ 838886 h 1016771"/>
                    <a:gd name="connsiteX20" fmla="*/ 149817 w 761692"/>
                    <a:gd name="connsiteY20" fmla="*/ 840582 h 1016771"/>
                    <a:gd name="connsiteX21" fmla="*/ 148122 w 761692"/>
                    <a:gd name="connsiteY21" fmla="*/ 842277 h 1016771"/>
                    <a:gd name="connsiteX22" fmla="*/ 146426 w 761692"/>
                    <a:gd name="connsiteY22" fmla="*/ 843972 h 1016771"/>
                    <a:gd name="connsiteX23" fmla="*/ 141340 w 761692"/>
                    <a:gd name="connsiteY23" fmla="*/ 849058 h 1016771"/>
                    <a:gd name="connsiteX24" fmla="*/ 141340 w 761692"/>
                    <a:gd name="connsiteY24" fmla="*/ 850754 h 1016771"/>
                    <a:gd name="connsiteX25" fmla="*/ 139645 w 761692"/>
                    <a:gd name="connsiteY25" fmla="*/ 852449 h 1016771"/>
                    <a:gd name="connsiteX26" fmla="*/ 139645 w 761692"/>
                    <a:gd name="connsiteY26" fmla="*/ 860925 h 1016771"/>
                    <a:gd name="connsiteX27" fmla="*/ 148122 w 761692"/>
                    <a:gd name="connsiteY27" fmla="*/ 867707 h 1016771"/>
                    <a:gd name="connsiteX28" fmla="*/ 158294 w 761692"/>
                    <a:gd name="connsiteY28" fmla="*/ 879574 h 1016771"/>
                    <a:gd name="connsiteX29" fmla="*/ 175247 w 761692"/>
                    <a:gd name="connsiteY29" fmla="*/ 889746 h 1016771"/>
                    <a:gd name="connsiteX30" fmla="*/ 188810 w 761692"/>
                    <a:gd name="connsiteY30" fmla="*/ 893137 h 1016771"/>
                    <a:gd name="connsiteX31" fmla="*/ 195591 w 761692"/>
                    <a:gd name="connsiteY31" fmla="*/ 893137 h 1016771"/>
                    <a:gd name="connsiteX32" fmla="*/ 202372 w 761692"/>
                    <a:gd name="connsiteY32" fmla="*/ 886355 h 1016771"/>
                    <a:gd name="connsiteX33" fmla="*/ 200677 w 761692"/>
                    <a:gd name="connsiteY33" fmla="*/ 877879 h 1016771"/>
                    <a:gd name="connsiteX34" fmla="*/ 209154 w 761692"/>
                    <a:gd name="connsiteY34" fmla="*/ 874488 h 1016771"/>
                    <a:gd name="connsiteX35" fmla="*/ 210740 w 761692"/>
                    <a:gd name="connsiteY35" fmla="*/ 875083 h 1016771"/>
                    <a:gd name="connsiteX36" fmla="*/ 201937 w 761692"/>
                    <a:gd name="connsiteY36" fmla="*/ 878604 h 1016771"/>
                    <a:gd name="connsiteX37" fmla="*/ 203708 w 761692"/>
                    <a:gd name="connsiteY37" fmla="*/ 887461 h 1016771"/>
                    <a:gd name="connsiteX38" fmla="*/ 196623 w 761692"/>
                    <a:gd name="connsiteY38" fmla="*/ 894546 h 1016771"/>
                    <a:gd name="connsiteX39" fmla="*/ 189537 w 761692"/>
                    <a:gd name="connsiteY39" fmla="*/ 894546 h 1016771"/>
                    <a:gd name="connsiteX40" fmla="*/ 175366 w 761692"/>
                    <a:gd name="connsiteY40" fmla="*/ 891003 h 1016771"/>
                    <a:gd name="connsiteX41" fmla="*/ 157653 w 761692"/>
                    <a:gd name="connsiteY41" fmla="*/ 880375 h 1016771"/>
                    <a:gd name="connsiteX42" fmla="*/ 147024 w 761692"/>
                    <a:gd name="connsiteY42" fmla="*/ 867975 h 1016771"/>
                    <a:gd name="connsiteX43" fmla="*/ 138167 w 761692"/>
                    <a:gd name="connsiteY43" fmla="*/ 860890 h 1016771"/>
                    <a:gd name="connsiteX44" fmla="*/ 138167 w 761692"/>
                    <a:gd name="connsiteY44" fmla="*/ 852033 h 1016771"/>
                    <a:gd name="connsiteX45" fmla="*/ 139939 w 761692"/>
                    <a:gd name="connsiteY45" fmla="*/ 850262 h 1016771"/>
                    <a:gd name="connsiteX46" fmla="*/ 139939 w 761692"/>
                    <a:gd name="connsiteY46" fmla="*/ 848490 h 1016771"/>
                    <a:gd name="connsiteX47" fmla="*/ 145253 w 761692"/>
                    <a:gd name="connsiteY47" fmla="*/ 843176 h 1016771"/>
                    <a:gd name="connsiteX48" fmla="*/ 147024 w 761692"/>
                    <a:gd name="connsiteY48" fmla="*/ 841405 h 1016771"/>
                    <a:gd name="connsiteX49" fmla="*/ 148796 w 761692"/>
                    <a:gd name="connsiteY49" fmla="*/ 839633 h 1016771"/>
                    <a:gd name="connsiteX50" fmla="*/ 150567 w 761692"/>
                    <a:gd name="connsiteY50" fmla="*/ 837862 h 1016771"/>
                    <a:gd name="connsiteX51" fmla="*/ 159250 w 761692"/>
                    <a:gd name="connsiteY51" fmla="*/ 829179 h 1016771"/>
                    <a:gd name="connsiteX52" fmla="*/ 116476 w 761692"/>
                    <a:gd name="connsiteY52" fmla="*/ 741349 h 1016771"/>
                    <a:gd name="connsiteX53" fmla="*/ 117606 w 761692"/>
                    <a:gd name="connsiteY53" fmla="*/ 742253 h 1016771"/>
                    <a:gd name="connsiteX54" fmla="*/ 122692 w 761692"/>
                    <a:gd name="connsiteY54" fmla="*/ 759206 h 1016771"/>
                    <a:gd name="connsiteX55" fmla="*/ 126082 w 761692"/>
                    <a:gd name="connsiteY55" fmla="*/ 771073 h 1016771"/>
                    <a:gd name="connsiteX56" fmla="*/ 129473 w 761692"/>
                    <a:gd name="connsiteY56" fmla="*/ 782940 h 1016771"/>
                    <a:gd name="connsiteX57" fmla="*/ 132864 w 761692"/>
                    <a:gd name="connsiteY57" fmla="*/ 793112 h 1016771"/>
                    <a:gd name="connsiteX58" fmla="*/ 136254 w 761692"/>
                    <a:gd name="connsiteY58" fmla="*/ 810066 h 1016771"/>
                    <a:gd name="connsiteX59" fmla="*/ 139058 w 761692"/>
                    <a:gd name="connsiteY59" fmla="*/ 818476 h 1016771"/>
                    <a:gd name="connsiteX60" fmla="*/ 138167 w 761692"/>
                    <a:gd name="connsiteY60" fmla="*/ 818377 h 1016771"/>
                    <a:gd name="connsiteX61" fmla="*/ 134625 w 761692"/>
                    <a:gd name="connsiteY61" fmla="*/ 807749 h 1016771"/>
                    <a:gd name="connsiteX62" fmla="*/ 131082 w 761692"/>
                    <a:gd name="connsiteY62" fmla="*/ 790035 h 1016771"/>
                    <a:gd name="connsiteX63" fmla="*/ 127539 w 761692"/>
                    <a:gd name="connsiteY63" fmla="*/ 779407 h 1016771"/>
                    <a:gd name="connsiteX64" fmla="*/ 123996 w 761692"/>
                    <a:gd name="connsiteY64" fmla="*/ 767007 h 1016771"/>
                    <a:gd name="connsiteX65" fmla="*/ 120454 w 761692"/>
                    <a:gd name="connsiteY65" fmla="*/ 754607 h 1016771"/>
                    <a:gd name="connsiteX66" fmla="*/ 116476 w 761692"/>
                    <a:gd name="connsiteY66" fmla="*/ 741349 h 1016771"/>
                    <a:gd name="connsiteX67" fmla="*/ 554441 w 761692"/>
                    <a:gd name="connsiteY67" fmla="*/ 0 h 1016771"/>
                    <a:gd name="connsiteX68" fmla="*/ 570383 w 761692"/>
                    <a:gd name="connsiteY68" fmla="*/ 3543 h 1016771"/>
                    <a:gd name="connsiteX69" fmla="*/ 577469 w 761692"/>
                    <a:gd name="connsiteY69" fmla="*/ 8857 h 1016771"/>
                    <a:gd name="connsiteX70" fmla="*/ 582783 w 761692"/>
                    <a:gd name="connsiteY70" fmla="*/ 17714 h 1016771"/>
                    <a:gd name="connsiteX71" fmla="*/ 582783 w 761692"/>
                    <a:gd name="connsiteY71" fmla="*/ 24799 h 1016771"/>
                    <a:gd name="connsiteX72" fmla="*/ 588097 w 761692"/>
                    <a:gd name="connsiteY72" fmla="*/ 33656 h 1016771"/>
                    <a:gd name="connsiteX73" fmla="*/ 598725 w 761692"/>
                    <a:gd name="connsiteY73" fmla="*/ 31885 h 1016771"/>
                    <a:gd name="connsiteX74" fmla="*/ 612896 w 761692"/>
                    <a:gd name="connsiteY74" fmla="*/ 37199 h 1016771"/>
                    <a:gd name="connsiteX75" fmla="*/ 618211 w 761692"/>
                    <a:gd name="connsiteY75" fmla="*/ 46056 h 1016771"/>
                    <a:gd name="connsiteX76" fmla="*/ 619982 w 761692"/>
                    <a:gd name="connsiteY76" fmla="*/ 54913 h 1016771"/>
                    <a:gd name="connsiteX77" fmla="*/ 618211 w 761692"/>
                    <a:gd name="connsiteY77" fmla="*/ 74398 h 1016771"/>
                    <a:gd name="connsiteX78" fmla="*/ 616439 w 761692"/>
                    <a:gd name="connsiteY78" fmla="*/ 85026 h 1016771"/>
                    <a:gd name="connsiteX79" fmla="*/ 621753 w 761692"/>
                    <a:gd name="connsiteY79" fmla="*/ 97426 h 1016771"/>
                    <a:gd name="connsiteX80" fmla="*/ 637696 w 761692"/>
                    <a:gd name="connsiteY80" fmla="*/ 113368 h 1016771"/>
                    <a:gd name="connsiteX81" fmla="*/ 644781 w 761692"/>
                    <a:gd name="connsiteY81" fmla="*/ 120454 h 1016771"/>
                    <a:gd name="connsiteX82" fmla="*/ 650095 w 761692"/>
                    <a:gd name="connsiteY82" fmla="*/ 136396 h 1016771"/>
                    <a:gd name="connsiteX83" fmla="*/ 655409 w 761692"/>
                    <a:gd name="connsiteY83" fmla="*/ 155881 h 1016771"/>
                    <a:gd name="connsiteX84" fmla="*/ 662495 w 761692"/>
                    <a:gd name="connsiteY84" fmla="*/ 171824 h 1016771"/>
                    <a:gd name="connsiteX85" fmla="*/ 660724 w 761692"/>
                    <a:gd name="connsiteY85" fmla="*/ 185995 h 1016771"/>
                    <a:gd name="connsiteX86" fmla="*/ 635924 w 761692"/>
                    <a:gd name="connsiteY86" fmla="*/ 194852 h 1016771"/>
                    <a:gd name="connsiteX87" fmla="*/ 619982 w 761692"/>
                    <a:gd name="connsiteY87" fmla="*/ 207251 h 1016771"/>
                    <a:gd name="connsiteX88" fmla="*/ 614668 w 761692"/>
                    <a:gd name="connsiteY88" fmla="*/ 223194 h 1016771"/>
                    <a:gd name="connsiteX89" fmla="*/ 618211 w 761692"/>
                    <a:gd name="connsiteY89" fmla="*/ 242679 h 1016771"/>
                    <a:gd name="connsiteX90" fmla="*/ 612896 w 761692"/>
                    <a:gd name="connsiteY90" fmla="*/ 256850 h 1016771"/>
                    <a:gd name="connsiteX91" fmla="*/ 625296 w 761692"/>
                    <a:gd name="connsiteY91" fmla="*/ 267478 h 1016771"/>
                    <a:gd name="connsiteX92" fmla="*/ 641238 w 761692"/>
                    <a:gd name="connsiteY92" fmla="*/ 269250 h 1016771"/>
                    <a:gd name="connsiteX93" fmla="*/ 658952 w 761692"/>
                    <a:gd name="connsiteY93" fmla="*/ 286963 h 1016771"/>
                    <a:gd name="connsiteX94" fmla="*/ 653638 w 761692"/>
                    <a:gd name="connsiteY94" fmla="*/ 309991 h 1016771"/>
                    <a:gd name="connsiteX95" fmla="*/ 653638 w 761692"/>
                    <a:gd name="connsiteY95" fmla="*/ 329476 h 1016771"/>
                    <a:gd name="connsiteX96" fmla="*/ 643010 w 761692"/>
                    <a:gd name="connsiteY96" fmla="*/ 338333 h 1016771"/>
                    <a:gd name="connsiteX97" fmla="*/ 632382 w 761692"/>
                    <a:gd name="connsiteY97" fmla="*/ 338333 h 1016771"/>
                    <a:gd name="connsiteX98" fmla="*/ 618211 w 761692"/>
                    <a:gd name="connsiteY98" fmla="*/ 357819 h 1016771"/>
                    <a:gd name="connsiteX99" fmla="*/ 609354 w 761692"/>
                    <a:gd name="connsiteY99" fmla="*/ 361361 h 1016771"/>
                    <a:gd name="connsiteX100" fmla="*/ 596954 w 761692"/>
                    <a:gd name="connsiteY100" fmla="*/ 363133 h 1016771"/>
                    <a:gd name="connsiteX101" fmla="*/ 581012 w 761692"/>
                    <a:gd name="connsiteY101" fmla="*/ 379075 h 1016771"/>
                    <a:gd name="connsiteX102" fmla="*/ 589868 w 761692"/>
                    <a:gd name="connsiteY102" fmla="*/ 393246 h 1016771"/>
                    <a:gd name="connsiteX103" fmla="*/ 586326 w 761692"/>
                    <a:gd name="connsiteY103" fmla="*/ 409189 h 1016771"/>
                    <a:gd name="connsiteX104" fmla="*/ 570383 w 761692"/>
                    <a:gd name="connsiteY104" fmla="*/ 398560 h 1016771"/>
                    <a:gd name="connsiteX105" fmla="*/ 550898 w 761692"/>
                    <a:gd name="connsiteY105" fmla="*/ 405646 h 1016771"/>
                    <a:gd name="connsiteX106" fmla="*/ 531413 w 761692"/>
                    <a:gd name="connsiteY106" fmla="*/ 425131 h 1016771"/>
                    <a:gd name="connsiteX107" fmla="*/ 543813 w 761692"/>
                    <a:gd name="connsiteY107" fmla="*/ 444616 h 1016771"/>
                    <a:gd name="connsiteX108" fmla="*/ 557984 w 761692"/>
                    <a:gd name="connsiteY108" fmla="*/ 462330 h 1016771"/>
                    <a:gd name="connsiteX109" fmla="*/ 570383 w 761692"/>
                    <a:gd name="connsiteY109" fmla="*/ 478272 h 1016771"/>
                    <a:gd name="connsiteX110" fmla="*/ 579240 w 761692"/>
                    <a:gd name="connsiteY110" fmla="*/ 485358 h 1016771"/>
                    <a:gd name="connsiteX111" fmla="*/ 602268 w 761692"/>
                    <a:gd name="connsiteY111" fmla="*/ 483586 h 1016771"/>
                    <a:gd name="connsiteX112" fmla="*/ 623525 w 761692"/>
                    <a:gd name="connsiteY112" fmla="*/ 474730 h 1016771"/>
                    <a:gd name="connsiteX113" fmla="*/ 639467 w 761692"/>
                    <a:gd name="connsiteY113" fmla="*/ 464101 h 1016771"/>
                    <a:gd name="connsiteX114" fmla="*/ 662495 w 761692"/>
                    <a:gd name="connsiteY114" fmla="*/ 464101 h 1016771"/>
                    <a:gd name="connsiteX115" fmla="*/ 673123 w 761692"/>
                    <a:gd name="connsiteY115" fmla="*/ 464101 h 1016771"/>
                    <a:gd name="connsiteX116" fmla="*/ 681980 w 761692"/>
                    <a:gd name="connsiteY116" fmla="*/ 467644 h 1016771"/>
                    <a:gd name="connsiteX117" fmla="*/ 703237 w 761692"/>
                    <a:gd name="connsiteY117" fmla="*/ 471187 h 1016771"/>
                    <a:gd name="connsiteX118" fmla="*/ 708551 w 761692"/>
                    <a:gd name="connsiteY118" fmla="*/ 474730 h 1016771"/>
                    <a:gd name="connsiteX119" fmla="*/ 722722 w 761692"/>
                    <a:gd name="connsiteY119" fmla="*/ 501300 h 1016771"/>
                    <a:gd name="connsiteX120" fmla="*/ 724493 w 761692"/>
                    <a:gd name="connsiteY120" fmla="*/ 522557 h 1016771"/>
                    <a:gd name="connsiteX121" fmla="*/ 722722 w 761692"/>
                    <a:gd name="connsiteY121" fmla="*/ 540271 h 1016771"/>
                    <a:gd name="connsiteX122" fmla="*/ 735121 w 761692"/>
                    <a:gd name="connsiteY122" fmla="*/ 552670 h 1016771"/>
                    <a:gd name="connsiteX123" fmla="*/ 735121 w 761692"/>
                    <a:gd name="connsiteY123" fmla="*/ 570384 h 1016771"/>
                    <a:gd name="connsiteX124" fmla="*/ 751064 w 761692"/>
                    <a:gd name="connsiteY124" fmla="*/ 581012 h 1016771"/>
                    <a:gd name="connsiteX125" fmla="*/ 761692 w 761692"/>
                    <a:gd name="connsiteY125" fmla="*/ 604040 h 1016771"/>
                    <a:gd name="connsiteX126" fmla="*/ 747521 w 761692"/>
                    <a:gd name="connsiteY126" fmla="*/ 616440 h 1016771"/>
                    <a:gd name="connsiteX127" fmla="*/ 728036 w 761692"/>
                    <a:gd name="connsiteY127" fmla="*/ 627068 h 1016771"/>
                    <a:gd name="connsiteX128" fmla="*/ 726264 w 761692"/>
                    <a:gd name="connsiteY128" fmla="*/ 650096 h 1016771"/>
                    <a:gd name="connsiteX129" fmla="*/ 728036 w 761692"/>
                    <a:gd name="connsiteY129" fmla="*/ 673124 h 1016771"/>
                    <a:gd name="connsiteX130" fmla="*/ 742207 w 761692"/>
                    <a:gd name="connsiteY130" fmla="*/ 689066 h 1016771"/>
                    <a:gd name="connsiteX131" fmla="*/ 742207 w 761692"/>
                    <a:gd name="connsiteY131" fmla="*/ 712094 h 1016771"/>
                    <a:gd name="connsiteX132" fmla="*/ 740435 w 761692"/>
                    <a:gd name="connsiteY132" fmla="*/ 735122 h 1016771"/>
                    <a:gd name="connsiteX133" fmla="*/ 742207 w 761692"/>
                    <a:gd name="connsiteY133" fmla="*/ 751065 h 1016771"/>
                    <a:gd name="connsiteX134" fmla="*/ 747521 w 761692"/>
                    <a:gd name="connsiteY134" fmla="*/ 768778 h 1016771"/>
                    <a:gd name="connsiteX135" fmla="*/ 759921 w 761692"/>
                    <a:gd name="connsiteY135" fmla="*/ 777635 h 1016771"/>
                    <a:gd name="connsiteX136" fmla="*/ 758149 w 761692"/>
                    <a:gd name="connsiteY136" fmla="*/ 802434 h 1016771"/>
                    <a:gd name="connsiteX137" fmla="*/ 752835 w 761692"/>
                    <a:gd name="connsiteY137" fmla="*/ 814834 h 1016771"/>
                    <a:gd name="connsiteX138" fmla="*/ 743978 w 761692"/>
                    <a:gd name="connsiteY138" fmla="*/ 827234 h 1016771"/>
                    <a:gd name="connsiteX139" fmla="*/ 743978 w 761692"/>
                    <a:gd name="connsiteY139" fmla="*/ 837862 h 1016771"/>
                    <a:gd name="connsiteX140" fmla="*/ 747521 w 761692"/>
                    <a:gd name="connsiteY140" fmla="*/ 853804 h 1016771"/>
                    <a:gd name="connsiteX141" fmla="*/ 733350 w 761692"/>
                    <a:gd name="connsiteY141" fmla="*/ 867975 h 1016771"/>
                    <a:gd name="connsiteX142" fmla="*/ 724493 w 761692"/>
                    <a:gd name="connsiteY142" fmla="*/ 880375 h 1016771"/>
                    <a:gd name="connsiteX143" fmla="*/ 722722 w 761692"/>
                    <a:gd name="connsiteY143" fmla="*/ 899860 h 1016771"/>
                    <a:gd name="connsiteX144" fmla="*/ 722722 w 761692"/>
                    <a:gd name="connsiteY144" fmla="*/ 919345 h 1016771"/>
                    <a:gd name="connsiteX145" fmla="*/ 715636 w 761692"/>
                    <a:gd name="connsiteY145" fmla="*/ 940602 h 1016771"/>
                    <a:gd name="connsiteX146" fmla="*/ 708551 w 761692"/>
                    <a:gd name="connsiteY146" fmla="*/ 954773 h 1016771"/>
                    <a:gd name="connsiteX147" fmla="*/ 699694 w 761692"/>
                    <a:gd name="connsiteY147" fmla="*/ 965401 h 1016771"/>
                    <a:gd name="connsiteX148" fmla="*/ 692608 w 761692"/>
                    <a:gd name="connsiteY148" fmla="*/ 984886 h 1016771"/>
                    <a:gd name="connsiteX149" fmla="*/ 683751 w 761692"/>
                    <a:gd name="connsiteY149" fmla="*/ 997286 h 1016771"/>
                    <a:gd name="connsiteX150" fmla="*/ 673123 w 761692"/>
                    <a:gd name="connsiteY150" fmla="*/ 1002600 h 1016771"/>
                    <a:gd name="connsiteX151" fmla="*/ 662495 w 761692"/>
                    <a:gd name="connsiteY151" fmla="*/ 1013228 h 1016771"/>
                    <a:gd name="connsiteX152" fmla="*/ 644781 w 761692"/>
                    <a:gd name="connsiteY152" fmla="*/ 1016771 h 1016771"/>
                    <a:gd name="connsiteX153" fmla="*/ 635924 w 761692"/>
                    <a:gd name="connsiteY153" fmla="*/ 1004372 h 1016771"/>
                    <a:gd name="connsiteX154" fmla="*/ 623525 w 761692"/>
                    <a:gd name="connsiteY154" fmla="*/ 997286 h 1016771"/>
                    <a:gd name="connsiteX155" fmla="*/ 614668 w 761692"/>
                    <a:gd name="connsiteY155" fmla="*/ 986658 h 1016771"/>
                    <a:gd name="connsiteX156" fmla="*/ 593411 w 761692"/>
                    <a:gd name="connsiteY156" fmla="*/ 970715 h 1016771"/>
                    <a:gd name="connsiteX157" fmla="*/ 582783 w 761692"/>
                    <a:gd name="connsiteY157" fmla="*/ 965401 h 1016771"/>
                    <a:gd name="connsiteX158" fmla="*/ 531413 w 761692"/>
                    <a:gd name="connsiteY158" fmla="*/ 965401 h 1016771"/>
                    <a:gd name="connsiteX159" fmla="*/ 511928 w 761692"/>
                    <a:gd name="connsiteY159" fmla="*/ 965401 h 1016771"/>
                    <a:gd name="connsiteX160" fmla="*/ 492443 w 761692"/>
                    <a:gd name="connsiteY160" fmla="*/ 963630 h 1016771"/>
                    <a:gd name="connsiteX161" fmla="*/ 483586 w 761692"/>
                    <a:gd name="connsiteY161" fmla="*/ 958316 h 1016771"/>
                    <a:gd name="connsiteX162" fmla="*/ 469415 w 761692"/>
                    <a:gd name="connsiteY162" fmla="*/ 954773 h 1016771"/>
                    <a:gd name="connsiteX163" fmla="*/ 460558 w 761692"/>
                    <a:gd name="connsiteY163" fmla="*/ 942373 h 1016771"/>
                    <a:gd name="connsiteX164" fmla="*/ 446387 w 761692"/>
                    <a:gd name="connsiteY164" fmla="*/ 935288 h 1016771"/>
                    <a:gd name="connsiteX165" fmla="*/ 428673 w 761692"/>
                    <a:gd name="connsiteY165" fmla="*/ 928202 h 1016771"/>
                    <a:gd name="connsiteX166" fmla="*/ 418045 w 761692"/>
                    <a:gd name="connsiteY166" fmla="*/ 917574 h 1016771"/>
                    <a:gd name="connsiteX167" fmla="*/ 421588 w 761692"/>
                    <a:gd name="connsiteY167" fmla="*/ 903403 h 1016771"/>
                    <a:gd name="connsiteX168" fmla="*/ 418045 w 761692"/>
                    <a:gd name="connsiteY168" fmla="*/ 898089 h 1016771"/>
                    <a:gd name="connsiteX169" fmla="*/ 396788 w 761692"/>
                    <a:gd name="connsiteY169" fmla="*/ 898089 h 1016771"/>
                    <a:gd name="connsiteX170" fmla="*/ 382617 w 761692"/>
                    <a:gd name="connsiteY170" fmla="*/ 896318 h 1016771"/>
                    <a:gd name="connsiteX171" fmla="*/ 380846 w 761692"/>
                    <a:gd name="connsiteY171" fmla="*/ 906946 h 1016771"/>
                    <a:gd name="connsiteX172" fmla="*/ 373601 w 761692"/>
                    <a:gd name="connsiteY172" fmla="*/ 894832 h 1016771"/>
                    <a:gd name="connsiteX173" fmla="*/ 387164 w 761692"/>
                    <a:gd name="connsiteY173" fmla="*/ 896527 h 1016771"/>
                    <a:gd name="connsiteX174" fmla="*/ 383773 w 761692"/>
                    <a:gd name="connsiteY174" fmla="*/ 886355 h 1016771"/>
                    <a:gd name="connsiteX175" fmla="*/ 387164 w 761692"/>
                    <a:gd name="connsiteY175" fmla="*/ 876183 h 1016771"/>
                    <a:gd name="connsiteX176" fmla="*/ 388859 w 761692"/>
                    <a:gd name="connsiteY176" fmla="*/ 867707 h 1016771"/>
                    <a:gd name="connsiteX177" fmla="*/ 380382 w 761692"/>
                    <a:gd name="connsiteY177" fmla="*/ 859230 h 1016771"/>
                    <a:gd name="connsiteX178" fmla="*/ 373601 w 761692"/>
                    <a:gd name="connsiteY178" fmla="*/ 849058 h 1016771"/>
                    <a:gd name="connsiteX179" fmla="*/ 380382 w 761692"/>
                    <a:gd name="connsiteY179" fmla="*/ 838886 h 1016771"/>
                    <a:gd name="connsiteX180" fmla="*/ 383773 w 761692"/>
                    <a:gd name="connsiteY180" fmla="*/ 833800 h 1016771"/>
                    <a:gd name="connsiteX181" fmla="*/ 388859 w 761692"/>
                    <a:gd name="connsiteY181" fmla="*/ 825324 h 1016771"/>
                    <a:gd name="connsiteX182" fmla="*/ 387164 w 761692"/>
                    <a:gd name="connsiteY182" fmla="*/ 810066 h 1016771"/>
                    <a:gd name="connsiteX183" fmla="*/ 387164 w 761692"/>
                    <a:gd name="connsiteY183" fmla="*/ 796503 h 1016771"/>
                    <a:gd name="connsiteX184" fmla="*/ 378687 w 761692"/>
                    <a:gd name="connsiteY184" fmla="*/ 789722 h 1016771"/>
                    <a:gd name="connsiteX185" fmla="*/ 366820 w 761692"/>
                    <a:gd name="connsiteY185" fmla="*/ 782940 h 1016771"/>
                    <a:gd name="connsiteX186" fmla="*/ 356648 w 761692"/>
                    <a:gd name="connsiteY186" fmla="*/ 781245 h 1016771"/>
                    <a:gd name="connsiteX187" fmla="*/ 349866 w 761692"/>
                    <a:gd name="connsiteY187" fmla="*/ 771073 h 1016771"/>
                    <a:gd name="connsiteX188" fmla="*/ 349866 w 761692"/>
                    <a:gd name="connsiteY188" fmla="*/ 752425 h 1016771"/>
                    <a:gd name="connsiteX189" fmla="*/ 353257 w 761692"/>
                    <a:gd name="connsiteY189" fmla="*/ 743948 h 1016771"/>
                    <a:gd name="connsiteX190" fmla="*/ 354952 w 761692"/>
                    <a:gd name="connsiteY190" fmla="*/ 730385 h 1016771"/>
                    <a:gd name="connsiteX191" fmla="*/ 353257 w 761692"/>
                    <a:gd name="connsiteY191" fmla="*/ 713432 h 1016771"/>
                    <a:gd name="connsiteX192" fmla="*/ 346476 w 761692"/>
                    <a:gd name="connsiteY192" fmla="*/ 701565 h 1016771"/>
                    <a:gd name="connsiteX193" fmla="*/ 332913 w 761692"/>
                    <a:gd name="connsiteY193" fmla="*/ 689697 h 1016771"/>
                    <a:gd name="connsiteX194" fmla="*/ 324436 w 761692"/>
                    <a:gd name="connsiteY194" fmla="*/ 681221 h 1016771"/>
                    <a:gd name="connsiteX195" fmla="*/ 314264 w 761692"/>
                    <a:gd name="connsiteY195" fmla="*/ 676135 h 1016771"/>
                    <a:gd name="connsiteX196" fmla="*/ 293920 w 761692"/>
                    <a:gd name="connsiteY196" fmla="*/ 669354 h 1016771"/>
                    <a:gd name="connsiteX197" fmla="*/ 282053 w 761692"/>
                    <a:gd name="connsiteY197" fmla="*/ 667658 h 1016771"/>
                    <a:gd name="connsiteX198" fmla="*/ 266795 w 761692"/>
                    <a:gd name="connsiteY198" fmla="*/ 672744 h 1016771"/>
                    <a:gd name="connsiteX199" fmla="*/ 265100 w 761692"/>
                    <a:gd name="connsiteY199" fmla="*/ 672744 h 1016771"/>
                    <a:gd name="connsiteX200" fmla="*/ 263404 w 761692"/>
                    <a:gd name="connsiteY200" fmla="*/ 671049 h 1016771"/>
                    <a:gd name="connsiteX201" fmla="*/ 260014 w 761692"/>
                    <a:gd name="connsiteY201" fmla="*/ 671049 h 1016771"/>
                    <a:gd name="connsiteX202" fmla="*/ 258318 w 761692"/>
                    <a:gd name="connsiteY202" fmla="*/ 671049 h 1016771"/>
                    <a:gd name="connsiteX203" fmla="*/ 253232 w 761692"/>
                    <a:gd name="connsiteY203" fmla="*/ 671049 h 1016771"/>
                    <a:gd name="connsiteX204" fmla="*/ 248146 w 761692"/>
                    <a:gd name="connsiteY204" fmla="*/ 672744 h 1016771"/>
                    <a:gd name="connsiteX205" fmla="*/ 248146 w 761692"/>
                    <a:gd name="connsiteY205" fmla="*/ 674440 h 1016771"/>
                    <a:gd name="connsiteX206" fmla="*/ 246451 w 761692"/>
                    <a:gd name="connsiteY206" fmla="*/ 674440 h 1016771"/>
                    <a:gd name="connsiteX207" fmla="*/ 236279 w 761692"/>
                    <a:gd name="connsiteY207" fmla="*/ 679526 h 1016771"/>
                    <a:gd name="connsiteX208" fmla="*/ 226107 w 761692"/>
                    <a:gd name="connsiteY208" fmla="*/ 684612 h 1016771"/>
                    <a:gd name="connsiteX209" fmla="*/ 217630 w 761692"/>
                    <a:gd name="connsiteY209" fmla="*/ 684612 h 1016771"/>
                    <a:gd name="connsiteX210" fmla="*/ 207458 w 761692"/>
                    <a:gd name="connsiteY210" fmla="*/ 693088 h 1016771"/>
                    <a:gd name="connsiteX211" fmla="*/ 198982 w 761692"/>
                    <a:gd name="connsiteY211" fmla="*/ 694783 h 1016771"/>
                    <a:gd name="connsiteX212" fmla="*/ 192200 w 761692"/>
                    <a:gd name="connsiteY212" fmla="*/ 699869 h 1016771"/>
                    <a:gd name="connsiteX213" fmla="*/ 178638 w 761692"/>
                    <a:gd name="connsiteY213" fmla="*/ 706651 h 1016771"/>
                    <a:gd name="connsiteX214" fmla="*/ 163380 w 761692"/>
                    <a:gd name="connsiteY214" fmla="*/ 710041 h 1016771"/>
                    <a:gd name="connsiteX215" fmla="*/ 141340 w 761692"/>
                    <a:gd name="connsiteY215" fmla="*/ 710041 h 1016771"/>
                    <a:gd name="connsiteX216" fmla="*/ 134559 w 761692"/>
                    <a:gd name="connsiteY216" fmla="*/ 716823 h 1016771"/>
                    <a:gd name="connsiteX217" fmla="*/ 127778 w 761692"/>
                    <a:gd name="connsiteY217" fmla="*/ 718518 h 1016771"/>
                    <a:gd name="connsiteX218" fmla="*/ 120996 w 761692"/>
                    <a:gd name="connsiteY218" fmla="*/ 725299 h 1016771"/>
                    <a:gd name="connsiteX219" fmla="*/ 111172 w 761692"/>
                    <a:gd name="connsiteY219" fmla="*/ 733720 h 1016771"/>
                    <a:gd name="connsiteX220" fmla="*/ 106283 w 761692"/>
                    <a:gd name="connsiteY220" fmla="*/ 729808 h 1016771"/>
                    <a:gd name="connsiteX221" fmla="*/ 92112 w 761692"/>
                    <a:gd name="connsiteY221" fmla="*/ 724494 h 1016771"/>
                    <a:gd name="connsiteX222" fmla="*/ 77941 w 761692"/>
                    <a:gd name="connsiteY222" fmla="*/ 726265 h 1016771"/>
                    <a:gd name="connsiteX223" fmla="*/ 70855 w 761692"/>
                    <a:gd name="connsiteY223" fmla="*/ 719180 h 1016771"/>
                    <a:gd name="connsiteX224" fmla="*/ 70855 w 761692"/>
                    <a:gd name="connsiteY224" fmla="*/ 699695 h 1016771"/>
                    <a:gd name="connsiteX225" fmla="*/ 81483 w 761692"/>
                    <a:gd name="connsiteY225" fmla="*/ 685524 h 1016771"/>
                    <a:gd name="connsiteX226" fmla="*/ 85026 w 761692"/>
                    <a:gd name="connsiteY226" fmla="*/ 673124 h 1016771"/>
                    <a:gd name="connsiteX227" fmla="*/ 86797 w 761692"/>
                    <a:gd name="connsiteY227" fmla="*/ 660724 h 1016771"/>
                    <a:gd name="connsiteX228" fmla="*/ 97426 w 761692"/>
                    <a:gd name="connsiteY228" fmla="*/ 650096 h 1016771"/>
                    <a:gd name="connsiteX229" fmla="*/ 102740 w 761692"/>
                    <a:gd name="connsiteY229" fmla="*/ 635925 h 1016771"/>
                    <a:gd name="connsiteX230" fmla="*/ 113368 w 761692"/>
                    <a:gd name="connsiteY230" fmla="*/ 625297 h 1016771"/>
                    <a:gd name="connsiteX231" fmla="*/ 115139 w 761692"/>
                    <a:gd name="connsiteY231" fmla="*/ 612897 h 1016771"/>
                    <a:gd name="connsiteX232" fmla="*/ 127539 w 761692"/>
                    <a:gd name="connsiteY232" fmla="*/ 609354 h 1016771"/>
                    <a:gd name="connsiteX233" fmla="*/ 136396 w 761692"/>
                    <a:gd name="connsiteY233" fmla="*/ 604040 h 1016771"/>
                    <a:gd name="connsiteX234" fmla="*/ 132853 w 761692"/>
                    <a:gd name="connsiteY234" fmla="*/ 593412 h 1016771"/>
                    <a:gd name="connsiteX235" fmla="*/ 134625 w 761692"/>
                    <a:gd name="connsiteY235" fmla="*/ 584555 h 1016771"/>
                    <a:gd name="connsiteX236" fmla="*/ 131082 w 761692"/>
                    <a:gd name="connsiteY236" fmla="*/ 575698 h 1016771"/>
                    <a:gd name="connsiteX237" fmla="*/ 120454 w 761692"/>
                    <a:gd name="connsiteY237" fmla="*/ 568613 h 1016771"/>
                    <a:gd name="connsiteX238" fmla="*/ 125768 w 761692"/>
                    <a:gd name="connsiteY238" fmla="*/ 552670 h 1016771"/>
                    <a:gd name="connsiteX239" fmla="*/ 118682 w 761692"/>
                    <a:gd name="connsiteY239" fmla="*/ 543813 h 1016771"/>
                    <a:gd name="connsiteX240" fmla="*/ 90340 w 761692"/>
                    <a:gd name="connsiteY240" fmla="*/ 543813 h 1016771"/>
                    <a:gd name="connsiteX241" fmla="*/ 86797 w 761692"/>
                    <a:gd name="connsiteY241" fmla="*/ 542042 h 1016771"/>
                    <a:gd name="connsiteX242" fmla="*/ 83255 w 761692"/>
                    <a:gd name="connsiteY242" fmla="*/ 542042 h 1016771"/>
                    <a:gd name="connsiteX243" fmla="*/ 81483 w 761692"/>
                    <a:gd name="connsiteY243" fmla="*/ 540271 h 1016771"/>
                    <a:gd name="connsiteX244" fmla="*/ 81483 w 761692"/>
                    <a:gd name="connsiteY244" fmla="*/ 536728 h 1016771"/>
                    <a:gd name="connsiteX245" fmla="*/ 79712 w 761692"/>
                    <a:gd name="connsiteY245" fmla="*/ 531414 h 1016771"/>
                    <a:gd name="connsiteX246" fmla="*/ 77941 w 761692"/>
                    <a:gd name="connsiteY246" fmla="*/ 529642 h 1016771"/>
                    <a:gd name="connsiteX247" fmla="*/ 70855 w 761692"/>
                    <a:gd name="connsiteY247" fmla="*/ 527871 h 1016771"/>
                    <a:gd name="connsiteX248" fmla="*/ 60227 w 761692"/>
                    <a:gd name="connsiteY248" fmla="*/ 536728 h 1016771"/>
                    <a:gd name="connsiteX249" fmla="*/ 47827 w 761692"/>
                    <a:gd name="connsiteY249" fmla="*/ 526100 h 1016771"/>
                    <a:gd name="connsiteX250" fmla="*/ 42513 w 761692"/>
                    <a:gd name="connsiteY250" fmla="*/ 515471 h 1016771"/>
                    <a:gd name="connsiteX251" fmla="*/ 33656 w 761692"/>
                    <a:gd name="connsiteY251" fmla="*/ 506614 h 1016771"/>
                    <a:gd name="connsiteX252" fmla="*/ 31885 w 761692"/>
                    <a:gd name="connsiteY252" fmla="*/ 490672 h 1016771"/>
                    <a:gd name="connsiteX253" fmla="*/ 26571 w 761692"/>
                    <a:gd name="connsiteY253" fmla="*/ 476501 h 1016771"/>
                    <a:gd name="connsiteX254" fmla="*/ 24799 w 761692"/>
                    <a:gd name="connsiteY254" fmla="*/ 471187 h 1016771"/>
                    <a:gd name="connsiteX255" fmla="*/ 12400 w 761692"/>
                    <a:gd name="connsiteY255" fmla="*/ 472958 h 1016771"/>
                    <a:gd name="connsiteX256" fmla="*/ 7086 w 761692"/>
                    <a:gd name="connsiteY256" fmla="*/ 464101 h 1016771"/>
                    <a:gd name="connsiteX257" fmla="*/ 8857 w 761692"/>
                    <a:gd name="connsiteY257" fmla="*/ 446388 h 1016771"/>
                    <a:gd name="connsiteX258" fmla="*/ 3543 w 761692"/>
                    <a:gd name="connsiteY258" fmla="*/ 435759 h 1016771"/>
                    <a:gd name="connsiteX259" fmla="*/ 5314 w 761692"/>
                    <a:gd name="connsiteY259" fmla="*/ 412731 h 1016771"/>
                    <a:gd name="connsiteX260" fmla="*/ 0 w 761692"/>
                    <a:gd name="connsiteY260" fmla="*/ 396789 h 1016771"/>
                    <a:gd name="connsiteX261" fmla="*/ 3543 w 761692"/>
                    <a:gd name="connsiteY261" fmla="*/ 384389 h 1016771"/>
                    <a:gd name="connsiteX262" fmla="*/ 14171 w 761692"/>
                    <a:gd name="connsiteY262" fmla="*/ 380846 h 1016771"/>
                    <a:gd name="connsiteX263" fmla="*/ 24799 w 761692"/>
                    <a:gd name="connsiteY263" fmla="*/ 364904 h 1016771"/>
                    <a:gd name="connsiteX264" fmla="*/ 30113 w 761692"/>
                    <a:gd name="connsiteY264" fmla="*/ 350733 h 1016771"/>
                    <a:gd name="connsiteX265" fmla="*/ 35428 w 761692"/>
                    <a:gd name="connsiteY265" fmla="*/ 341876 h 1016771"/>
                    <a:gd name="connsiteX266" fmla="*/ 42513 w 761692"/>
                    <a:gd name="connsiteY266" fmla="*/ 327705 h 1016771"/>
                    <a:gd name="connsiteX267" fmla="*/ 42513 w 761692"/>
                    <a:gd name="connsiteY267" fmla="*/ 315305 h 1016771"/>
                    <a:gd name="connsiteX268" fmla="*/ 56684 w 761692"/>
                    <a:gd name="connsiteY268" fmla="*/ 309991 h 1016771"/>
                    <a:gd name="connsiteX269" fmla="*/ 60227 w 761692"/>
                    <a:gd name="connsiteY269" fmla="*/ 309991 h 1016771"/>
                    <a:gd name="connsiteX270" fmla="*/ 61998 w 761692"/>
                    <a:gd name="connsiteY270" fmla="*/ 311763 h 1016771"/>
                    <a:gd name="connsiteX271" fmla="*/ 67312 w 761692"/>
                    <a:gd name="connsiteY271" fmla="*/ 311763 h 1016771"/>
                    <a:gd name="connsiteX272" fmla="*/ 67312 w 761692"/>
                    <a:gd name="connsiteY272" fmla="*/ 309991 h 1016771"/>
                    <a:gd name="connsiteX273" fmla="*/ 67312 w 761692"/>
                    <a:gd name="connsiteY273" fmla="*/ 308220 h 1016771"/>
                    <a:gd name="connsiteX274" fmla="*/ 69084 w 761692"/>
                    <a:gd name="connsiteY274" fmla="*/ 302906 h 1016771"/>
                    <a:gd name="connsiteX275" fmla="*/ 70855 w 761692"/>
                    <a:gd name="connsiteY275" fmla="*/ 301134 h 1016771"/>
                    <a:gd name="connsiteX276" fmla="*/ 70855 w 761692"/>
                    <a:gd name="connsiteY276" fmla="*/ 299363 h 1016771"/>
                    <a:gd name="connsiteX277" fmla="*/ 77941 w 761692"/>
                    <a:gd name="connsiteY277" fmla="*/ 295820 h 1016771"/>
                    <a:gd name="connsiteX278" fmla="*/ 85026 w 761692"/>
                    <a:gd name="connsiteY278" fmla="*/ 295820 h 1016771"/>
                    <a:gd name="connsiteX279" fmla="*/ 93883 w 761692"/>
                    <a:gd name="connsiteY279" fmla="*/ 297592 h 1016771"/>
                    <a:gd name="connsiteX280" fmla="*/ 100968 w 761692"/>
                    <a:gd name="connsiteY280" fmla="*/ 288735 h 1016771"/>
                    <a:gd name="connsiteX281" fmla="*/ 97426 w 761692"/>
                    <a:gd name="connsiteY281" fmla="*/ 279878 h 1016771"/>
                    <a:gd name="connsiteX282" fmla="*/ 85026 w 761692"/>
                    <a:gd name="connsiteY282" fmla="*/ 276335 h 1016771"/>
                    <a:gd name="connsiteX283" fmla="*/ 76169 w 761692"/>
                    <a:gd name="connsiteY283" fmla="*/ 271021 h 1016771"/>
                    <a:gd name="connsiteX284" fmla="*/ 76169 w 761692"/>
                    <a:gd name="connsiteY284" fmla="*/ 262164 h 1016771"/>
                    <a:gd name="connsiteX285" fmla="*/ 81483 w 761692"/>
                    <a:gd name="connsiteY285" fmla="*/ 251536 h 1016771"/>
                    <a:gd name="connsiteX286" fmla="*/ 86797 w 761692"/>
                    <a:gd name="connsiteY286" fmla="*/ 255079 h 1016771"/>
                    <a:gd name="connsiteX287" fmla="*/ 104511 w 761692"/>
                    <a:gd name="connsiteY287" fmla="*/ 262164 h 1016771"/>
                    <a:gd name="connsiteX288" fmla="*/ 116911 w 761692"/>
                    <a:gd name="connsiteY288" fmla="*/ 265707 h 1016771"/>
                    <a:gd name="connsiteX289" fmla="*/ 132853 w 761692"/>
                    <a:gd name="connsiteY289" fmla="*/ 269250 h 1016771"/>
                    <a:gd name="connsiteX290" fmla="*/ 138167 w 761692"/>
                    <a:gd name="connsiteY290" fmla="*/ 265707 h 1016771"/>
                    <a:gd name="connsiteX291" fmla="*/ 150567 w 761692"/>
                    <a:gd name="connsiteY291" fmla="*/ 255079 h 1016771"/>
                    <a:gd name="connsiteX292" fmla="*/ 166509 w 761692"/>
                    <a:gd name="connsiteY292" fmla="*/ 255079 h 1016771"/>
                    <a:gd name="connsiteX293" fmla="*/ 166509 w 761692"/>
                    <a:gd name="connsiteY293" fmla="*/ 265707 h 1016771"/>
                    <a:gd name="connsiteX294" fmla="*/ 177138 w 761692"/>
                    <a:gd name="connsiteY294" fmla="*/ 272792 h 1016771"/>
                    <a:gd name="connsiteX295" fmla="*/ 194851 w 761692"/>
                    <a:gd name="connsiteY295" fmla="*/ 276335 h 1016771"/>
                    <a:gd name="connsiteX296" fmla="*/ 209022 w 761692"/>
                    <a:gd name="connsiteY296" fmla="*/ 279878 h 1016771"/>
                    <a:gd name="connsiteX297" fmla="*/ 221422 w 761692"/>
                    <a:gd name="connsiteY297" fmla="*/ 276335 h 1016771"/>
                    <a:gd name="connsiteX298" fmla="*/ 226736 w 761692"/>
                    <a:gd name="connsiteY298" fmla="*/ 269250 h 1016771"/>
                    <a:gd name="connsiteX299" fmla="*/ 226736 w 761692"/>
                    <a:gd name="connsiteY299" fmla="*/ 251536 h 1016771"/>
                    <a:gd name="connsiteX300" fmla="*/ 224965 w 761692"/>
                    <a:gd name="connsiteY300" fmla="*/ 239136 h 1016771"/>
                    <a:gd name="connsiteX301" fmla="*/ 214337 w 761692"/>
                    <a:gd name="connsiteY301" fmla="*/ 230279 h 1016771"/>
                    <a:gd name="connsiteX302" fmla="*/ 210794 w 761692"/>
                    <a:gd name="connsiteY302" fmla="*/ 217880 h 1016771"/>
                    <a:gd name="connsiteX303" fmla="*/ 221422 w 761692"/>
                    <a:gd name="connsiteY303" fmla="*/ 207251 h 1016771"/>
                    <a:gd name="connsiteX304" fmla="*/ 235593 w 761692"/>
                    <a:gd name="connsiteY304" fmla="*/ 214337 h 1016771"/>
                    <a:gd name="connsiteX305" fmla="*/ 246221 w 761692"/>
                    <a:gd name="connsiteY305" fmla="*/ 219651 h 1016771"/>
                    <a:gd name="connsiteX306" fmla="*/ 253307 w 761692"/>
                    <a:gd name="connsiteY306" fmla="*/ 221422 h 1016771"/>
                    <a:gd name="connsiteX307" fmla="*/ 262164 w 761692"/>
                    <a:gd name="connsiteY307" fmla="*/ 210794 h 1016771"/>
                    <a:gd name="connsiteX308" fmla="*/ 263935 w 761692"/>
                    <a:gd name="connsiteY308" fmla="*/ 201937 h 1016771"/>
                    <a:gd name="connsiteX309" fmla="*/ 274563 w 761692"/>
                    <a:gd name="connsiteY309" fmla="*/ 189538 h 1016771"/>
                    <a:gd name="connsiteX310" fmla="*/ 283420 w 761692"/>
                    <a:gd name="connsiteY310" fmla="*/ 178909 h 1016771"/>
                    <a:gd name="connsiteX311" fmla="*/ 286963 w 761692"/>
                    <a:gd name="connsiteY311" fmla="*/ 173595 h 1016771"/>
                    <a:gd name="connsiteX312" fmla="*/ 311762 w 761692"/>
                    <a:gd name="connsiteY312" fmla="*/ 168281 h 1016771"/>
                    <a:gd name="connsiteX313" fmla="*/ 325933 w 761692"/>
                    <a:gd name="connsiteY313" fmla="*/ 164738 h 1016771"/>
                    <a:gd name="connsiteX314" fmla="*/ 336562 w 761692"/>
                    <a:gd name="connsiteY314" fmla="*/ 159424 h 1016771"/>
                    <a:gd name="connsiteX315" fmla="*/ 348961 w 761692"/>
                    <a:gd name="connsiteY315" fmla="*/ 145253 h 1016771"/>
                    <a:gd name="connsiteX316" fmla="*/ 359589 w 761692"/>
                    <a:gd name="connsiteY316" fmla="*/ 143482 h 1016771"/>
                    <a:gd name="connsiteX317" fmla="*/ 371989 w 761692"/>
                    <a:gd name="connsiteY317" fmla="*/ 143482 h 1016771"/>
                    <a:gd name="connsiteX318" fmla="*/ 391474 w 761692"/>
                    <a:gd name="connsiteY318" fmla="*/ 143482 h 1016771"/>
                    <a:gd name="connsiteX319" fmla="*/ 396788 w 761692"/>
                    <a:gd name="connsiteY319" fmla="*/ 141710 h 1016771"/>
                    <a:gd name="connsiteX320" fmla="*/ 403874 w 761692"/>
                    <a:gd name="connsiteY320" fmla="*/ 134625 h 1016771"/>
                    <a:gd name="connsiteX321" fmla="*/ 409188 w 761692"/>
                    <a:gd name="connsiteY321" fmla="*/ 129311 h 1016771"/>
                    <a:gd name="connsiteX322" fmla="*/ 409188 w 761692"/>
                    <a:gd name="connsiteY322" fmla="*/ 123997 h 1016771"/>
                    <a:gd name="connsiteX323" fmla="*/ 414502 w 761692"/>
                    <a:gd name="connsiteY323" fmla="*/ 115140 h 1016771"/>
                    <a:gd name="connsiteX324" fmla="*/ 428673 w 761692"/>
                    <a:gd name="connsiteY324" fmla="*/ 115140 h 1016771"/>
                    <a:gd name="connsiteX325" fmla="*/ 432216 w 761692"/>
                    <a:gd name="connsiteY325" fmla="*/ 109826 h 1016771"/>
                    <a:gd name="connsiteX326" fmla="*/ 437530 w 761692"/>
                    <a:gd name="connsiteY326" fmla="*/ 100969 h 1016771"/>
                    <a:gd name="connsiteX327" fmla="*/ 448158 w 761692"/>
                    <a:gd name="connsiteY327" fmla="*/ 99197 h 1016771"/>
                    <a:gd name="connsiteX328" fmla="*/ 460558 w 761692"/>
                    <a:gd name="connsiteY328" fmla="*/ 97426 h 1016771"/>
                    <a:gd name="connsiteX329" fmla="*/ 472958 w 761692"/>
                    <a:gd name="connsiteY329" fmla="*/ 93883 h 1016771"/>
                    <a:gd name="connsiteX330" fmla="*/ 492443 w 761692"/>
                    <a:gd name="connsiteY330" fmla="*/ 93883 h 1016771"/>
                    <a:gd name="connsiteX331" fmla="*/ 501300 w 761692"/>
                    <a:gd name="connsiteY331" fmla="*/ 83255 h 1016771"/>
                    <a:gd name="connsiteX332" fmla="*/ 517242 w 761692"/>
                    <a:gd name="connsiteY332" fmla="*/ 81484 h 1016771"/>
                    <a:gd name="connsiteX333" fmla="*/ 522556 w 761692"/>
                    <a:gd name="connsiteY333" fmla="*/ 81484 h 1016771"/>
                    <a:gd name="connsiteX334" fmla="*/ 522556 w 761692"/>
                    <a:gd name="connsiteY334" fmla="*/ 60227 h 1016771"/>
                    <a:gd name="connsiteX335" fmla="*/ 526099 w 761692"/>
                    <a:gd name="connsiteY335" fmla="*/ 54913 h 1016771"/>
                    <a:gd name="connsiteX336" fmla="*/ 529642 w 761692"/>
                    <a:gd name="connsiteY336" fmla="*/ 46056 h 1016771"/>
                    <a:gd name="connsiteX337" fmla="*/ 538499 w 761692"/>
                    <a:gd name="connsiteY337" fmla="*/ 40742 h 1016771"/>
                    <a:gd name="connsiteX338" fmla="*/ 540270 w 761692"/>
                    <a:gd name="connsiteY338" fmla="*/ 30114 h 1016771"/>
                    <a:gd name="connsiteX339" fmla="*/ 536727 w 761692"/>
                    <a:gd name="connsiteY339" fmla="*/ 19485 h 1016771"/>
                    <a:gd name="connsiteX340" fmla="*/ 543813 w 761692"/>
                    <a:gd name="connsiteY340" fmla="*/ 5314 h 1016771"/>
                    <a:gd name="connsiteX341" fmla="*/ 554441 w 761692"/>
                    <a:gd name="connsiteY341" fmla="*/ 0 h 1016771"/>
                    <a:gd name="connsiteX0" fmla="*/ 283748 w 761692"/>
                    <a:gd name="connsiteY0" fmla="*/ 901613 h 1016771"/>
                    <a:gd name="connsiteX1" fmla="*/ 307483 w 761692"/>
                    <a:gd name="connsiteY1" fmla="*/ 901613 h 1016771"/>
                    <a:gd name="connsiteX2" fmla="*/ 311729 w 761692"/>
                    <a:gd name="connsiteY2" fmla="*/ 903178 h 1016771"/>
                    <a:gd name="connsiteX3" fmla="*/ 299363 w 761692"/>
                    <a:gd name="connsiteY3" fmla="*/ 901632 h 1016771"/>
                    <a:gd name="connsiteX4" fmla="*/ 288734 w 761692"/>
                    <a:gd name="connsiteY4" fmla="*/ 903403 h 1016771"/>
                    <a:gd name="connsiteX5" fmla="*/ 286963 w 761692"/>
                    <a:gd name="connsiteY5" fmla="*/ 910489 h 1016771"/>
                    <a:gd name="connsiteX6" fmla="*/ 283420 w 761692"/>
                    <a:gd name="connsiteY6" fmla="*/ 915803 h 1016771"/>
                    <a:gd name="connsiteX7" fmla="*/ 271021 w 761692"/>
                    <a:gd name="connsiteY7" fmla="*/ 912260 h 1016771"/>
                    <a:gd name="connsiteX8" fmla="*/ 270666 w 761692"/>
                    <a:gd name="connsiteY8" fmla="*/ 911196 h 1016771"/>
                    <a:gd name="connsiteX9" fmla="*/ 278662 w 761692"/>
                    <a:gd name="connsiteY9" fmla="*/ 913481 h 1016771"/>
                    <a:gd name="connsiteX10" fmla="*/ 283748 w 761692"/>
                    <a:gd name="connsiteY10" fmla="*/ 901613 h 1016771"/>
                    <a:gd name="connsiteX11" fmla="*/ 222919 w 761692"/>
                    <a:gd name="connsiteY11" fmla="*/ 879608 h 1016771"/>
                    <a:gd name="connsiteX12" fmla="*/ 243060 w 761692"/>
                    <a:gd name="connsiteY12" fmla="*/ 882965 h 1016771"/>
                    <a:gd name="connsiteX13" fmla="*/ 243990 w 761692"/>
                    <a:gd name="connsiteY13" fmla="*/ 883546 h 1016771"/>
                    <a:gd name="connsiteX14" fmla="*/ 224965 w 761692"/>
                    <a:gd name="connsiteY14" fmla="*/ 880375 h 1016771"/>
                    <a:gd name="connsiteX15" fmla="*/ 222919 w 761692"/>
                    <a:gd name="connsiteY15" fmla="*/ 879608 h 1016771"/>
                    <a:gd name="connsiteX16" fmla="*/ 159250 w 761692"/>
                    <a:gd name="connsiteY16" fmla="*/ 829179 h 1016771"/>
                    <a:gd name="connsiteX17" fmla="*/ 159989 w 761692"/>
                    <a:gd name="connsiteY17" fmla="*/ 830410 h 1016771"/>
                    <a:gd name="connsiteX18" fmla="*/ 151512 w 761692"/>
                    <a:gd name="connsiteY18" fmla="*/ 838886 h 1016771"/>
                    <a:gd name="connsiteX19" fmla="*/ 149817 w 761692"/>
                    <a:gd name="connsiteY19" fmla="*/ 840582 h 1016771"/>
                    <a:gd name="connsiteX20" fmla="*/ 148122 w 761692"/>
                    <a:gd name="connsiteY20" fmla="*/ 842277 h 1016771"/>
                    <a:gd name="connsiteX21" fmla="*/ 146426 w 761692"/>
                    <a:gd name="connsiteY21" fmla="*/ 843972 h 1016771"/>
                    <a:gd name="connsiteX22" fmla="*/ 141340 w 761692"/>
                    <a:gd name="connsiteY22" fmla="*/ 849058 h 1016771"/>
                    <a:gd name="connsiteX23" fmla="*/ 141340 w 761692"/>
                    <a:gd name="connsiteY23" fmla="*/ 850754 h 1016771"/>
                    <a:gd name="connsiteX24" fmla="*/ 139645 w 761692"/>
                    <a:gd name="connsiteY24" fmla="*/ 852449 h 1016771"/>
                    <a:gd name="connsiteX25" fmla="*/ 139645 w 761692"/>
                    <a:gd name="connsiteY25" fmla="*/ 860925 h 1016771"/>
                    <a:gd name="connsiteX26" fmla="*/ 148122 w 761692"/>
                    <a:gd name="connsiteY26" fmla="*/ 867707 h 1016771"/>
                    <a:gd name="connsiteX27" fmla="*/ 158294 w 761692"/>
                    <a:gd name="connsiteY27" fmla="*/ 879574 h 1016771"/>
                    <a:gd name="connsiteX28" fmla="*/ 175247 w 761692"/>
                    <a:gd name="connsiteY28" fmla="*/ 889746 h 1016771"/>
                    <a:gd name="connsiteX29" fmla="*/ 188810 w 761692"/>
                    <a:gd name="connsiteY29" fmla="*/ 893137 h 1016771"/>
                    <a:gd name="connsiteX30" fmla="*/ 195591 w 761692"/>
                    <a:gd name="connsiteY30" fmla="*/ 893137 h 1016771"/>
                    <a:gd name="connsiteX31" fmla="*/ 202372 w 761692"/>
                    <a:gd name="connsiteY31" fmla="*/ 886355 h 1016771"/>
                    <a:gd name="connsiteX32" fmla="*/ 200677 w 761692"/>
                    <a:gd name="connsiteY32" fmla="*/ 877879 h 1016771"/>
                    <a:gd name="connsiteX33" fmla="*/ 209154 w 761692"/>
                    <a:gd name="connsiteY33" fmla="*/ 874488 h 1016771"/>
                    <a:gd name="connsiteX34" fmla="*/ 210740 w 761692"/>
                    <a:gd name="connsiteY34" fmla="*/ 875083 h 1016771"/>
                    <a:gd name="connsiteX35" fmla="*/ 201937 w 761692"/>
                    <a:gd name="connsiteY35" fmla="*/ 878604 h 1016771"/>
                    <a:gd name="connsiteX36" fmla="*/ 203708 w 761692"/>
                    <a:gd name="connsiteY36" fmla="*/ 887461 h 1016771"/>
                    <a:gd name="connsiteX37" fmla="*/ 196623 w 761692"/>
                    <a:gd name="connsiteY37" fmla="*/ 894546 h 1016771"/>
                    <a:gd name="connsiteX38" fmla="*/ 189537 w 761692"/>
                    <a:gd name="connsiteY38" fmla="*/ 894546 h 1016771"/>
                    <a:gd name="connsiteX39" fmla="*/ 175366 w 761692"/>
                    <a:gd name="connsiteY39" fmla="*/ 891003 h 1016771"/>
                    <a:gd name="connsiteX40" fmla="*/ 157653 w 761692"/>
                    <a:gd name="connsiteY40" fmla="*/ 880375 h 1016771"/>
                    <a:gd name="connsiteX41" fmla="*/ 147024 w 761692"/>
                    <a:gd name="connsiteY41" fmla="*/ 867975 h 1016771"/>
                    <a:gd name="connsiteX42" fmla="*/ 138167 w 761692"/>
                    <a:gd name="connsiteY42" fmla="*/ 860890 h 1016771"/>
                    <a:gd name="connsiteX43" fmla="*/ 138167 w 761692"/>
                    <a:gd name="connsiteY43" fmla="*/ 852033 h 1016771"/>
                    <a:gd name="connsiteX44" fmla="*/ 139939 w 761692"/>
                    <a:gd name="connsiteY44" fmla="*/ 850262 h 1016771"/>
                    <a:gd name="connsiteX45" fmla="*/ 139939 w 761692"/>
                    <a:gd name="connsiteY45" fmla="*/ 848490 h 1016771"/>
                    <a:gd name="connsiteX46" fmla="*/ 145253 w 761692"/>
                    <a:gd name="connsiteY46" fmla="*/ 843176 h 1016771"/>
                    <a:gd name="connsiteX47" fmla="*/ 147024 w 761692"/>
                    <a:gd name="connsiteY47" fmla="*/ 841405 h 1016771"/>
                    <a:gd name="connsiteX48" fmla="*/ 148796 w 761692"/>
                    <a:gd name="connsiteY48" fmla="*/ 839633 h 1016771"/>
                    <a:gd name="connsiteX49" fmla="*/ 150567 w 761692"/>
                    <a:gd name="connsiteY49" fmla="*/ 837862 h 1016771"/>
                    <a:gd name="connsiteX50" fmla="*/ 159250 w 761692"/>
                    <a:gd name="connsiteY50" fmla="*/ 829179 h 1016771"/>
                    <a:gd name="connsiteX51" fmla="*/ 116476 w 761692"/>
                    <a:gd name="connsiteY51" fmla="*/ 741349 h 1016771"/>
                    <a:gd name="connsiteX52" fmla="*/ 117606 w 761692"/>
                    <a:gd name="connsiteY52" fmla="*/ 742253 h 1016771"/>
                    <a:gd name="connsiteX53" fmla="*/ 122692 w 761692"/>
                    <a:gd name="connsiteY53" fmla="*/ 759206 h 1016771"/>
                    <a:gd name="connsiteX54" fmla="*/ 126082 w 761692"/>
                    <a:gd name="connsiteY54" fmla="*/ 771073 h 1016771"/>
                    <a:gd name="connsiteX55" fmla="*/ 129473 w 761692"/>
                    <a:gd name="connsiteY55" fmla="*/ 782940 h 1016771"/>
                    <a:gd name="connsiteX56" fmla="*/ 132864 w 761692"/>
                    <a:gd name="connsiteY56" fmla="*/ 793112 h 1016771"/>
                    <a:gd name="connsiteX57" fmla="*/ 136254 w 761692"/>
                    <a:gd name="connsiteY57" fmla="*/ 810066 h 1016771"/>
                    <a:gd name="connsiteX58" fmla="*/ 139058 w 761692"/>
                    <a:gd name="connsiteY58" fmla="*/ 818476 h 1016771"/>
                    <a:gd name="connsiteX59" fmla="*/ 138167 w 761692"/>
                    <a:gd name="connsiteY59" fmla="*/ 818377 h 1016771"/>
                    <a:gd name="connsiteX60" fmla="*/ 134625 w 761692"/>
                    <a:gd name="connsiteY60" fmla="*/ 807749 h 1016771"/>
                    <a:gd name="connsiteX61" fmla="*/ 131082 w 761692"/>
                    <a:gd name="connsiteY61" fmla="*/ 790035 h 1016771"/>
                    <a:gd name="connsiteX62" fmla="*/ 127539 w 761692"/>
                    <a:gd name="connsiteY62" fmla="*/ 779407 h 1016771"/>
                    <a:gd name="connsiteX63" fmla="*/ 123996 w 761692"/>
                    <a:gd name="connsiteY63" fmla="*/ 767007 h 1016771"/>
                    <a:gd name="connsiteX64" fmla="*/ 120454 w 761692"/>
                    <a:gd name="connsiteY64" fmla="*/ 754607 h 1016771"/>
                    <a:gd name="connsiteX65" fmla="*/ 116476 w 761692"/>
                    <a:gd name="connsiteY65" fmla="*/ 741349 h 1016771"/>
                    <a:gd name="connsiteX66" fmla="*/ 554441 w 761692"/>
                    <a:gd name="connsiteY66" fmla="*/ 0 h 1016771"/>
                    <a:gd name="connsiteX67" fmla="*/ 570383 w 761692"/>
                    <a:gd name="connsiteY67" fmla="*/ 3543 h 1016771"/>
                    <a:gd name="connsiteX68" fmla="*/ 577469 w 761692"/>
                    <a:gd name="connsiteY68" fmla="*/ 8857 h 1016771"/>
                    <a:gd name="connsiteX69" fmla="*/ 582783 w 761692"/>
                    <a:gd name="connsiteY69" fmla="*/ 17714 h 1016771"/>
                    <a:gd name="connsiteX70" fmla="*/ 582783 w 761692"/>
                    <a:gd name="connsiteY70" fmla="*/ 24799 h 1016771"/>
                    <a:gd name="connsiteX71" fmla="*/ 588097 w 761692"/>
                    <a:gd name="connsiteY71" fmla="*/ 33656 h 1016771"/>
                    <a:gd name="connsiteX72" fmla="*/ 598725 w 761692"/>
                    <a:gd name="connsiteY72" fmla="*/ 31885 h 1016771"/>
                    <a:gd name="connsiteX73" fmla="*/ 612896 w 761692"/>
                    <a:gd name="connsiteY73" fmla="*/ 37199 h 1016771"/>
                    <a:gd name="connsiteX74" fmla="*/ 618211 w 761692"/>
                    <a:gd name="connsiteY74" fmla="*/ 46056 h 1016771"/>
                    <a:gd name="connsiteX75" fmla="*/ 619982 w 761692"/>
                    <a:gd name="connsiteY75" fmla="*/ 54913 h 1016771"/>
                    <a:gd name="connsiteX76" fmla="*/ 618211 w 761692"/>
                    <a:gd name="connsiteY76" fmla="*/ 74398 h 1016771"/>
                    <a:gd name="connsiteX77" fmla="*/ 616439 w 761692"/>
                    <a:gd name="connsiteY77" fmla="*/ 85026 h 1016771"/>
                    <a:gd name="connsiteX78" fmla="*/ 621753 w 761692"/>
                    <a:gd name="connsiteY78" fmla="*/ 97426 h 1016771"/>
                    <a:gd name="connsiteX79" fmla="*/ 637696 w 761692"/>
                    <a:gd name="connsiteY79" fmla="*/ 113368 h 1016771"/>
                    <a:gd name="connsiteX80" fmla="*/ 644781 w 761692"/>
                    <a:gd name="connsiteY80" fmla="*/ 120454 h 1016771"/>
                    <a:gd name="connsiteX81" fmla="*/ 650095 w 761692"/>
                    <a:gd name="connsiteY81" fmla="*/ 136396 h 1016771"/>
                    <a:gd name="connsiteX82" fmla="*/ 655409 w 761692"/>
                    <a:gd name="connsiteY82" fmla="*/ 155881 h 1016771"/>
                    <a:gd name="connsiteX83" fmla="*/ 662495 w 761692"/>
                    <a:gd name="connsiteY83" fmla="*/ 171824 h 1016771"/>
                    <a:gd name="connsiteX84" fmla="*/ 660724 w 761692"/>
                    <a:gd name="connsiteY84" fmla="*/ 185995 h 1016771"/>
                    <a:gd name="connsiteX85" fmla="*/ 635924 w 761692"/>
                    <a:gd name="connsiteY85" fmla="*/ 194852 h 1016771"/>
                    <a:gd name="connsiteX86" fmla="*/ 619982 w 761692"/>
                    <a:gd name="connsiteY86" fmla="*/ 207251 h 1016771"/>
                    <a:gd name="connsiteX87" fmla="*/ 614668 w 761692"/>
                    <a:gd name="connsiteY87" fmla="*/ 223194 h 1016771"/>
                    <a:gd name="connsiteX88" fmla="*/ 618211 w 761692"/>
                    <a:gd name="connsiteY88" fmla="*/ 242679 h 1016771"/>
                    <a:gd name="connsiteX89" fmla="*/ 612896 w 761692"/>
                    <a:gd name="connsiteY89" fmla="*/ 256850 h 1016771"/>
                    <a:gd name="connsiteX90" fmla="*/ 625296 w 761692"/>
                    <a:gd name="connsiteY90" fmla="*/ 267478 h 1016771"/>
                    <a:gd name="connsiteX91" fmla="*/ 641238 w 761692"/>
                    <a:gd name="connsiteY91" fmla="*/ 269250 h 1016771"/>
                    <a:gd name="connsiteX92" fmla="*/ 658952 w 761692"/>
                    <a:gd name="connsiteY92" fmla="*/ 286963 h 1016771"/>
                    <a:gd name="connsiteX93" fmla="*/ 653638 w 761692"/>
                    <a:gd name="connsiteY93" fmla="*/ 309991 h 1016771"/>
                    <a:gd name="connsiteX94" fmla="*/ 653638 w 761692"/>
                    <a:gd name="connsiteY94" fmla="*/ 329476 h 1016771"/>
                    <a:gd name="connsiteX95" fmla="*/ 643010 w 761692"/>
                    <a:gd name="connsiteY95" fmla="*/ 338333 h 1016771"/>
                    <a:gd name="connsiteX96" fmla="*/ 632382 w 761692"/>
                    <a:gd name="connsiteY96" fmla="*/ 338333 h 1016771"/>
                    <a:gd name="connsiteX97" fmla="*/ 618211 w 761692"/>
                    <a:gd name="connsiteY97" fmla="*/ 357819 h 1016771"/>
                    <a:gd name="connsiteX98" fmla="*/ 609354 w 761692"/>
                    <a:gd name="connsiteY98" fmla="*/ 361361 h 1016771"/>
                    <a:gd name="connsiteX99" fmla="*/ 596954 w 761692"/>
                    <a:gd name="connsiteY99" fmla="*/ 363133 h 1016771"/>
                    <a:gd name="connsiteX100" fmla="*/ 581012 w 761692"/>
                    <a:gd name="connsiteY100" fmla="*/ 379075 h 1016771"/>
                    <a:gd name="connsiteX101" fmla="*/ 589868 w 761692"/>
                    <a:gd name="connsiteY101" fmla="*/ 393246 h 1016771"/>
                    <a:gd name="connsiteX102" fmla="*/ 586326 w 761692"/>
                    <a:gd name="connsiteY102" fmla="*/ 409189 h 1016771"/>
                    <a:gd name="connsiteX103" fmla="*/ 570383 w 761692"/>
                    <a:gd name="connsiteY103" fmla="*/ 398560 h 1016771"/>
                    <a:gd name="connsiteX104" fmla="*/ 550898 w 761692"/>
                    <a:gd name="connsiteY104" fmla="*/ 405646 h 1016771"/>
                    <a:gd name="connsiteX105" fmla="*/ 531413 w 761692"/>
                    <a:gd name="connsiteY105" fmla="*/ 425131 h 1016771"/>
                    <a:gd name="connsiteX106" fmla="*/ 543813 w 761692"/>
                    <a:gd name="connsiteY106" fmla="*/ 444616 h 1016771"/>
                    <a:gd name="connsiteX107" fmla="*/ 557984 w 761692"/>
                    <a:gd name="connsiteY107" fmla="*/ 462330 h 1016771"/>
                    <a:gd name="connsiteX108" fmla="*/ 570383 w 761692"/>
                    <a:gd name="connsiteY108" fmla="*/ 478272 h 1016771"/>
                    <a:gd name="connsiteX109" fmla="*/ 579240 w 761692"/>
                    <a:gd name="connsiteY109" fmla="*/ 485358 h 1016771"/>
                    <a:gd name="connsiteX110" fmla="*/ 602268 w 761692"/>
                    <a:gd name="connsiteY110" fmla="*/ 483586 h 1016771"/>
                    <a:gd name="connsiteX111" fmla="*/ 623525 w 761692"/>
                    <a:gd name="connsiteY111" fmla="*/ 474730 h 1016771"/>
                    <a:gd name="connsiteX112" fmla="*/ 639467 w 761692"/>
                    <a:gd name="connsiteY112" fmla="*/ 464101 h 1016771"/>
                    <a:gd name="connsiteX113" fmla="*/ 662495 w 761692"/>
                    <a:gd name="connsiteY113" fmla="*/ 464101 h 1016771"/>
                    <a:gd name="connsiteX114" fmla="*/ 673123 w 761692"/>
                    <a:gd name="connsiteY114" fmla="*/ 464101 h 1016771"/>
                    <a:gd name="connsiteX115" fmla="*/ 681980 w 761692"/>
                    <a:gd name="connsiteY115" fmla="*/ 467644 h 1016771"/>
                    <a:gd name="connsiteX116" fmla="*/ 703237 w 761692"/>
                    <a:gd name="connsiteY116" fmla="*/ 471187 h 1016771"/>
                    <a:gd name="connsiteX117" fmla="*/ 708551 w 761692"/>
                    <a:gd name="connsiteY117" fmla="*/ 474730 h 1016771"/>
                    <a:gd name="connsiteX118" fmla="*/ 722722 w 761692"/>
                    <a:gd name="connsiteY118" fmla="*/ 501300 h 1016771"/>
                    <a:gd name="connsiteX119" fmla="*/ 724493 w 761692"/>
                    <a:gd name="connsiteY119" fmla="*/ 522557 h 1016771"/>
                    <a:gd name="connsiteX120" fmla="*/ 722722 w 761692"/>
                    <a:gd name="connsiteY120" fmla="*/ 540271 h 1016771"/>
                    <a:gd name="connsiteX121" fmla="*/ 735121 w 761692"/>
                    <a:gd name="connsiteY121" fmla="*/ 552670 h 1016771"/>
                    <a:gd name="connsiteX122" fmla="*/ 735121 w 761692"/>
                    <a:gd name="connsiteY122" fmla="*/ 570384 h 1016771"/>
                    <a:gd name="connsiteX123" fmla="*/ 751064 w 761692"/>
                    <a:gd name="connsiteY123" fmla="*/ 581012 h 1016771"/>
                    <a:gd name="connsiteX124" fmla="*/ 761692 w 761692"/>
                    <a:gd name="connsiteY124" fmla="*/ 604040 h 1016771"/>
                    <a:gd name="connsiteX125" fmla="*/ 747521 w 761692"/>
                    <a:gd name="connsiteY125" fmla="*/ 616440 h 1016771"/>
                    <a:gd name="connsiteX126" fmla="*/ 728036 w 761692"/>
                    <a:gd name="connsiteY126" fmla="*/ 627068 h 1016771"/>
                    <a:gd name="connsiteX127" fmla="*/ 726264 w 761692"/>
                    <a:gd name="connsiteY127" fmla="*/ 650096 h 1016771"/>
                    <a:gd name="connsiteX128" fmla="*/ 728036 w 761692"/>
                    <a:gd name="connsiteY128" fmla="*/ 673124 h 1016771"/>
                    <a:gd name="connsiteX129" fmla="*/ 742207 w 761692"/>
                    <a:gd name="connsiteY129" fmla="*/ 689066 h 1016771"/>
                    <a:gd name="connsiteX130" fmla="*/ 742207 w 761692"/>
                    <a:gd name="connsiteY130" fmla="*/ 712094 h 1016771"/>
                    <a:gd name="connsiteX131" fmla="*/ 740435 w 761692"/>
                    <a:gd name="connsiteY131" fmla="*/ 735122 h 1016771"/>
                    <a:gd name="connsiteX132" fmla="*/ 742207 w 761692"/>
                    <a:gd name="connsiteY132" fmla="*/ 751065 h 1016771"/>
                    <a:gd name="connsiteX133" fmla="*/ 747521 w 761692"/>
                    <a:gd name="connsiteY133" fmla="*/ 768778 h 1016771"/>
                    <a:gd name="connsiteX134" fmla="*/ 759921 w 761692"/>
                    <a:gd name="connsiteY134" fmla="*/ 777635 h 1016771"/>
                    <a:gd name="connsiteX135" fmla="*/ 758149 w 761692"/>
                    <a:gd name="connsiteY135" fmla="*/ 802434 h 1016771"/>
                    <a:gd name="connsiteX136" fmla="*/ 752835 w 761692"/>
                    <a:gd name="connsiteY136" fmla="*/ 814834 h 1016771"/>
                    <a:gd name="connsiteX137" fmla="*/ 743978 w 761692"/>
                    <a:gd name="connsiteY137" fmla="*/ 827234 h 1016771"/>
                    <a:gd name="connsiteX138" fmla="*/ 743978 w 761692"/>
                    <a:gd name="connsiteY138" fmla="*/ 837862 h 1016771"/>
                    <a:gd name="connsiteX139" fmla="*/ 747521 w 761692"/>
                    <a:gd name="connsiteY139" fmla="*/ 853804 h 1016771"/>
                    <a:gd name="connsiteX140" fmla="*/ 733350 w 761692"/>
                    <a:gd name="connsiteY140" fmla="*/ 867975 h 1016771"/>
                    <a:gd name="connsiteX141" fmla="*/ 724493 w 761692"/>
                    <a:gd name="connsiteY141" fmla="*/ 880375 h 1016771"/>
                    <a:gd name="connsiteX142" fmla="*/ 722722 w 761692"/>
                    <a:gd name="connsiteY142" fmla="*/ 899860 h 1016771"/>
                    <a:gd name="connsiteX143" fmla="*/ 722722 w 761692"/>
                    <a:gd name="connsiteY143" fmla="*/ 919345 h 1016771"/>
                    <a:gd name="connsiteX144" fmla="*/ 715636 w 761692"/>
                    <a:gd name="connsiteY144" fmla="*/ 940602 h 1016771"/>
                    <a:gd name="connsiteX145" fmla="*/ 708551 w 761692"/>
                    <a:gd name="connsiteY145" fmla="*/ 954773 h 1016771"/>
                    <a:gd name="connsiteX146" fmla="*/ 699694 w 761692"/>
                    <a:gd name="connsiteY146" fmla="*/ 965401 h 1016771"/>
                    <a:gd name="connsiteX147" fmla="*/ 692608 w 761692"/>
                    <a:gd name="connsiteY147" fmla="*/ 984886 h 1016771"/>
                    <a:gd name="connsiteX148" fmla="*/ 683751 w 761692"/>
                    <a:gd name="connsiteY148" fmla="*/ 997286 h 1016771"/>
                    <a:gd name="connsiteX149" fmla="*/ 673123 w 761692"/>
                    <a:gd name="connsiteY149" fmla="*/ 1002600 h 1016771"/>
                    <a:gd name="connsiteX150" fmla="*/ 662495 w 761692"/>
                    <a:gd name="connsiteY150" fmla="*/ 1013228 h 1016771"/>
                    <a:gd name="connsiteX151" fmla="*/ 644781 w 761692"/>
                    <a:gd name="connsiteY151" fmla="*/ 1016771 h 1016771"/>
                    <a:gd name="connsiteX152" fmla="*/ 635924 w 761692"/>
                    <a:gd name="connsiteY152" fmla="*/ 1004372 h 1016771"/>
                    <a:gd name="connsiteX153" fmla="*/ 623525 w 761692"/>
                    <a:gd name="connsiteY153" fmla="*/ 997286 h 1016771"/>
                    <a:gd name="connsiteX154" fmla="*/ 614668 w 761692"/>
                    <a:gd name="connsiteY154" fmla="*/ 986658 h 1016771"/>
                    <a:gd name="connsiteX155" fmla="*/ 593411 w 761692"/>
                    <a:gd name="connsiteY155" fmla="*/ 970715 h 1016771"/>
                    <a:gd name="connsiteX156" fmla="*/ 582783 w 761692"/>
                    <a:gd name="connsiteY156" fmla="*/ 965401 h 1016771"/>
                    <a:gd name="connsiteX157" fmla="*/ 531413 w 761692"/>
                    <a:gd name="connsiteY157" fmla="*/ 965401 h 1016771"/>
                    <a:gd name="connsiteX158" fmla="*/ 511928 w 761692"/>
                    <a:gd name="connsiteY158" fmla="*/ 965401 h 1016771"/>
                    <a:gd name="connsiteX159" fmla="*/ 492443 w 761692"/>
                    <a:gd name="connsiteY159" fmla="*/ 963630 h 1016771"/>
                    <a:gd name="connsiteX160" fmla="*/ 483586 w 761692"/>
                    <a:gd name="connsiteY160" fmla="*/ 958316 h 1016771"/>
                    <a:gd name="connsiteX161" fmla="*/ 469415 w 761692"/>
                    <a:gd name="connsiteY161" fmla="*/ 954773 h 1016771"/>
                    <a:gd name="connsiteX162" fmla="*/ 460558 w 761692"/>
                    <a:gd name="connsiteY162" fmla="*/ 942373 h 1016771"/>
                    <a:gd name="connsiteX163" fmla="*/ 446387 w 761692"/>
                    <a:gd name="connsiteY163" fmla="*/ 935288 h 1016771"/>
                    <a:gd name="connsiteX164" fmla="*/ 428673 w 761692"/>
                    <a:gd name="connsiteY164" fmla="*/ 928202 h 1016771"/>
                    <a:gd name="connsiteX165" fmla="*/ 418045 w 761692"/>
                    <a:gd name="connsiteY165" fmla="*/ 917574 h 1016771"/>
                    <a:gd name="connsiteX166" fmla="*/ 421588 w 761692"/>
                    <a:gd name="connsiteY166" fmla="*/ 903403 h 1016771"/>
                    <a:gd name="connsiteX167" fmla="*/ 418045 w 761692"/>
                    <a:gd name="connsiteY167" fmla="*/ 898089 h 1016771"/>
                    <a:gd name="connsiteX168" fmla="*/ 396788 w 761692"/>
                    <a:gd name="connsiteY168" fmla="*/ 898089 h 1016771"/>
                    <a:gd name="connsiteX169" fmla="*/ 382617 w 761692"/>
                    <a:gd name="connsiteY169" fmla="*/ 896318 h 1016771"/>
                    <a:gd name="connsiteX170" fmla="*/ 380846 w 761692"/>
                    <a:gd name="connsiteY170" fmla="*/ 906946 h 1016771"/>
                    <a:gd name="connsiteX171" fmla="*/ 373601 w 761692"/>
                    <a:gd name="connsiteY171" fmla="*/ 894832 h 1016771"/>
                    <a:gd name="connsiteX172" fmla="*/ 387164 w 761692"/>
                    <a:gd name="connsiteY172" fmla="*/ 896527 h 1016771"/>
                    <a:gd name="connsiteX173" fmla="*/ 383773 w 761692"/>
                    <a:gd name="connsiteY173" fmla="*/ 886355 h 1016771"/>
                    <a:gd name="connsiteX174" fmla="*/ 387164 w 761692"/>
                    <a:gd name="connsiteY174" fmla="*/ 876183 h 1016771"/>
                    <a:gd name="connsiteX175" fmla="*/ 388859 w 761692"/>
                    <a:gd name="connsiteY175" fmla="*/ 867707 h 1016771"/>
                    <a:gd name="connsiteX176" fmla="*/ 380382 w 761692"/>
                    <a:gd name="connsiteY176" fmla="*/ 859230 h 1016771"/>
                    <a:gd name="connsiteX177" fmla="*/ 373601 w 761692"/>
                    <a:gd name="connsiteY177" fmla="*/ 849058 h 1016771"/>
                    <a:gd name="connsiteX178" fmla="*/ 380382 w 761692"/>
                    <a:gd name="connsiteY178" fmla="*/ 838886 h 1016771"/>
                    <a:gd name="connsiteX179" fmla="*/ 383773 w 761692"/>
                    <a:gd name="connsiteY179" fmla="*/ 833800 h 1016771"/>
                    <a:gd name="connsiteX180" fmla="*/ 388859 w 761692"/>
                    <a:gd name="connsiteY180" fmla="*/ 825324 h 1016771"/>
                    <a:gd name="connsiteX181" fmla="*/ 387164 w 761692"/>
                    <a:gd name="connsiteY181" fmla="*/ 810066 h 1016771"/>
                    <a:gd name="connsiteX182" fmla="*/ 387164 w 761692"/>
                    <a:gd name="connsiteY182" fmla="*/ 796503 h 1016771"/>
                    <a:gd name="connsiteX183" fmla="*/ 378687 w 761692"/>
                    <a:gd name="connsiteY183" fmla="*/ 789722 h 1016771"/>
                    <a:gd name="connsiteX184" fmla="*/ 366820 w 761692"/>
                    <a:gd name="connsiteY184" fmla="*/ 782940 h 1016771"/>
                    <a:gd name="connsiteX185" fmla="*/ 356648 w 761692"/>
                    <a:gd name="connsiteY185" fmla="*/ 781245 h 1016771"/>
                    <a:gd name="connsiteX186" fmla="*/ 349866 w 761692"/>
                    <a:gd name="connsiteY186" fmla="*/ 771073 h 1016771"/>
                    <a:gd name="connsiteX187" fmla="*/ 349866 w 761692"/>
                    <a:gd name="connsiteY187" fmla="*/ 752425 h 1016771"/>
                    <a:gd name="connsiteX188" fmla="*/ 353257 w 761692"/>
                    <a:gd name="connsiteY188" fmla="*/ 743948 h 1016771"/>
                    <a:gd name="connsiteX189" fmla="*/ 354952 w 761692"/>
                    <a:gd name="connsiteY189" fmla="*/ 730385 h 1016771"/>
                    <a:gd name="connsiteX190" fmla="*/ 353257 w 761692"/>
                    <a:gd name="connsiteY190" fmla="*/ 713432 h 1016771"/>
                    <a:gd name="connsiteX191" fmla="*/ 346476 w 761692"/>
                    <a:gd name="connsiteY191" fmla="*/ 701565 h 1016771"/>
                    <a:gd name="connsiteX192" fmla="*/ 332913 w 761692"/>
                    <a:gd name="connsiteY192" fmla="*/ 689697 h 1016771"/>
                    <a:gd name="connsiteX193" fmla="*/ 324436 w 761692"/>
                    <a:gd name="connsiteY193" fmla="*/ 681221 h 1016771"/>
                    <a:gd name="connsiteX194" fmla="*/ 314264 w 761692"/>
                    <a:gd name="connsiteY194" fmla="*/ 676135 h 1016771"/>
                    <a:gd name="connsiteX195" fmla="*/ 293920 w 761692"/>
                    <a:gd name="connsiteY195" fmla="*/ 669354 h 1016771"/>
                    <a:gd name="connsiteX196" fmla="*/ 282053 w 761692"/>
                    <a:gd name="connsiteY196" fmla="*/ 667658 h 1016771"/>
                    <a:gd name="connsiteX197" fmla="*/ 266795 w 761692"/>
                    <a:gd name="connsiteY197" fmla="*/ 672744 h 1016771"/>
                    <a:gd name="connsiteX198" fmla="*/ 265100 w 761692"/>
                    <a:gd name="connsiteY198" fmla="*/ 672744 h 1016771"/>
                    <a:gd name="connsiteX199" fmla="*/ 263404 w 761692"/>
                    <a:gd name="connsiteY199" fmla="*/ 671049 h 1016771"/>
                    <a:gd name="connsiteX200" fmla="*/ 260014 w 761692"/>
                    <a:gd name="connsiteY200" fmla="*/ 671049 h 1016771"/>
                    <a:gd name="connsiteX201" fmla="*/ 258318 w 761692"/>
                    <a:gd name="connsiteY201" fmla="*/ 671049 h 1016771"/>
                    <a:gd name="connsiteX202" fmla="*/ 253232 w 761692"/>
                    <a:gd name="connsiteY202" fmla="*/ 671049 h 1016771"/>
                    <a:gd name="connsiteX203" fmla="*/ 248146 w 761692"/>
                    <a:gd name="connsiteY203" fmla="*/ 672744 h 1016771"/>
                    <a:gd name="connsiteX204" fmla="*/ 248146 w 761692"/>
                    <a:gd name="connsiteY204" fmla="*/ 674440 h 1016771"/>
                    <a:gd name="connsiteX205" fmla="*/ 246451 w 761692"/>
                    <a:gd name="connsiteY205" fmla="*/ 674440 h 1016771"/>
                    <a:gd name="connsiteX206" fmla="*/ 236279 w 761692"/>
                    <a:gd name="connsiteY206" fmla="*/ 679526 h 1016771"/>
                    <a:gd name="connsiteX207" fmla="*/ 226107 w 761692"/>
                    <a:gd name="connsiteY207" fmla="*/ 684612 h 1016771"/>
                    <a:gd name="connsiteX208" fmla="*/ 217630 w 761692"/>
                    <a:gd name="connsiteY208" fmla="*/ 684612 h 1016771"/>
                    <a:gd name="connsiteX209" fmla="*/ 207458 w 761692"/>
                    <a:gd name="connsiteY209" fmla="*/ 693088 h 1016771"/>
                    <a:gd name="connsiteX210" fmla="*/ 198982 w 761692"/>
                    <a:gd name="connsiteY210" fmla="*/ 694783 h 1016771"/>
                    <a:gd name="connsiteX211" fmla="*/ 192200 w 761692"/>
                    <a:gd name="connsiteY211" fmla="*/ 699869 h 1016771"/>
                    <a:gd name="connsiteX212" fmla="*/ 178638 w 761692"/>
                    <a:gd name="connsiteY212" fmla="*/ 706651 h 1016771"/>
                    <a:gd name="connsiteX213" fmla="*/ 163380 w 761692"/>
                    <a:gd name="connsiteY213" fmla="*/ 710041 h 1016771"/>
                    <a:gd name="connsiteX214" fmla="*/ 141340 w 761692"/>
                    <a:gd name="connsiteY214" fmla="*/ 710041 h 1016771"/>
                    <a:gd name="connsiteX215" fmla="*/ 134559 w 761692"/>
                    <a:gd name="connsiteY215" fmla="*/ 716823 h 1016771"/>
                    <a:gd name="connsiteX216" fmla="*/ 127778 w 761692"/>
                    <a:gd name="connsiteY216" fmla="*/ 718518 h 1016771"/>
                    <a:gd name="connsiteX217" fmla="*/ 120996 w 761692"/>
                    <a:gd name="connsiteY217" fmla="*/ 725299 h 1016771"/>
                    <a:gd name="connsiteX218" fmla="*/ 111172 w 761692"/>
                    <a:gd name="connsiteY218" fmla="*/ 733720 h 1016771"/>
                    <a:gd name="connsiteX219" fmla="*/ 106283 w 761692"/>
                    <a:gd name="connsiteY219" fmla="*/ 729808 h 1016771"/>
                    <a:gd name="connsiteX220" fmla="*/ 92112 w 761692"/>
                    <a:gd name="connsiteY220" fmla="*/ 724494 h 1016771"/>
                    <a:gd name="connsiteX221" fmla="*/ 77941 w 761692"/>
                    <a:gd name="connsiteY221" fmla="*/ 726265 h 1016771"/>
                    <a:gd name="connsiteX222" fmla="*/ 70855 w 761692"/>
                    <a:gd name="connsiteY222" fmla="*/ 719180 h 1016771"/>
                    <a:gd name="connsiteX223" fmla="*/ 70855 w 761692"/>
                    <a:gd name="connsiteY223" fmla="*/ 699695 h 1016771"/>
                    <a:gd name="connsiteX224" fmla="*/ 81483 w 761692"/>
                    <a:gd name="connsiteY224" fmla="*/ 685524 h 1016771"/>
                    <a:gd name="connsiteX225" fmla="*/ 85026 w 761692"/>
                    <a:gd name="connsiteY225" fmla="*/ 673124 h 1016771"/>
                    <a:gd name="connsiteX226" fmla="*/ 86797 w 761692"/>
                    <a:gd name="connsiteY226" fmla="*/ 660724 h 1016771"/>
                    <a:gd name="connsiteX227" fmla="*/ 97426 w 761692"/>
                    <a:gd name="connsiteY227" fmla="*/ 650096 h 1016771"/>
                    <a:gd name="connsiteX228" fmla="*/ 102740 w 761692"/>
                    <a:gd name="connsiteY228" fmla="*/ 635925 h 1016771"/>
                    <a:gd name="connsiteX229" fmla="*/ 113368 w 761692"/>
                    <a:gd name="connsiteY229" fmla="*/ 625297 h 1016771"/>
                    <a:gd name="connsiteX230" fmla="*/ 115139 w 761692"/>
                    <a:gd name="connsiteY230" fmla="*/ 612897 h 1016771"/>
                    <a:gd name="connsiteX231" fmla="*/ 127539 w 761692"/>
                    <a:gd name="connsiteY231" fmla="*/ 609354 h 1016771"/>
                    <a:gd name="connsiteX232" fmla="*/ 136396 w 761692"/>
                    <a:gd name="connsiteY232" fmla="*/ 604040 h 1016771"/>
                    <a:gd name="connsiteX233" fmla="*/ 132853 w 761692"/>
                    <a:gd name="connsiteY233" fmla="*/ 593412 h 1016771"/>
                    <a:gd name="connsiteX234" fmla="*/ 134625 w 761692"/>
                    <a:gd name="connsiteY234" fmla="*/ 584555 h 1016771"/>
                    <a:gd name="connsiteX235" fmla="*/ 131082 w 761692"/>
                    <a:gd name="connsiteY235" fmla="*/ 575698 h 1016771"/>
                    <a:gd name="connsiteX236" fmla="*/ 120454 w 761692"/>
                    <a:gd name="connsiteY236" fmla="*/ 568613 h 1016771"/>
                    <a:gd name="connsiteX237" fmla="*/ 125768 w 761692"/>
                    <a:gd name="connsiteY237" fmla="*/ 552670 h 1016771"/>
                    <a:gd name="connsiteX238" fmla="*/ 118682 w 761692"/>
                    <a:gd name="connsiteY238" fmla="*/ 543813 h 1016771"/>
                    <a:gd name="connsiteX239" fmla="*/ 90340 w 761692"/>
                    <a:gd name="connsiteY239" fmla="*/ 543813 h 1016771"/>
                    <a:gd name="connsiteX240" fmla="*/ 86797 w 761692"/>
                    <a:gd name="connsiteY240" fmla="*/ 542042 h 1016771"/>
                    <a:gd name="connsiteX241" fmla="*/ 83255 w 761692"/>
                    <a:gd name="connsiteY241" fmla="*/ 542042 h 1016771"/>
                    <a:gd name="connsiteX242" fmla="*/ 81483 w 761692"/>
                    <a:gd name="connsiteY242" fmla="*/ 540271 h 1016771"/>
                    <a:gd name="connsiteX243" fmla="*/ 81483 w 761692"/>
                    <a:gd name="connsiteY243" fmla="*/ 536728 h 1016771"/>
                    <a:gd name="connsiteX244" fmla="*/ 79712 w 761692"/>
                    <a:gd name="connsiteY244" fmla="*/ 531414 h 1016771"/>
                    <a:gd name="connsiteX245" fmla="*/ 77941 w 761692"/>
                    <a:gd name="connsiteY245" fmla="*/ 529642 h 1016771"/>
                    <a:gd name="connsiteX246" fmla="*/ 70855 w 761692"/>
                    <a:gd name="connsiteY246" fmla="*/ 527871 h 1016771"/>
                    <a:gd name="connsiteX247" fmla="*/ 60227 w 761692"/>
                    <a:gd name="connsiteY247" fmla="*/ 536728 h 1016771"/>
                    <a:gd name="connsiteX248" fmla="*/ 47827 w 761692"/>
                    <a:gd name="connsiteY248" fmla="*/ 526100 h 1016771"/>
                    <a:gd name="connsiteX249" fmla="*/ 42513 w 761692"/>
                    <a:gd name="connsiteY249" fmla="*/ 515471 h 1016771"/>
                    <a:gd name="connsiteX250" fmla="*/ 33656 w 761692"/>
                    <a:gd name="connsiteY250" fmla="*/ 506614 h 1016771"/>
                    <a:gd name="connsiteX251" fmla="*/ 31885 w 761692"/>
                    <a:gd name="connsiteY251" fmla="*/ 490672 h 1016771"/>
                    <a:gd name="connsiteX252" fmla="*/ 26571 w 761692"/>
                    <a:gd name="connsiteY252" fmla="*/ 476501 h 1016771"/>
                    <a:gd name="connsiteX253" fmla="*/ 24799 w 761692"/>
                    <a:gd name="connsiteY253" fmla="*/ 471187 h 1016771"/>
                    <a:gd name="connsiteX254" fmla="*/ 12400 w 761692"/>
                    <a:gd name="connsiteY254" fmla="*/ 472958 h 1016771"/>
                    <a:gd name="connsiteX255" fmla="*/ 7086 w 761692"/>
                    <a:gd name="connsiteY255" fmla="*/ 464101 h 1016771"/>
                    <a:gd name="connsiteX256" fmla="*/ 8857 w 761692"/>
                    <a:gd name="connsiteY256" fmla="*/ 446388 h 1016771"/>
                    <a:gd name="connsiteX257" fmla="*/ 3543 w 761692"/>
                    <a:gd name="connsiteY257" fmla="*/ 435759 h 1016771"/>
                    <a:gd name="connsiteX258" fmla="*/ 5314 w 761692"/>
                    <a:gd name="connsiteY258" fmla="*/ 412731 h 1016771"/>
                    <a:gd name="connsiteX259" fmla="*/ 0 w 761692"/>
                    <a:gd name="connsiteY259" fmla="*/ 396789 h 1016771"/>
                    <a:gd name="connsiteX260" fmla="*/ 3543 w 761692"/>
                    <a:gd name="connsiteY260" fmla="*/ 384389 h 1016771"/>
                    <a:gd name="connsiteX261" fmla="*/ 14171 w 761692"/>
                    <a:gd name="connsiteY261" fmla="*/ 380846 h 1016771"/>
                    <a:gd name="connsiteX262" fmla="*/ 24799 w 761692"/>
                    <a:gd name="connsiteY262" fmla="*/ 364904 h 1016771"/>
                    <a:gd name="connsiteX263" fmla="*/ 30113 w 761692"/>
                    <a:gd name="connsiteY263" fmla="*/ 350733 h 1016771"/>
                    <a:gd name="connsiteX264" fmla="*/ 35428 w 761692"/>
                    <a:gd name="connsiteY264" fmla="*/ 341876 h 1016771"/>
                    <a:gd name="connsiteX265" fmla="*/ 42513 w 761692"/>
                    <a:gd name="connsiteY265" fmla="*/ 327705 h 1016771"/>
                    <a:gd name="connsiteX266" fmla="*/ 42513 w 761692"/>
                    <a:gd name="connsiteY266" fmla="*/ 315305 h 1016771"/>
                    <a:gd name="connsiteX267" fmla="*/ 56684 w 761692"/>
                    <a:gd name="connsiteY267" fmla="*/ 309991 h 1016771"/>
                    <a:gd name="connsiteX268" fmla="*/ 60227 w 761692"/>
                    <a:gd name="connsiteY268" fmla="*/ 309991 h 1016771"/>
                    <a:gd name="connsiteX269" fmla="*/ 61998 w 761692"/>
                    <a:gd name="connsiteY269" fmla="*/ 311763 h 1016771"/>
                    <a:gd name="connsiteX270" fmla="*/ 67312 w 761692"/>
                    <a:gd name="connsiteY270" fmla="*/ 311763 h 1016771"/>
                    <a:gd name="connsiteX271" fmla="*/ 67312 w 761692"/>
                    <a:gd name="connsiteY271" fmla="*/ 309991 h 1016771"/>
                    <a:gd name="connsiteX272" fmla="*/ 67312 w 761692"/>
                    <a:gd name="connsiteY272" fmla="*/ 308220 h 1016771"/>
                    <a:gd name="connsiteX273" fmla="*/ 69084 w 761692"/>
                    <a:gd name="connsiteY273" fmla="*/ 302906 h 1016771"/>
                    <a:gd name="connsiteX274" fmla="*/ 70855 w 761692"/>
                    <a:gd name="connsiteY274" fmla="*/ 301134 h 1016771"/>
                    <a:gd name="connsiteX275" fmla="*/ 70855 w 761692"/>
                    <a:gd name="connsiteY275" fmla="*/ 299363 h 1016771"/>
                    <a:gd name="connsiteX276" fmla="*/ 77941 w 761692"/>
                    <a:gd name="connsiteY276" fmla="*/ 295820 h 1016771"/>
                    <a:gd name="connsiteX277" fmla="*/ 85026 w 761692"/>
                    <a:gd name="connsiteY277" fmla="*/ 295820 h 1016771"/>
                    <a:gd name="connsiteX278" fmla="*/ 93883 w 761692"/>
                    <a:gd name="connsiteY278" fmla="*/ 297592 h 1016771"/>
                    <a:gd name="connsiteX279" fmla="*/ 100968 w 761692"/>
                    <a:gd name="connsiteY279" fmla="*/ 288735 h 1016771"/>
                    <a:gd name="connsiteX280" fmla="*/ 97426 w 761692"/>
                    <a:gd name="connsiteY280" fmla="*/ 279878 h 1016771"/>
                    <a:gd name="connsiteX281" fmla="*/ 85026 w 761692"/>
                    <a:gd name="connsiteY281" fmla="*/ 276335 h 1016771"/>
                    <a:gd name="connsiteX282" fmla="*/ 76169 w 761692"/>
                    <a:gd name="connsiteY282" fmla="*/ 271021 h 1016771"/>
                    <a:gd name="connsiteX283" fmla="*/ 76169 w 761692"/>
                    <a:gd name="connsiteY283" fmla="*/ 262164 h 1016771"/>
                    <a:gd name="connsiteX284" fmla="*/ 81483 w 761692"/>
                    <a:gd name="connsiteY284" fmla="*/ 251536 h 1016771"/>
                    <a:gd name="connsiteX285" fmla="*/ 86797 w 761692"/>
                    <a:gd name="connsiteY285" fmla="*/ 255079 h 1016771"/>
                    <a:gd name="connsiteX286" fmla="*/ 104511 w 761692"/>
                    <a:gd name="connsiteY286" fmla="*/ 262164 h 1016771"/>
                    <a:gd name="connsiteX287" fmla="*/ 116911 w 761692"/>
                    <a:gd name="connsiteY287" fmla="*/ 265707 h 1016771"/>
                    <a:gd name="connsiteX288" fmla="*/ 132853 w 761692"/>
                    <a:gd name="connsiteY288" fmla="*/ 269250 h 1016771"/>
                    <a:gd name="connsiteX289" fmla="*/ 138167 w 761692"/>
                    <a:gd name="connsiteY289" fmla="*/ 265707 h 1016771"/>
                    <a:gd name="connsiteX290" fmla="*/ 150567 w 761692"/>
                    <a:gd name="connsiteY290" fmla="*/ 255079 h 1016771"/>
                    <a:gd name="connsiteX291" fmla="*/ 166509 w 761692"/>
                    <a:gd name="connsiteY291" fmla="*/ 255079 h 1016771"/>
                    <a:gd name="connsiteX292" fmla="*/ 166509 w 761692"/>
                    <a:gd name="connsiteY292" fmla="*/ 265707 h 1016771"/>
                    <a:gd name="connsiteX293" fmla="*/ 177138 w 761692"/>
                    <a:gd name="connsiteY293" fmla="*/ 272792 h 1016771"/>
                    <a:gd name="connsiteX294" fmla="*/ 194851 w 761692"/>
                    <a:gd name="connsiteY294" fmla="*/ 276335 h 1016771"/>
                    <a:gd name="connsiteX295" fmla="*/ 209022 w 761692"/>
                    <a:gd name="connsiteY295" fmla="*/ 279878 h 1016771"/>
                    <a:gd name="connsiteX296" fmla="*/ 221422 w 761692"/>
                    <a:gd name="connsiteY296" fmla="*/ 276335 h 1016771"/>
                    <a:gd name="connsiteX297" fmla="*/ 226736 w 761692"/>
                    <a:gd name="connsiteY297" fmla="*/ 269250 h 1016771"/>
                    <a:gd name="connsiteX298" fmla="*/ 226736 w 761692"/>
                    <a:gd name="connsiteY298" fmla="*/ 251536 h 1016771"/>
                    <a:gd name="connsiteX299" fmla="*/ 224965 w 761692"/>
                    <a:gd name="connsiteY299" fmla="*/ 239136 h 1016771"/>
                    <a:gd name="connsiteX300" fmla="*/ 214337 w 761692"/>
                    <a:gd name="connsiteY300" fmla="*/ 230279 h 1016771"/>
                    <a:gd name="connsiteX301" fmla="*/ 210794 w 761692"/>
                    <a:gd name="connsiteY301" fmla="*/ 217880 h 1016771"/>
                    <a:gd name="connsiteX302" fmla="*/ 221422 w 761692"/>
                    <a:gd name="connsiteY302" fmla="*/ 207251 h 1016771"/>
                    <a:gd name="connsiteX303" fmla="*/ 235593 w 761692"/>
                    <a:gd name="connsiteY303" fmla="*/ 214337 h 1016771"/>
                    <a:gd name="connsiteX304" fmla="*/ 246221 w 761692"/>
                    <a:gd name="connsiteY304" fmla="*/ 219651 h 1016771"/>
                    <a:gd name="connsiteX305" fmla="*/ 253307 w 761692"/>
                    <a:gd name="connsiteY305" fmla="*/ 221422 h 1016771"/>
                    <a:gd name="connsiteX306" fmla="*/ 262164 w 761692"/>
                    <a:gd name="connsiteY306" fmla="*/ 210794 h 1016771"/>
                    <a:gd name="connsiteX307" fmla="*/ 263935 w 761692"/>
                    <a:gd name="connsiteY307" fmla="*/ 201937 h 1016771"/>
                    <a:gd name="connsiteX308" fmla="*/ 274563 w 761692"/>
                    <a:gd name="connsiteY308" fmla="*/ 189538 h 1016771"/>
                    <a:gd name="connsiteX309" fmla="*/ 283420 w 761692"/>
                    <a:gd name="connsiteY309" fmla="*/ 178909 h 1016771"/>
                    <a:gd name="connsiteX310" fmla="*/ 286963 w 761692"/>
                    <a:gd name="connsiteY310" fmla="*/ 173595 h 1016771"/>
                    <a:gd name="connsiteX311" fmla="*/ 311762 w 761692"/>
                    <a:gd name="connsiteY311" fmla="*/ 168281 h 1016771"/>
                    <a:gd name="connsiteX312" fmla="*/ 325933 w 761692"/>
                    <a:gd name="connsiteY312" fmla="*/ 164738 h 1016771"/>
                    <a:gd name="connsiteX313" fmla="*/ 336562 w 761692"/>
                    <a:gd name="connsiteY313" fmla="*/ 159424 h 1016771"/>
                    <a:gd name="connsiteX314" fmla="*/ 348961 w 761692"/>
                    <a:gd name="connsiteY314" fmla="*/ 145253 h 1016771"/>
                    <a:gd name="connsiteX315" fmla="*/ 359589 w 761692"/>
                    <a:gd name="connsiteY315" fmla="*/ 143482 h 1016771"/>
                    <a:gd name="connsiteX316" fmla="*/ 371989 w 761692"/>
                    <a:gd name="connsiteY316" fmla="*/ 143482 h 1016771"/>
                    <a:gd name="connsiteX317" fmla="*/ 391474 w 761692"/>
                    <a:gd name="connsiteY317" fmla="*/ 143482 h 1016771"/>
                    <a:gd name="connsiteX318" fmla="*/ 396788 w 761692"/>
                    <a:gd name="connsiteY318" fmla="*/ 141710 h 1016771"/>
                    <a:gd name="connsiteX319" fmla="*/ 403874 w 761692"/>
                    <a:gd name="connsiteY319" fmla="*/ 134625 h 1016771"/>
                    <a:gd name="connsiteX320" fmla="*/ 409188 w 761692"/>
                    <a:gd name="connsiteY320" fmla="*/ 129311 h 1016771"/>
                    <a:gd name="connsiteX321" fmla="*/ 409188 w 761692"/>
                    <a:gd name="connsiteY321" fmla="*/ 123997 h 1016771"/>
                    <a:gd name="connsiteX322" fmla="*/ 414502 w 761692"/>
                    <a:gd name="connsiteY322" fmla="*/ 115140 h 1016771"/>
                    <a:gd name="connsiteX323" fmla="*/ 428673 w 761692"/>
                    <a:gd name="connsiteY323" fmla="*/ 115140 h 1016771"/>
                    <a:gd name="connsiteX324" fmla="*/ 432216 w 761692"/>
                    <a:gd name="connsiteY324" fmla="*/ 109826 h 1016771"/>
                    <a:gd name="connsiteX325" fmla="*/ 437530 w 761692"/>
                    <a:gd name="connsiteY325" fmla="*/ 100969 h 1016771"/>
                    <a:gd name="connsiteX326" fmla="*/ 448158 w 761692"/>
                    <a:gd name="connsiteY326" fmla="*/ 99197 h 1016771"/>
                    <a:gd name="connsiteX327" fmla="*/ 460558 w 761692"/>
                    <a:gd name="connsiteY327" fmla="*/ 97426 h 1016771"/>
                    <a:gd name="connsiteX328" fmla="*/ 472958 w 761692"/>
                    <a:gd name="connsiteY328" fmla="*/ 93883 h 1016771"/>
                    <a:gd name="connsiteX329" fmla="*/ 492443 w 761692"/>
                    <a:gd name="connsiteY329" fmla="*/ 93883 h 1016771"/>
                    <a:gd name="connsiteX330" fmla="*/ 501300 w 761692"/>
                    <a:gd name="connsiteY330" fmla="*/ 83255 h 1016771"/>
                    <a:gd name="connsiteX331" fmla="*/ 517242 w 761692"/>
                    <a:gd name="connsiteY331" fmla="*/ 81484 h 1016771"/>
                    <a:gd name="connsiteX332" fmla="*/ 522556 w 761692"/>
                    <a:gd name="connsiteY332" fmla="*/ 81484 h 1016771"/>
                    <a:gd name="connsiteX333" fmla="*/ 522556 w 761692"/>
                    <a:gd name="connsiteY333" fmla="*/ 60227 h 1016771"/>
                    <a:gd name="connsiteX334" fmla="*/ 526099 w 761692"/>
                    <a:gd name="connsiteY334" fmla="*/ 54913 h 1016771"/>
                    <a:gd name="connsiteX335" fmla="*/ 529642 w 761692"/>
                    <a:gd name="connsiteY335" fmla="*/ 46056 h 1016771"/>
                    <a:gd name="connsiteX336" fmla="*/ 538499 w 761692"/>
                    <a:gd name="connsiteY336" fmla="*/ 40742 h 1016771"/>
                    <a:gd name="connsiteX337" fmla="*/ 540270 w 761692"/>
                    <a:gd name="connsiteY337" fmla="*/ 30114 h 1016771"/>
                    <a:gd name="connsiteX338" fmla="*/ 536727 w 761692"/>
                    <a:gd name="connsiteY338" fmla="*/ 19485 h 1016771"/>
                    <a:gd name="connsiteX339" fmla="*/ 543813 w 761692"/>
                    <a:gd name="connsiteY339" fmla="*/ 5314 h 1016771"/>
                    <a:gd name="connsiteX340" fmla="*/ 554441 w 761692"/>
                    <a:gd name="connsiteY340" fmla="*/ 0 h 1016771"/>
                    <a:gd name="connsiteX0" fmla="*/ 283748 w 761692"/>
                    <a:gd name="connsiteY0" fmla="*/ 901613 h 1016771"/>
                    <a:gd name="connsiteX1" fmla="*/ 307483 w 761692"/>
                    <a:gd name="connsiteY1" fmla="*/ 901613 h 1016771"/>
                    <a:gd name="connsiteX2" fmla="*/ 311729 w 761692"/>
                    <a:gd name="connsiteY2" fmla="*/ 903178 h 1016771"/>
                    <a:gd name="connsiteX3" fmla="*/ 299363 w 761692"/>
                    <a:gd name="connsiteY3" fmla="*/ 901632 h 1016771"/>
                    <a:gd name="connsiteX4" fmla="*/ 288734 w 761692"/>
                    <a:gd name="connsiteY4" fmla="*/ 903403 h 1016771"/>
                    <a:gd name="connsiteX5" fmla="*/ 283420 w 761692"/>
                    <a:gd name="connsiteY5" fmla="*/ 915803 h 1016771"/>
                    <a:gd name="connsiteX6" fmla="*/ 271021 w 761692"/>
                    <a:gd name="connsiteY6" fmla="*/ 912260 h 1016771"/>
                    <a:gd name="connsiteX7" fmla="*/ 270666 w 761692"/>
                    <a:gd name="connsiteY7" fmla="*/ 911196 h 1016771"/>
                    <a:gd name="connsiteX8" fmla="*/ 278662 w 761692"/>
                    <a:gd name="connsiteY8" fmla="*/ 913481 h 1016771"/>
                    <a:gd name="connsiteX9" fmla="*/ 283748 w 761692"/>
                    <a:gd name="connsiteY9" fmla="*/ 901613 h 1016771"/>
                    <a:gd name="connsiteX10" fmla="*/ 222919 w 761692"/>
                    <a:gd name="connsiteY10" fmla="*/ 879608 h 1016771"/>
                    <a:gd name="connsiteX11" fmla="*/ 243060 w 761692"/>
                    <a:gd name="connsiteY11" fmla="*/ 882965 h 1016771"/>
                    <a:gd name="connsiteX12" fmla="*/ 243990 w 761692"/>
                    <a:gd name="connsiteY12" fmla="*/ 883546 h 1016771"/>
                    <a:gd name="connsiteX13" fmla="*/ 224965 w 761692"/>
                    <a:gd name="connsiteY13" fmla="*/ 880375 h 1016771"/>
                    <a:gd name="connsiteX14" fmla="*/ 222919 w 761692"/>
                    <a:gd name="connsiteY14" fmla="*/ 879608 h 1016771"/>
                    <a:gd name="connsiteX15" fmla="*/ 159250 w 761692"/>
                    <a:gd name="connsiteY15" fmla="*/ 829179 h 1016771"/>
                    <a:gd name="connsiteX16" fmla="*/ 159989 w 761692"/>
                    <a:gd name="connsiteY16" fmla="*/ 830410 h 1016771"/>
                    <a:gd name="connsiteX17" fmla="*/ 151512 w 761692"/>
                    <a:gd name="connsiteY17" fmla="*/ 838886 h 1016771"/>
                    <a:gd name="connsiteX18" fmla="*/ 149817 w 761692"/>
                    <a:gd name="connsiteY18" fmla="*/ 840582 h 1016771"/>
                    <a:gd name="connsiteX19" fmla="*/ 148122 w 761692"/>
                    <a:gd name="connsiteY19" fmla="*/ 842277 h 1016771"/>
                    <a:gd name="connsiteX20" fmla="*/ 146426 w 761692"/>
                    <a:gd name="connsiteY20" fmla="*/ 843972 h 1016771"/>
                    <a:gd name="connsiteX21" fmla="*/ 141340 w 761692"/>
                    <a:gd name="connsiteY21" fmla="*/ 849058 h 1016771"/>
                    <a:gd name="connsiteX22" fmla="*/ 141340 w 761692"/>
                    <a:gd name="connsiteY22" fmla="*/ 850754 h 1016771"/>
                    <a:gd name="connsiteX23" fmla="*/ 139645 w 761692"/>
                    <a:gd name="connsiteY23" fmla="*/ 852449 h 1016771"/>
                    <a:gd name="connsiteX24" fmla="*/ 139645 w 761692"/>
                    <a:gd name="connsiteY24" fmla="*/ 860925 h 1016771"/>
                    <a:gd name="connsiteX25" fmla="*/ 148122 w 761692"/>
                    <a:gd name="connsiteY25" fmla="*/ 867707 h 1016771"/>
                    <a:gd name="connsiteX26" fmla="*/ 158294 w 761692"/>
                    <a:gd name="connsiteY26" fmla="*/ 879574 h 1016771"/>
                    <a:gd name="connsiteX27" fmla="*/ 175247 w 761692"/>
                    <a:gd name="connsiteY27" fmla="*/ 889746 h 1016771"/>
                    <a:gd name="connsiteX28" fmla="*/ 188810 w 761692"/>
                    <a:gd name="connsiteY28" fmla="*/ 893137 h 1016771"/>
                    <a:gd name="connsiteX29" fmla="*/ 195591 w 761692"/>
                    <a:gd name="connsiteY29" fmla="*/ 893137 h 1016771"/>
                    <a:gd name="connsiteX30" fmla="*/ 202372 w 761692"/>
                    <a:gd name="connsiteY30" fmla="*/ 886355 h 1016771"/>
                    <a:gd name="connsiteX31" fmla="*/ 200677 w 761692"/>
                    <a:gd name="connsiteY31" fmla="*/ 877879 h 1016771"/>
                    <a:gd name="connsiteX32" fmla="*/ 209154 w 761692"/>
                    <a:gd name="connsiteY32" fmla="*/ 874488 h 1016771"/>
                    <a:gd name="connsiteX33" fmla="*/ 210740 w 761692"/>
                    <a:gd name="connsiteY33" fmla="*/ 875083 h 1016771"/>
                    <a:gd name="connsiteX34" fmla="*/ 201937 w 761692"/>
                    <a:gd name="connsiteY34" fmla="*/ 878604 h 1016771"/>
                    <a:gd name="connsiteX35" fmla="*/ 203708 w 761692"/>
                    <a:gd name="connsiteY35" fmla="*/ 887461 h 1016771"/>
                    <a:gd name="connsiteX36" fmla="*/ 196623 w 761692"/>
                    <a:gd name="connsiteY36" fmla="*/ 894546 h 1016771"/>
                    <a:gd name="connsiteX37" fmla="*/ 189537 w 761692"/>
                    <a:gd name="connsiteY37" fmla="*/ 894546 h 1016771"/>
                    <a:gd name="connsiteX38" fmla="*/ 175366 w 761692"/>
                    <a:gd name="connsiteY38" fmla="*/ 891003 h 1016771"/>
                    <a:gd name="connsiteX39" fmla="*/ 157653 w 761692"/>
                    <a:gd name="connsiteY39" fmla="*/ 880375 h 1016771"/>
                    <a:gd name="connsiteX40" fmla="*/ 147024 w 761692"/>
                    <a:gd name="connsiteY40" fmla="*/ 867975 h 1016771"/>
                    <a:gd name="connsiteX41" fmla="*/ 138167 w 761692"/>
                    <a:gd name="connsiteY41" fmla="*/ 860890 h 1016771"/>
                    <a:gd name="connsiteX42" fmla="*/ 138167 w 761692"/>
                    <a:gd name="connsiteY42" fmla="*/ 852033 h 1016771"/>
                    <a:gd name="connsiteX43" fmla="*/ 139939 w 761692"/>
                    <a:gd name="connsiteY43" fmla="*/ 850262 h 1016771"/>
                    <a:gd name="connsiteX44" fmla="*/ 139939 w 761692"/>
                    <a:gd name="connsiteY44" fmla="*/ 848490 h 1016771"/>
                    <a:gd name="connsiteX45" fmla="*/ 145253 w 761692"/>
                    <a:gd name="connsiteY45" fmla="*/ 843176 h 1016771"/>
                    <a:gd name="connsiteX46" fmla="*/ 147024 w 761692"/>
                    <a:gd name="connsiteY46" fmla="*/ 841405 h 1016771"/>
                    <a:gd name="connsiteX47" fmla="*/ 148796 w 761692"/>
                    <a:gd name="connsiteY47" fmla="*/ 839633 h 1016771"/>
                    <a:gd name="connsiteX48" fmla="*/ 150567 w 761692"/>
                    <a:gd name="connsiteY48" fmla="*/ 837862 h 1016771"/>
                    <a:gd name="connsiteX49" fmla="*/ 159250 w 761692"/>
                    <a:gd name="connsiteY49" fmla="*/ 829179 h 1016771"/>
                    <a:gd name="connsiteX50" fmla="*/ 116476 w 761692"/>
                    <a:gd name="connsiteY50" fmla="*/ 741349 h 1016771"/>
                    <a:gd name="connsiteX51" fmla="*/ 117606 w 761692"/>
                    <a:gd name="connsiteY51" fmla="*/ 742253 h 1016771"/>
                    <a:gd name="connsiteX52" fmla="*/ 122692 w 761692"/>
                    <a:gd name="connsiteY52" fmla="*/ 759206 h 1016771"/>
                    <a:gd name="connsiteX53" fmla="*/ 126082 w 761692"/>
                    <a:gd name="connsiteY53" fmla="*/ 771073 h 1016771"/>
                    <a:gd name="connsiteX54" fmla="*/ 129473 w 761692"/>
                    <a:gd name="connsiteY54" fmla="*/ 782940 h 1016771"/>
                    <a:gd name="connsiteX55" fmla="*/ 132864 w 761692"/>
                    <a:gd name="connsiteY55" fmla="*/ 793112 h 1016771"/>
                    <a:gd name="connsiteX56" fmla="*/ 136254 w 761692"/>
                    <a:gd name="connsiteY56" fmla="*/ 810066 h 1016771"/>
                    <a:gd name="connsiteX57" fmla="*/ 139058 w 761692"/>
                    <a:gd name="connsiteY57" fmla="*/ 818476 h 1016771"/>
                    <a:gd name="connsiteX58" fmla="*/ 138167 w 761692"/>
                    <a:gd name="connsiteY58" fmla="*/ 818377 h 1016771"/>
                    <a:gd name="connsiteX59" fmla="*/ 134625 w 761692"/>
                    <a:gd name="connsiteY59" fmla="*/ 807749 h 1016771"/>
                    <a:gd name="connsiteX60" fmla="*/ 131082 w 761692"/>
                    <a:gd name="connsiteY60" fmla="*/ 790035 h 1016771"/>
                    <a:gd name="connsiteX61" fmla="*/ 127539 w 761692"/>
                    <a:gd name="connsiteY61" fmla="*/ 779407 h 1016771"/>
                    <a:gd name="connsiteX62" fmla="*/ 123996 w 761692"/>
                    <a:gd name="connsiteY62" fmla="*/ 767007 h 1016771"/>
                    <a:gd name="connsiteX63" fmla="*/ 120454 w 761692"/>
                    <a:gd name="connsiteY63" fmla="*/ 754607 h 1016771"/>
                    <a:gd name="connsiteX64" fmla="*/ 116476 w 761692"/>
                    <a:gd name="connsiteY64" fmla="*/ 741349 h 1016771"/>
                    <a:gd name="connsiteX65" fmla="*/ 554441 w 761692"/>
                    <a:gd name="connsiteY65" fmla="*/ 0 h 1016771"/>
                    <a:gd name="connsiteX66" fmla="*/ 570383 w 761692"/>
                    <a:gd name="connsiteY66" fmla="*/ 3543 h 1016771"/>
                    <a:gd name="connsiteX67" fmla="*/ 577469 w 761692"/>
                    <a:gd name="connsiteY67" fmla="*/ 8857 h 1016771"/>
                    <a:gd name="connsiteX68" fmla="*/ 582783 w 761692"/>
                    <a:gd name="connsiteY68" fmla="*/ 17714 h 1016771"/>
                    <a:gd name="connsiteX69" fmla="*/ 582783 w 761692"/>
                    <a:gd name="connsiteY69" fmla="*/ 24799 h 1016771"/>
                    <a:gd name="connsiteX70" fmla="*/ 588097 w 761692"/>
                    <a:gd name="connsiteY70" fmla="*/ 33656 h 1016771"/>
                    <a:gd name="connsiteX71" fmla="*/ 598725 w 761692"/>
                    <a:gd name="connsiteY71" fmla="*/ 31885 h 1016771"/>
                    <a:gd name="connsiteX72" fmla="*/ 612896 w 761692"/>
                    <a:gd name="connsiteY72" fmla="*/ 37199 h 1016771"/>
                    <a:gd name="connsiteX73" fmla="*/ 618211 w 761692"/>
                    <a:gd name="connsiteY73" fmla="*/ 46056 h 1016771"/>
                    <a:gd name="connsiteX74" fmla="*/ 619982 w 761692"/>
                    <a:gd name="connsiteY74" fmla="*/ 54913 h 1016771"/>
                    <a:gd name="connsiteX75" fmla="*/ 618211 w 761692"/>
                    <a:gd name="connsiteY75" fmla="*/ 74398 h 1016771"/>
                    <a:gd name="connsiteX76" fmla="*/ 616439 w 761692"/>
                    <a:gd name="connsiteY76" fmla="*/ 85026 h 1016771"/>
                    <a:gd name="connsiteX77" fmla="*/ 621753 w 761692"/>
                    <a:gd name="connsiteY77" fmla="*/ 97426 h 1016771"/>
                    <a:gd name="connsiteX78" fmla="*/ 637696 w 761692"/>
                    <a:gd name="connsiteY78" fmla="*/ 113368 h 1016771"/>
                    <a:gd name="connsiteX79" fmla="*/ 644781 w 761692"/>
                    <a:gd name="connsiteY79" fmla="*/ 120454 h 1016771"/>
                    <a:gd name="connsiteX80" fmla="*/ 650095 w 761692"/>
                    <a:gd name="connsiteY80" fmla="*/ 136396 h 1016771"/>
                    <a:gd name="connsiteX81" fmla="*/ 655409 w 761692"/>
                    <a:gd name="connsiteY81" fmla="*/ 155881 h 1016771"/>
                    <a:gd name="connsiteX82" fmla="*/ 662495 w 761692"/>
                    <a:gd name="connsiteY82" fmla="*/ 171824 h 1016771"/>
                    <a:gd name="connsiteX83" fmla="*/ 660724 w 761692"/>
                    <a:gd name="connsiteY83" fmla="*/ 185995 h 1016771"/>
                    <a:gd name="connsiteX84" fmla="*/ 635924 w 761692"/>
                    <a:gd name="connsiteY84" fmla="*/ 194852 h 1016771"/>
                    <a:gd name="connsiteX85" fmla="*/ 619982 w 761692"/>
                    <a:gd name="connsiteY85" fmla="*/ 207251 h 1016771"/>
                    <a:gd name="connsiteX86" fmla="*/ 614668 w 761692"/>
                    <a:gd name="connsiteY86" fmla="*/ 223194 h 1016771"/>
                    <a:gd name="connsiteX87" fmla="*/ 618211 w 761692"/>
                    <a:gd name="connsiteY87" fmla="*/ 242679 h 1016771"/>
                    <a:gd name="connsiteX88" fmla="*/ 612896 w 761692"/>
                    <a:gd name="connsiteY88" fmla="*/ 256850 h 1016771"/>
                    <a:gd name="connsiteX89" fmla="*/ 625296 w 761692"/>
                    <a:gd name="connsiteY89" fmla="*/ 267478 h 1016771"/>
                    <a:gd name="connsiteX90" fmla="*/ 641238 w 761692"/>
                    <a:gd name="connsiteY90" fmla="*/ 269250 h 1016771"/>
                    <a:gd name="connsiteX91" fmla="*/ 658952 w 761692"/>
                    <a:gd name="connsiteY91" fmla="*/ 286963 h 1016771"/>
                    <a:gd name="connsiteX92" fmla="*/ 653638 w 761692"/>
                    <a:gd name="connsiteY92" fmla="*/ 309991 h 1016771"/>
                    <a:gd name="connsiteX93" fmla="*/ 653638 w 761692"/>
                    <a:gd name="connsiteY93" fmla="*/ 329476 h 1016771"/>
                    <a:gd name="connsiteX94" fmla="*/ 643010 w 761692"/>
                    <a:gd name="connsiteY94" fmla="*/ 338333 h 1016771"/>
                    <a:gd name="connsiteX95" fmla="*/ 632382 w 761692"/>
                    <a:gd name="connsiteY95" fmla="*/ 338333 h 1016771"/>
                    <a:gd name="connsiteX96" fmla="*/ 618211 w 761692"/>
                    <a:gd name="connsiteY96" fmla="*/ 357819 h 1016771"/>
                    <a:gd name="connsiteX97" fmla="*/ 609354 w 761692"/>
                    <a:gd name="connsiteY97" fmla="*/ 361361 h 1016771"/>
                    <a:gd name="connsiteX98" fmla="*/ 596954 w 761692"/>
                    <a:gd name="connsiteY98" fmla="*/ 363133 h 1016771"/>
                    <a:gd name="connsiteX99" fmla="*/ 581012 w 761692"/>
                    <a:gd name="connsiteY99" fmla="*/ 379075 h 1016771"/>
                    <a:gd name="connsiteX100" fmla="*/ 589868 w 761692"/>
                    <a:gd name="connsiteY100" fmla="*/ 393246 h 1016771"/>
                    <a:gd name="connsiteX101" fmla="*/ 586326 w 761692"/>
                    <a:gd name="connsiteY101" fmla="*/ 409189 h 1016771"/>
                    <a:gd name="connsiteX102" fmla="*/ 570383 w 761692"/>
                    <a:gd name="connsiteY102" fmla="*/ 398560 h 1016771"/>
                    <a:gd name="connsiteX103" fmla="*/ 550898 w 761692"/>
                    <a:gd name="connsiteY103" fmla="*/ 405646 h 1016771"/>
                    <a:gd name="connsiteX104" fmla="*/ 531413 w 761692"/>
                    <a:gd name="connsiteY104" fmla="*/ 425131 h 1016771"/>
                    <a:gd name="connsiteX105" fmla="*/ 543813 w 761692"/>
                    <a:gd name="connsiteY105" fmla="*/ 444616 h 1016771"/>
                    <a:gd name="connsiteX106" fmla="*/ 557984 w 761692"/>
                    <a:gd name="connsiteY106" fmla="*/ 462330 h 1016771"/>
                    <a:gd name="connsiteX107" fmla="*/ 570383 w 761692"/>
                    <a:gd name="connsiteY107" fmla="*/ 478272 h 1016771"/>
                    <a:gd name="connsiteX108" fmla="*/ 579240 w 761692"/>
                    <a:gd name="connsiteY108" fmla="*/ 485358 h 1016771"/>
                    <a:gd name="connsiteX109" fmla="*/ 602268 w 761692"/>
                    <a:gd name="connsiteY109" fmla="*/ 483586 h 1016771"/>
                    <a:gd name="connsiteX110" fmla="*/ 623525 w 761692"/>
                    <a:gd name="connsiteY110" fmla="*/ 474730 h 1016771"/>
                    <a:gd name="connsiteX111" fmla="*/ 639467 w 761692"/>
                    <a:gd name="connsiteY111" fmla="*/ 464101 h 1016771"/>
                    <a:gd name="connsiteX112" fmla="*/ 662495 w 761692"/>
                    <a:gd name="connsiteY112" fmla="*/ 464101 h 1016771"/>
                    <a:gd name="connsiteX113" fmla="*/ 673123 w 761692"/>
                    <a:gd name="connsiteY113" fmla="*/ 464101 h 1016771"/>
                    <a:gd name="connsiteX114" fmla="*/ 681980 w 761692"/>
                    <a:gd name="connsiteY114" fmla="*/ 467644 h 1016771"/>
                    <a:gd name="connsiteX115" fmla="*/ 703237 w 761692"/>
                    <a:gd name="connsiteY115" fmla="*/ 471187 h 1016771"/>
                    <a:gd name="connsiteX116" fmla="*/ 708551 w 761692"/>
                    <a:gd name="connsiteY116" fmla="*/ 474730 h 1016771"/>
                    <a:gd name="connsiteX117" fmla="*/ 722722 w 761692"/>
                    <a:gd name="connsiteY117" fmla="*/ 501300 h 1016771"/>
                    <a:gd name="connsiteX118" fmla="*/ 724493 w 761692"/>
                    <a:gd name="connsiteY118" fmla="*/ 522557 h 1016771"/>
                    <a:gd name="connsiteX119" fmla="*/ 722722 w 761692"/>
                    <a:gd name="connsiteY119" fmla="*/ 540271 h 1016771"/>
                    <a:gd name="connsiteX120" fmla="*/ 735121 w 761692"/>
                    <a:gd name="connsiteY120" fmla="*/ 552670 h 1016771"/>
                    <a:gd name="connsiteX121" fmla="*/ 735121 w 761692"/>
                    <a:gd name="connsiteY121" fmla="*/ 570384 h 1016771"/>
                    <a:gd name="connsiteX122" fmla="*/ 751064 w 761692"/>
                    <a:gd name="connsiteY122" fmla="*/ 581012 h 1016771"/>
                    <a:gd name="connsiteX123" fmla="*/ 761692 w 761692"/>
                    <a:gd name="connsiteY123" fmla="*/ 604040 h 1016771"/>
                    <a:gd name="connsiteX124" fmla="*/ 747521 w 761692"/>
                    <a:gd name="connsiteY124" fmla="*/ 616440 h 1016771"/>
                    <a:gd name="connsiteX125" fmla="*/ 728036 w 761692"/>
                    <a:gd name="connsiteY125" fmla="*/ 627068 h 1016771"/>
                    <a:gd name="connsiteX126" fmla="*/ 726264 w 761692"/>
                    <a:gd name="connsiteY126" fmla="*/ 650096 h 1016771"/>
                    <a:gd name="connsiteX127" fmla="*/ 728036 w 761692"/>
                    <a:gd name="connsiteY127" fmla="*/ 673124 h 1016771"/>
                    <a:gd name="connsiteX128" fmla="*/ 742207 w 761692"/>
                    <a:gd name="connsiteY128" fmla="*/ 689066 h 1016771"/>
                    <a:gd name="connsiteX129" fmla="*/ 742207 w 761692"/>
                    <a:gd name="connsiteY129" fmla="*/ 712094 h 1016771"/>
                    <a:gd name="connsiteX130" fmla="*/ 740435 w 761692"/>
                    <a:gd name="connsiteY130" fmla="*/ 735122 h 1016771"/>
                    <a:gd name="connsiteX131" fmla="*/ 742207 w 761692"/>
                    <a:gd name="connsiteY131" fmla="*/ 751065 h 1016771"/>
                    <a:gd name="connsiteX132" fmla="*/ 747521 w 761692"/>
                    <a:gd name="connsiteY132" fmla="*/ 768778 h 1016771"/>
                    <a:gd name="connsiteX133" fmla="*/ 759921 w 761692"/>
                    <a:gd name="connsiteY133" fmla="*/ 777635 h 1016771"/>
                    <a:gd name="connsiteX134" fmla="*/ 758149 w 761692"/>
                    <a:gd name="connsiteY134" fmla="*/ 802434 h 1016771"/>
                    <a:gd name="connsiteX135" fmla="*/ 752835 w 761692"/>
                    <a:gd name="connsiteY135" fmla="*/ 814834 h 1016771"/>
                    <a:gd name="connsiteX136" fmla="*/ 743978 w 761692"/>
                    <a:gd name="connsiteY136" fmla="*/ 827234 h 1016771"/>
                    <a:gd name="connsiteX137" fmla="*/ 743978 w 761692"/>
                    <a:gd name="connsiteY137" fmla="*/ 837862 h 1016771"/>
                    <a:gd name="connsiteX138" fmla="*/ 747521 w 761692"/>
                    <a:gd name="connsiteY138" fmla="*/ 853804 h 1016771"/>
                    <a:gd name="connsiteX139" fmla="*/ 733350 w 761692"/>
                    <a:gd name="connsiteY139" fmla="*/ 867975 h 1016771"/>
                    <a:gd name="connsiteX140" fmla="*/ 724493 w 761692"/>
                    <a:gd name="connsiteY140" fmla="*/ 880375 h 1016771"/>
                    <a:gd name="connsiteX141" fmla="*/ 722722 w 761692"/>
                    <a:gd name="connsiteY141" fmla="*/ 899860 h 1016771"/>
                    <a:gd name="connsiteX142" fmla="*/ 722722 w 761692"/>
                    <a:gd name="connsiteY142" fmla="*/ 919345 h 1016771"/>
                    <a:gd name="connsiteX143" fmla="*/ 715636 w 761692"/>
                    <a:gd name="connsiteY143" fmla="*/ 940602 h 1016771"/>
                    <a:gd name="connsiteX144" fmla="*/ 708551 w 761692"/>
                    <a:gd name="connsiteY144" fmla="*/ 954773 h 1016771"/>
                    <a:gd name="connsiteX145" fmla="*/ 699694 w 761692"/>
                    <a:gd name="connsiteY145" fmla="*/ 965401 h 1016771"/>
                    <a:gd name="connsiteX146" fmla="*/ 692608 w 761692"/>
                    <a:gd name="connsiteY146" fmla="*/ 984886 h 1016771"/>
                    <a:gd name="connsiteX147" fmla="*/ 683751 w 761692"/>
                    <a:gd name="connsiteY147" fmla="*/ 997286 h 1016771"/>
                    <a:gd name="connsiteX148" fmla="*/ 673123 w 761692"/>
                    <a:gd name="connsiteY148" fmla="*/ 1002600 h 1016771"/>
                    <a:gd name="connsiteX149" fmla="*/ 662495 w 761692"/>
                    <a:gd name="connsiteY149" fmla="*/ 1013228 h 1016771"/>
                    <a:gd name="connsiteX150" fmla="*/ 644781 w 761692"/>
                    <a:gd name="connsiteY150" fmla="*/ 1016771 h 1016771"/>
                    <a:gd name="connsiteX151" fmla="*/ 635924 w 761692"/>
                    <a:gd name="connsiteY151" fmla="*/ 1004372 h 1016771"/>
                    <a:gd name="connsiteX152" fmla="*/ 623525 w 761692"/>
                    <a:gd name="connsiteY152" fmla="*/ 997286 h 1016771"/>
                    <a:gd name="connsiteX153" fmla="*/ 614668 w 761692"/>
                    <a:gd name="connsiteY153" fmla="*/ 986658 h 1016771"/>
                    <a:gd name="connsiteX154" fmla="*/ 593411 w 761692"/>
                    <a:gd name="connsiteY154" fmla="*/ 970715 h 1016771"/>
                    <a:gd name="connsiteX155" fmla="*/ 582783 w 761692"/>
                    <a:gd name="connsiteY155" fmla="*/ 965401 h 1016771"/>
                    <a:gd name="connsiteX156" fmla="*/ 531413 w 761692"/>
                    <a:gd name="connsiteY156" fmla="*/ 965401 h 1016771"/>
                    <a:gd name="connsiteX157" fmla="*/ 511928 w 761692"/>
                    <a:gd name="connsiteY157" fmla="*/ 965401 h 1016771"/>
                    <a:gd name="connsiteX158" fmla="*/ 492443 w 761692"/>
                    <a:gd name="connsiteY158" fmla="*/ 963630 h 1016771"/>
                    <a:gd name="connsiteX159" fmla="*/ 483586 w 761692"/>
                    <a:gd name="connsiteY159" fmla="*/ 958316 h 1016771"/>
                    <a:gd name="connsiteX160" fmla="*/ 469415 w 761692"/>
                    <a:gd name="connsiteY160" fmla="*/ 954773 h 1016771"/>
                    <a:gd name="connsiteX161" fmla="*/ 460558 w 761692"/>
                    <a:gd name="connsiteY161" fmla="*/ 942373 h 1016771"/>
                    <a:gd name="connsiteX162" fmla="*/ 446387 w 761692"/>
                    <a:gd name="connsiteY162" fmla="*/ 935288 h 1016771"/>
                    <a:gd name="connsiteX163" fmla="*/ 428673 w 761692"/>
                    <a:gd name="connsiteY163" fmla="*/ 928202 h 1016771"/>
                    <a:gd name="connsiteX164" fmla="*/ 418045 w 761692"/>
                    <a:gd name="connsiteY164" fmla="*/ 917574 h 1016771"/>
                    <a:gd name="connsiteX165" fmla="*/ 421588 w 761692"/>
                    <a:gd name="connsiteY165" fmla="*/ 903403 h 1016771"/>
                    <a:gd name="connsiteX166" fmla="*/ 418045 w 761692"/>
                    <a:gd name="connsiteY166" fmla="*/ 898089 h 1016771"/>
                    <a:gd name="connsiteX167" fmla="*/ 396788 w 761692"/>
                    <a:gd name="connsiteY167" fmla="*/ 898089 h 1016771"/>
                    <a:gd name="connsiteX168" fmla="*/ 382617 w 761692"/>
                    <a:gd name="connsiteY168" fmla="*/ 896318 h 1016771"/>
                    <a:gd name="connsiteX169" fmla="*/ 380846 w 761692"/>
                    <a:gd name="connsiteY169" fmla="*/ 906946 h 1016771"/>
                    <a:gd name="connsiteX170" fmla="*/ 373601 w 761692"/>
                    <a:gd name="connsiteY170" fmla="*/ 894832 h 1016771"/>
                    <a:gd name="connsiteX171" fmla="*/ 387164 w 761692"/>
                    <a:gd name="connsiteY171" fmla="*/ 896527 h 1016771"/>
                    <a:gd name="connsiteX172" fmla="*/ 383773 w 761692"/>
                    <a:gd name="connsiteY172" fmla="*/ 886355 h 1016771"/>
                    <a:gd name="connsiteX173" fmla="*/ 387164 w 761692"/>
                    <a:gd name="connsiteY173" fmla="*/ 876183 h 1016771"/>
                    <a:gd name="connsiteX174" fmla="*/ 388859 w 761692"/>
                    <a:gd name="connsiteY174" fmla="*/ 867707 h 1016771"/>
                    <a:gd name="connsiteX175" fmla="*/ 380382 w 761692"/>
                    <a:gd name="connsiteY175" fmla="*/ 859230 h 1016771"/>
                    <a:gd name="connsiteX176" fmla="*/ 373601 w 761692"/>
                    <a:gd name="connsiteY176" fmla="*/ 849058 h 1016771"/>
                    <a:gd name="connsiteX177" fmla="*/ 380382 w 761692"/>
                    <a:gd name="connsiteY177" fmla="*/ 838886 h 1016771"/>
                    <a:gd name="connsiteX178" fmla="*/ 383773 w 761692"/>
                    <a:gd name="connsiteY178" fmla="*/ 833800 h 1016771"/>
                    <a:gd name="connsiteX179" fmla="*/ 388859 w 761692"/>
                    <a:gd name="connsiteY179" fmla="*/ 825324 h 1016771"/>
                    <a:gd name="connsiteX180" fmla="*/ 387164 w 761692"/>
                    <a:gd name="connsiteY180" fmla="*/ 810066 h 1016771"/>
                    <a:gd name="connsiteX181" fmla="*/ 387164 w 761692"/>
                    <a:gd name="connsiteY181" fmla="*/ 796503 h 1016771"/>
                    <a:gd name="connsiteX182" fmla="*/ 378687 w 761692"/>
                    <a:gd name="connsiteY182" fmla="*/ 789722 h 1016771"/>
                    <a:gd name="connsiteX183" fmla="*/ 366820 w 761692"/>
                    <a:gd name="connsiteY183" fmla="*/ 782940 h 1016771"/>
                    <a:gd name="connsiteX184" fmla="*/ 356648 w 761692"/>
                    <a:gd name="connsiteY184" fmla="*/ 781245 h 1016771"/>
                    <a:gd name="connsiteX185" fmla="*/ 349866 w 761692"/>
                    <a:gd name="connsiteY185" fmla="*/ 771073 h 1016771"/>
                    <a:gd name="connsiteX186" fmla="*/ 349866 w 761692"/>
                    <a:gd name="connsiteY186" fmla="*/ 752425 h 1016771"/>
                    <a:gd name="connsiteX187" fmla="*/ 353257 w 761692"/>
                    <a:gd name="connsiteY187" fmla="*/ 743948 h 1016771"/>
                    <a:gd name="connsiteX188" fmla="*/ 354952 w 761692"/>
                    <a:gd name="connsiteY188" fmla="*/ 730385 h 1016771"/>
                    <a:gd name="connsiteX189" fmla="*/ 353257 w 761692"/>
                    <a:gd name="connsiteY189" fmla="*/ 713432 h 1016771"/>
                    <a:gd name="connsiteX190" fmla="*/ 346476 w 761692"/>
                    <a:gd name="connsiteY190" fmla="*/ 701565 h 1016771"/>
                    <a:gd name="connsiteX191" fmla="*/ 332913 w 761692"/>
                    <a:gd name="connsiteY191" fmla="*/ 689697 h 1016771"/>
                    <a:gd name="connsiteX192" fmla="*/ 324436 w 761692"/>
                    <a:gd name="connsiteY192" fmla="*/ 681221 h 1016771"/>
                    <a:gd name="connsiteX193" fmla="*/ 314264 w 761692"/>
                    <a:gd name="connsiteY193" fmla="*/ 676135 h 1016771"/>
                    <a:gd name="connsiteX194" fmla="*/ 293920 w 761692"/>
                    <a:gd name="connsiteY194" fmla="*/ 669354 h 1016771"/>
                    <a:gd name="connsiteX195" fmla="*/ 282053 w 761692"/>
                    <a:gd name="connsiteY195" fmla="*/ 667658 h 1016771"/>
                    <a:gd name="connsiteX196" fmla="*/ 266795 w 761692"/>
                    <a:gd name="connsiteY196" fmla="*/ 672744 h 1016771"/>
                    <a:gd name="connsiteX197" fmla="*/ 265100 w 761692"/>
                    <a:gd name="connsiteY197" fmla="*/ 672744 h 1016771"/>
                    <a:gd name="connsiteX198" fmla="*/ 263404 w 761692"/>
                    <a:gd name="connsiteY198" fmla="*/ 671049 h 1016771"/>
                    <a:gd name="connsiteX199" fmla="*/ 260014 w 761692"/>
                    <a:gd name="connsiteY199" fmla="*/ 671049 h 1016771"/>
                    <a:gd name="connsiteX200" fmla="*/ 258318 w 761692"/>
                    <a:gd name="connsiteY200" fmla="*/ 671049 h 1016771"/>
                    <a:gd name="connsiteX201" fmla="*/ 253232 w 761692"/>
                    <a:gd name="connsiteY201" fmla="*/ 671049 h 1016771"/>
                    <a:gd name="connsiteX202" fmla="*/ 248146 w 761692"/>
                    <a:gd name="connsiteY202" fmla="*/ 672744 h 1016771"/>
                    <a:gd name="connsiteX203" fmla="*/ 248146 w 761692"/>
                    <a:gd name="connsiteY203" fmla="*/ 674440 h 1016771"/>
                    <a:gd name="connsiteX204" fmla="*/ 246451 w 761692"/>
                    <a:gd name="connsiteY204" fmla="*/ 674440 h 1016771"/>
                    <a:gd name="connsiteX205" fmla="*/ 236279 w 761692"/>
                    <a:gd name="connsiteY205" fmla="*/ 679526 h 1016771"/>
                    <a:gd name="connsiteX206" fmla="*/ 226107 w 761692"/>
                    <a:gd name="connsiteY206" fmla="*/ 684612 h 1016771"/>
                    <a:gd name="connsiteX207" fmla="*/ 217630 w 761692"/>
                    <a:gd name="connsiteY207" fmla="*/ 684612 h 1016771"/>
                    <a:gd name="connsiteX208" fmla="*/ 207458 w 761692"/>
                    <a:gd name="connsiteY208" fmla="*/ 693088 h 1016771"/>
                    <a:gd name="connsiteX209" fmla="*/ 198982 w 761692"/>
                    <a:gd name="connsiteY209" fmla="*/ 694783 h 1016771"/>
                    <a:gd name="connsiteX210" fmla="*/ 192200 w 761692"/>
                    <a:gd name="connsiteY210" fmla="*/ 699869 h 1016771"/>
                    <a:gd name="connsiteX211" fmla="*/ 178638 w 761692"/>
                    <a:gd name="connsiteY211" fmla="*/ 706651 h 1016771"/>
                    <a:gd name="connsiteX212" fmla="*/ 163380 w 761692"/>
                    <a:gd name="connsiteY212" fmla="*/ 710041 h 1016771"/>
                    <a:gd name="connsiteX213" fmla="*/ 141340 w 761692"/>
                    <a:gd name="connsiteY213" fmla="*/ 710041 h 1016771"/>
                    <a:gd name="connsiteX214" fmla="*/ 134559 w 761692"/>
                    <a:gd name="connsiteY214" fmla="*/ 716823 h 1016771"/>
                    <a:gd name="connsiteX215" fmla="*/ 127778 w 761692"/>
                    <a:gd name="connsiteY215" fmla="*/ 718518 h 1016771"/>
                    <a:gd name="connsiteX216" fmla="*/ 120996 w 761692"/>
                    <a:gd name="connsiteY216" fmla="*/ 725299 h 1016771"/>
                    <a:gd name="connsiteX217" fmla="*/ 111172 w 761692"/>
                    <a:gd name="connsiteY217" fmla="*/ 733720 h 1016771"/>
                    <a:gd name="connsiteX218" fmla="*/ 106283 w 761692"/>
                    <a:gd name="connsiteY218" fmla="*/ 729808 h 1016771"/>
                    <a:gd name="connsiteX219" fmla="*/ 92112 w 761692"/>
                    <a:gd name="connsiteY219" fmla="*/ 724494 h 1016771"/>
                    <a:gd name="connsiteX220" fmla="*/ 77941 w 761692"/>
                    <a:gd name="connsiteY220" fmla="*/ 726265 h 1016771"/>
                    <a:gd name="connsiteX221" fmla="*/ 70855 w 761692"/>
                    <a:gd name="connsiteY221" fmla="*/ 719180 h 1016771"/>
                    <a:gd name="connsiteX222" fmla="*/ 70855 w 761692"/>
                    <a:gd name="connsiteY222" fmla="*/ 699695 h 1016771"/>
                    <a:gd name="connsiteX223" fmla="*/ 81483 w 761692"/>
                    <a:gd name="connsiteY223" fmla="*/ 685524 h 1016771"/>
                    <a:gd name="connsiteX224" fmla="*/ 85026 w 761692"/>
                    <a:gd name="connsiteY224" fmla="*/ 673124 h 1016771"/>
                    <a:gd name="connsiteX225" fmla="*/ 86797 w 761692"/>
                    <a:gd name="connsiteY225" fmla="*/ 660724 h 1016771"/>
                    <a:gd name="connsiteX226" fmla="*/ 97426 w 761692"/>
                    <a:gd name="connsiteY226" fmla="*/ 650096 h 1016771"/>
                    <a:gd name="connsiteX227" fmla="*/ 102740 w 761692"/>
                    <a:gd name="connsiteY227" fmla="*/ 635925 h 1016771"/>
                    <a:gd name="connsiteX228" fmla="*/ 113368 w 761692"/>
                    <a:gd name="connsiteY228" fmla="*/ 625297 h 1016771"/>
                    <a:gd name="connsiteX229" fmla="*/ 115139 w 761692"/>
                    <a:gd name="connsiteY229" fmla="*/ 612897 h 1016771"/>
                    <a:gd name="connsiteX230" fmla="*/ 127539 w 761692"/>
                    <a:gd name="connsiteY230" fmla="*/ 609354 h 1016771"/>
                    <a:gd name="connsiteX231" fmla="*/ 136396 w 761692"/>
                    <a:gd name="connsiteY231" fmla="*/ 604040 h 1016771"/>
                    <a:gd name="connsiteX232" fmla="*/ 132853 w 761692"/>
                    <a:gd name="connsiteY232" fmla="*/ 593412 h 1016771"/>
                    <a:gd name="connsiteX233" fmla="*/ 134625 w 761692"/>
                    <a:gd name="connsiteY233" fmla="*/ 584555 h 1016771"/>
                    <a:gd name="connsiteX234" fmla="*/ 131082 w 761692"/>
                    <a:gd name="connsiteY234" fmla="*/ 575698 h 1016771"/>
                    <a:gd name="connsiteX235" fmla="*/ 120454 w 761692"/>
                    <a:gd name="connsiteY235" fmla="*/ 568613 h 1016771"/>
                    <a:gd name="connsiteX236" fmla="*/ 125768 w 761692"/>
                    <a:gd name="connsiteY236" fmla="*/ 552670 h 1016771"/>
                    <a:gd name="connsiteX237" fmla="*/ 118682 w 761692"/>
                    <a:gd name="connsiteY237" fmla="*/ 543813 h 1016771"/>
                    <a:gd name="connsiteX238" fmla="*/ 90340 w 761692"/>
                    <a:gd name="connsiteY238" fmla="*/ 543813 h 1016771"/>
                    <a:gd name="connsiteX239" fmla="*/ 86797 w 761692"/>
                    <a:gd name="connsiteY239" fmla="*/ 542042 h 1016771"/>
                    <a:gd name="connsiteX240" fmla="*/ 83255 w 761692"/>
                    <a:gd name="connsiteY240" fmla="*/ 542042 h 1016771"/>
                    <a:gd name="connsiteX241" fmla="*/ 81483 w 761692"/>
                    <a:gd name="connsiteY241" fmla="*/ 540271 h 1016771"/>
                    <a:gd name="connsiteX242" fmla="*/ 81483 w 761692"/>
                    <a:gd name="connsiteY242" fmla="*/ 536728 h 1016771"/>
                    <a:gd name="connsiteX243" fmla="*/ 79712 w 761692"/>
                    <a:gd name="connsiteY243" fmla="*/ 531414 h 1016771"/>
                    <a:gd name="connsiteX244" fmla="*/ 77941 w 761692"/>
                    <a:gd name="connsiteY244" fmla="*/ 529642 h 1016771"/>
                    <a:gd name="connsiteX245" fmla="*/ 70855 w 761692"/>
                    <a:gd name="connsiteY245" fmla="*/ 527871 h 1016771"/>
                    <a:gd name="connsiteX246" fmla="*/ 60227 w 761692"/>
                    <a:gd name="connsiteY246" fmla="*/ 536728 h 1016771"/>
                    <a:gd name="connsiteX247" fmla="*/ 47827 w 761692"/>
                    <a:gd name="connsiteY247" fmla="*/ 526100 h 1016771"/>
                    <a:gd name="connsiteX248" fmla="*/ 42513 w 761692"/>
                    <a:gd name="connsiteY248" fmla="*/ 515471 h 1016771"/>
                    <a:gd name="connsiteX249" fmla="*/ 33656 w 761692"/>
                    <a:gd name="connsiteY249" fmla="*/ 506614 h 1016771"/>
                    <a:gd name="connsiteX250" fmla="*/ 31885 w 761692"/>
                    <a:gd name="connsiteY250" fmla="*/ 490672 h 1016771"/>
                    <a:gd name="connsiteX251" fmla="*/ 26571 w 761692"/>
                    <a:gd name="connsiteY251" fmla="*/ 476501 h 1016771"/>
                    <a:gd name="connsiteX252" fmla="*/ 24799 w 761692"/>
                    <a:gd name="connsiteY252" fmla="*/ 471187 h 1016771"/>
                    <a:gd name="connsiteX253" fmla="*/ 12400 w 761692"/>
                    <a:gd name="connsiteY253" fmla="*/ 472958 h 1016771"/>
                    <a:gd name="connsiteX254" fmla="*/ 7086 w 761692"/>
                    <a:gd name="connsiteY254" fmla="*/ 464101 h 1016771"/>
                    <a:gd name="connsiteX255" fmla="*/ 8857 w 761692"/>
                    <a:gd name="connsiteY255" fmla="*/ 446388 h 1016771"/>
                    <a:gd name="connsiteX256" fmla="*/ 3543 w 761692"/>
                    <a:gd name="connsiteY256" fmla="*/ 435759 h 1016771"/>
                    <a:gd name="connsiteX257" fmla="*/ 5314 w 761692"/>
                    <a:gd name="connsiteY257" fmla="*/ 412731 h 1016771"/>
                    <a:gd name="connsiteX258" fmla="*/ 0 w 761692"/>
                    <a:gd name="connsiteY258" fmla="*/ 396789 h 1016771"/>
                    <a:gd name="connsiteX259" fmla="*/ 3543 w 761692"/>
                    <a:gd name="connsiteY259" fmla="*/ 384389 h 1016771"/>
                    <a:gd name="connsiteX260" fmla="*/ 14171 w 761692"/>
                    <a:gd name="connsiteY260" fmla="*/ 380846 h 1016771"/>
                    <a:gd name="connsiteX261" fmla="*/ 24799 w 761692"/>
                    <a:gd name="connsiteY261" fmla="*/ 364904 h 1016771"/>
                    <a:gd name="connsiteX262" fmla="*/ 30113 w 761692"/>
                    <a:gd name="connsiteY262" fmla="*/ 350733 h 1016771"/>
                    <a:gd name="connsiteX263" fmla="*/ 35428 w 761692"/>
                    <a:gd name="connsiteY263" fmla="*/ 341876 h 1016771"/>
                    <a:gd name="connsiteX264" fmla="*/ 42513 w 761692"/>
                    <a:gd name="connsiteY264" fmla="*/ 327705 h 1016771"/>
                    <a:gd name="connsiteX265" fmla="*/ 42513 w 761692"/>
                    <a:gd name="connsiteY265" fmla="*/ 315305 h 1016771"/>
                    <a:gd name="connsiteX266" fmla="*/ 56684 w 761692"/>
                    <a:gd name="connsiteY266" fmla="*/ 309991 h 1016771"/>
                    <a:gd name="connsiteX267" fmla="*/ 60227 w 761692"/>
                    <a:gd name="connsiteY267" fmla="*/ 309991 h 1016771"/>
                    <a:gd name="connsiteX268" fmla="*/ 61998 w 761692"/>
                    <a:gd name="connsiteY268" fmla="*/ 311763 h 1016771"/>
                    <a:gd name="connsiteX269" fmla="*/ 67312 w 761692"/>
                    <a:gd name="connsiteY269" fmla="*/ 311763 h 1016771"/>
                    <a:gd name="connsiteX270" fmla="*/ 67312 w 761692"/>
                    <a:gd name="connsiteY270" fmla="*/ 309991 h 1016771"/>
                    <a:gd name="connsiteX271" fmla="*/ 67312 w 761692"/>
                    <a:gd name="connsiteY271" fmla="*/ 308220 h 1016771"/>
                    <a:gd name="connsiteX272" fmla="*/ 69084 w 761692"/>
                    <a:gd name="connsiteY272" fmla="*/ 302906 h 1016771"/>
                    <a:gd name="connsiteX273" fmla="*/ 70855 w 761692"/>
                    <a:gd name="connsiteY273" fmla="*/ 301134 h 1016771"/>
                    <a:gd name="connsiteX274" fmla="*/ 70855 w 761692"/>
                    <a:gd name="connsiteY274" fmla="*/ 299363 h 1016771"/>
                    <a:gd name="connsiteX275" fmla="*/ 77941 w 761692"/>
                    <a:gd name="connsiteY275" fmla="*/ 295820 h 1016771"/>
                    <a:gd name="connsiteX276" fmla="*/ 85026 w 761692"/>
                    <a:gd name="connsiteY276" fmla="*/ 295820 h 1016771"/>
                    <a:gd name="connsiteX277" fmla="*/ 93883 w 761692"/>
                    <a:gd name="connsiteY277" fmla="*/ 297592 h 1016771"/>
                    <a:gd name="connsiteX278" fmla="*/ 100968 w 761692"/>
                    <a:gd name="connsiteY278" fmla="*/ 288735 h 1016771"/>
                    <a:gd name="connsiteX279" fmla="*/ 97426 w 761692"/>
                    <a:gd name="connsiteY279" fmla="*/ 279878 h 1016771"/>
                    <a:gd name="connsiteX280" fmla="*/ 85026 w 761692"/>
                    <a:gd name="connsiteY280" fmla="*/ 276335 h 1016771"/>
                    <a:gd name="connsiteX281" fmla="*/ 76169 w 761692"/>
                    <a:gd name="connsiteY281" fmla="*/ 271021 h 1016771"/>
                    <a:gd name="connsiteX282" fmla="*/ 76169 w 761692"/>
                    <a:gd name="connsiteY282" fmla="*/ 262164 h 1016771"/>
                    <a:gd name="connsiteX283" fmla="*/ 81483 w 761692"/>
                    <a:gd name="connsiteY283" fmla="*/ 251536 h 1016771"/>
                    <a:gd name="connsiteX284" fmla="*/ 86797 w 761692"/>
                    <a:gd name="connsiteY284" fmla="*/ 255079 h 1016771"/>
                    <a:gd name="connsiteX285" fmla="*/ 104511 w 761692"/>
                    <a:gd name="connsiteY285" fmla="*/ 262164 h 1016771"/>
                    <a:gd name="connsiteX286" fmla="*/ 116911 w 761692"/>
                    <a:gd name="connsiteY286" fmla="*/ 265707 h 1016771"/>
                    <a:gd name="connsiteX287" fmla="*/ 132853 w 761692"/>
                    <a:gd name="connsiteY287" fmla="*/ 269250 h 1016771"/>
                    <a:gd name="connsiteX288" fmla="*/ 138167 w 761692"/>
                    <a:gd name="connsiteY288" fmla="*/ 265707 h 1016771"/>
                    <a:gd name="connsiteX289" fmla="*/ 150567 w 761692"/>
                    <a:gd name="connsiteY289" fmla="*/ 255079 h 1016771"/>
                    <a:gd name="connsiteX290" fmla="*/ 166509 w 761692"/>
                    <a:gd name="connsiteY290" fmla="*/ 255079 h 1016771"/>
                    <a:gd name="connsiteX291" fmla="*/ 166509 w 761692"/>
                    <a:gd name="connsiteY291" fmla="*/ 265707 h 1016771"/>
                    <a:gd name="connsiteX292" fmla="*/ 177138 w 761692"/>
                    <a:gd name="connsiteY292" fmla="*/ 272792 h 1016771"/>
                    <a:gd name="connsiteX293" fmla="*/ 194851 w 761692"/>
                    <a:gd name="connsiteY293" fmla="*/ 276335 h 1016771"/>
                    <a:gd name="connsiteX294" fmla="*/ 209022 w 761692"/>
                    <a:gd name="connsiteY294" fmla="*/ 279878 h 1016771"/>
                    <a:gd name="connsiteX295" fmla="*/ 221422 w 761692"/>
                    <a:gd name="connsiteY295" fmla="*/ 276335 h 1016771"/>
                    <a:gd name="connsiteX296" fmla="*/ 226736 w 761692"/>
                    <a:gd name="connsiteY296" fmla="*/ 269250 h 1016771"/>
                    <a:gd name="connsiteX297" fmla="*/ 226736 w 761692"/>
                    <a:gd name="connsiteY297" fmla="*/ 251536 h 1016771"/>
                    <a:gd name="connsiteX298" fmla="*/ 224965 w 761692"/>
                    <a:gd name="connsiteY298" fmla="*/ 239136 h 1016771"/>
                    <a:gd name="connsiteX299" fmla="*/ 214337 w 761692"/>
                    <a:gd name="connsiteY299" fmla="*/ 230279 h 1016771"/>
                    <a:gd name="connsiteX300" fmla="*/ 210794 w 761692"/>
                    <a:gd name="connsiteY300" fmla="*/ 217880 h 1016771"/>
                    <a:gd name="connsiteX301" fmla="*/ 221422 w 761692"/>
                    <a:gd name="connsiteY301" fmla="*/ 207251 h 1016771"/>
                    <a:gd name="connsiteX302" fmla="*/ 235593 w 761692"/>
                    <a:gd name="connsiteY302" fmla="*/ 214337 h 1016771"/>
                    <a:gd name="connsiteX303" fmla="*/ 246221 w 761692"/>
                    <a:gd name="connsiteY303" fmla="*/ 219651 h 1016771"/>
                    <a:gd name="connsiteX304" fmla="*/ 253307 w 761692"/>
                    <a:gd name="connsiteY304" fmla="*/ 221422 h 1016771"/>
                    <a:gd name="connsiteX305" fmla="*/ 262164 w 761692"/>
                    <a:gd name="connsiteY305" fmla="*/ 210794 h 1016771"/>
                    <a:gd name="connsiteX306" fmla="*/ 263935 w 761692"/>
                    <a:gd name="connsiteY306" fmla="*/ 201937 h 1016771"/>
                    <a:gd name="connsiteX307" fmla="*/ 274563 w 761692"/>
                    <a:gd name="connsiteY307" fmla="*/ 189538 h 1016771"/>
                    <a:gd name="connsiteX308" fmla="*/ 283420 w 761692"/>
                    <a:gd name="connsiteY308" fmla="*/ 178909 h 1016771"/>
                    <a:gd name="connsiteX309" fmla="*/ 286963 w 761692"/>
                    <a:gd name="connsiteY309" fmla="*/ 173595 h 1016771"/>
                    <a:gd name="connsiteX310" fmla="*/ 311762 w 761692"/>
                    <a:gd name="connsiteY310" fmla="*/ 168281 h 1016771"/>
                    <a:gd name="connsiteX311" fmla="*/ 325933 w 761692"/>
                    <a:gd name="connsiteY311" fmla="*/ 164738 h 1016771"/>
                    <a:gd name="connsiteX312" fmla="*/ 336562 w 761692"/>
                    <a:gd name="connsiteY312" fmla="*/ 159424 h 1016771"/>
                    <a:gd name="connsiteX313" fmla="*/ 348961 w 761692"/>
                    <a:gd name="connsiteY313" fmla="*/ 145253 h 1016771"/>
                    <a:gd name="connsiteX314" fmla="*/ 359589 w 761692"/>
                    <a:gd name="connsiteY314" fmla="*/ 143482 h 1016771"/>
                    <a:gd name="connsiteX315" fmla="*/ 371989 w 761692"/>
                    <a:gd name="connsiteY315" fmla="*/ 143482 h 1016771"/>
                    <a:gd name="connsiteX316" fmla="*/ 391474 w 761692"/>
                    <a:gd name="connsiteY316" fmla="*/ 143482 h 1016771"/>
                    <a:gd name="connsiteX317" fmla="*/ 396788 w 761692"/>
                    <a:gd name="connsiteY317" fmla="*/ 141710 h 1016771"/>
                    <a:gd name="connsiteX318" fmla="*/ 403874 w 761692"/>
                    <a:gd name="connsiteY318" fmla="*/ 134625 h 1016771"/>
                    <a:gd name="connsiteX319" fmla="*/ 409188 w 761692"/>
                    <a:gd name="connsiteY319" fmla="*/ 129311 h 1016771"/>
                    <a:gd name="connsiteX320" fmla="*/ 409188 w 761692"/>
                    <a:gd name="connsiteY320" fmla="*/ 123997 h 1016771"/>
                    <a:gd name="connsiteX321" fmla="*/ 414502 w 761692"/>
                    <a:gd name="connsiteY321" fmla="*/ 115140 h 1016771"/>
                    <a:gd name="connsiteX322" fmla="*/ 428673 w 761692"/>
                    <a:gd name="connsiteY322" fmla="*/ 115140 h 1016771"/>
                    <a:gd name="connsiteX323" fmla="*/ 432216 w 761692"/>
                    <a:gd name="connsiteY323" fmla="*/ 109826 h 1016771"/>
                    <a:gd name="connsiteX324" fmla="*/ 437530 w 761692"/>
                    <a:gd name="connsiteY324" fmla="*/ 100969 h 1016771"/>
                    <a:gd name="connsiteX325" fmla="*/ 448158 w 761692"/>
                    <a:gd name="connsiteY325" fmla="*/ 99197 h 1016771"/>
                    <a:gd name="connsiteX326" fmla="*/ 460558 w 761692"/>
                    <a:gd name="connsiteY326" fmla="*/ 97426 h 1016771"/>
                    <a:gd name="connsiteX327" fmla="*/ 472958 w 761692"/>
                    <a:gd name="connsiteY327" fmla="*/ 93883 h 1016771"/>
                    <a:gd name="connsiteX328" fmla="*/ 492443 w 761692"/>
                    <a:gd name="connsiteY328" fmla="*/ 93883 h 1016771"/>
                    <a:gd name="connsiteX329" fmla="*/ 501300 w 761692"/>
                    <a:gd name="connsiteY329" fmla="*/ 83255 h 1016771"/>
                    <a:gd name="connsiteX330" fmla="*/ 517242 w 761692"/>
                    <a:gd name="connsiteY330" fmla="*/ 81484 h 1016771"/>
                    <a:gd name="connsiteX331" fmla="*/ 522556 w 761692"/>
                    <a:gd name="connsiteY331" fmla="*/ 81484 h 1016771"/>
                    <a:gd name="connsiteX332" fmla="*/ 522556 w 761692"/>
                    <a:gd name="connsiteY332" fmla="*/ 60227 h 1016771"/>
                    <a:gd name="connsiteX333" fmla="*/ 526099 w 761692"/>
                    <a:gd name="connsiteY333" fmla="*/ 54913 h 1016771"/>
                    <a:gd name="connsiteX334" fmla="*/ 529642 w 761692"/>
                    <a:gd name="connsiteY334" fmla="*/ 46056 h 1016771"/>
                    <a:gd name="connsiteX335" fmla="*/ 538499 w 761692"/>
                    <a:gd name="connsiteY335" fmla="*/ 40742 h 1016771"/>
                    <a:gd name="connsiteX336" fmla="*/ 540270 w 761692"/>
                    <a:gd name="connsiteY336" fmla="*/ 30114 h 1016771"/>
                    <a:gd name="connsiteX337" fmla="*/ 536727 w 761692"/>
                    <a:gd name="connsiteY337" fmla="*/ 19485 h 1016771"/>
                    <a:gd name="connsiteX338" fmla="*/ 543813 w 761692"/>
                    <a:gd name="connsiteY338" fmla="*/ 5314 h 1016771"/>
                    <a:gd name="connsiteX339" fmla="*/ 554441 w 761692"/>
                    <a:gd name="connsiteY339" fmla="*/ 0 h 1016771"/>
                    <a:gd name="connsiteX0" fmla="*/ 278662 w 761692"/>
                    <a:gd name="connsiteY0" fmla="*/ 913481 h 1016771"/>
                    <a:gd name="connsiteX1" fmla="*/ 307483 w 761692"/>
                    <a:gd name="connsiteY1" fmla="*/ 901613 h 1016771"/>
                    <a:gd name="connsiteX2" fmla="*/ 311729 w 761692"/>
                    <a:gd name="connsiteY2" fmla="*/ 903178 h 1016771"/>
                    <a:gd name="connsiteX3" fmla="*/ 299363 w 761692"/>
                    <a:gd name="connsiteY3" fmla="*/ 901632 h 1016771"/>
                    <a:gd name="connsiteX4" fmla="*/ 288734 w 761692"/>
                    <a:gd name="connsiteY4" fmla="*/ 903403 h 1016771"/>
                    <a:gd name="connsiteX5" fmla="*/ 283420 w 761692"/>
                    <a:gd name="connsiteY5" fmla="*/ 915803 h 1016771"/>
                    <a:gd name="connsiteX6" fmla="*/ 271021 w 761692"/>
                    <a:gd name="connsiteY6" fmla="*/ 912260 h 1016771"/>
                    <a:gd name="connsiteX7" fmla="*/ 270666 w 761692"/>
                    <a:gd name="connsiteY7" fmla="*/ 911196 h 1016771"/>
                    <a:gd name="connsiteX8" fmla="*/ 278662 w 761692"/>
                    <a:gd name="connsiteY8" fmla="*/ 913481 h 1016771"/>
                    <a:gd name="connsiteX9" fmla="*/ 222919 w 761692"/>
                    <a:gd name="connsiteY9" fmla="*/ 879608 h 1016771"/>
                    <a:gd name="connsiteX10" fmla="*/ 243060 w 761692"/>
                    <a:gd name="connsiteY10" fmla="*/ 882965 h 1016771"/>
                    <a:gd name="connsiteX11" fmla="*/ 243990 w 761692"/>
                    <a:gd name="connsiteY11" fmla="*/ 883546 h 1016771"/>
                    <a:gd name="connsiteX12" fmla="*/ 224965 w 761692"/>
                    <a:gd name="connsiteY12" fmla="*/ 880375 h 1016771"/>
                    <a:gd name="connsiteX13" fmla="*/ 222919 w 761692"/>
                    <a:gd name="connsiteY13" fmla="*/ 879608 h 1016771"/>
                    <a:gd name="connsiteX14" fmla="*/ 159250 w 761692"/>
                    <a:gd name="connsiteY14" fmla="*/ 829179 h 1016771"/>
                    <a:gd name="connsiteX15" fmla="*/ 159989 w 761692"/>
                    <a:gd name="connsiteY15" fmla="*/ 830410 h 1016771"/>
                    <a:gd name="connsiteX16" fmla="*/ 151512 w 761692"/>
                    <a:gd name="connsiteY16" fmla="*/ 838886 h 1016771"/>
                    <a:gd name="connsiteX17" fmla="*/ 149817 w 761692"/>
                    <a:gd name="connsiteY17" fmla="*/ 840582 h 1016771"/>
                    <a:gd name="connsiteX18" fmla="*/ 148122 w 761692"/>
                    <a:gd name="connsiteY18" fmla="*/ 842277 h 1016771"/>
                    <a:gd name="connsiteX19" fmla="*/ 146426 w 761692"/>
                    <a:gd name="connsiteY19" fmla="*/ 843972 h 1016771"/>
                    <a:gd name="connsiteX20" fmla="*/ 141340 w 761692"/>
                    <a:gd name="connsiteY20" fmla="*/ 849058 h 1016771"/>
                    <a:gd name="connsiteX21" fmla="*/ 141340 w 761692"/>
                    <a:gd name="connsiteY21" fmla="*/ 850754 h 1016771"/>
                    <a:gd name="connsiteX22" fmla="*/ 139645 w 761692"/>
                    <a:gd name="connsiteY22" fmla="*/ 852449 h 1016771"/>
                    <a:gd name="connsiteX23" fmla="*/ 139645 w 761692"/>
                    <a:gd name="connsiteY23" fmla="*/ 860925 h 1016771"/>
                    <a:gd name="connsiteX24" fmla="*/ 148122 w 761692"/>
                    <a:gd name="connsiteY24" fmla="*/ 867707 h 1016771"/>
                    <a:gd name="connsiteX25" fmla="*/ 158294 w 761692"/>
                    <a:gd name="connsiteY25" fmla="*/ 879574 h 1016771"/>
                    <a:gd name="connsiteX26" fmla="*/ 175247 w 761692"/>
                    <a:gd name="connsiteY26" fmla="*/ 889746 h 1016771"/>
                    <a:gd name="connsiteX27" fmla="*/ 188810 w 761692"/>
                    <a:gd name="connsiteY27" fmla="*/ 893137 h 1016771"/>
                    <a:gd name="connsiteX28" fmla="*/ 195591 w 761692"/>
                    <a:gd name="connsiteY28" fmla="*/ 893137 h 1016771"/>
                    <a:gd name="connsiteX29" fmla="*/ 202372 w 761692"/>
                    <a:gd name="connsiteY29" fmla="*/ 886355 h 1016771"/>
                    <a:gd name="connsiteX30" fmla="*/ 200677 w 761692"/>
                    <a:gd name="connsiteY30" fmla="*/ 877879 h 1016771"/>
                    <a:gd name="connsiteX31" fmla="*/ 209154 w 761692"/>
                    <a:gd name="connsiteY31" fmla="*/ 874488 h 1016771"/>
                    <a:gd name="connsiteX32" fmla="*/ 210740 w 761692"/>
                    <a:gd name="connsiteY32" fmla="*/ 875083 h 1016771"/>
                    <a:gd name="connsiteX33" fmla="*/ 201937 w 761692"/>
                    <a:gd name="connsiteY33" fmla="*/ 878604 h 1016771"/>
                    <a:gd name="connsiteX34" fmla="*/ 203708 w 761692"/>
                    <a:gd name="connsiteY34" fmla="*/ 887461 h 1016771"/>
                    <a:gd name="connsiteX35" fmla="*/ 196623 w 761692"/>
                    <a:gd name="connsiteY35" fmla="*/ 894546 h 1016771"/>
                    <a:gd name="connsiteX36" fmla="*/ 189537 w 761692"/>
                    <a:gd name="connsiteY36" fmla="*/ 894546 h 1016771"/>
                    <a:gd name="connsiteX37" fmla="*/ 175366 w 761692"/>
                    <a:gd name="connsiteY37" fmla="*/ 891003 h 1016771"/>
                    <a:gd name="connsiteX38" fmla="*/ 157653 w 761692"/>
                    <a:gd name="connsiteY38" fmla="*/ 880375 h 1016771"/>
                    <a:gd name="connsiteX39" fmla="*/ 147024 w 761692"/>
                    <a:gd name="connsiteY39" fmla="*/ 867975 h 1016771"/>
                    <a:gd name="connsiteX40" fmla="*/ 138167 w 761692"/>
                    <a:gd name="connsiteY40" fmla="*/ 860890 h 1016771"/>
                    <a:gd name="connsiteX41" fmla="*/ 138167 w 761692"/>
                    <a:gd name="connsiteY41" fmla="*/ 852033 h 1016771"/>
                    <a:gd name="connsiteX42" fmla="*/ 139939 w 761692"/>
                    <a:gd name="connsiteY42" fmla="*/ 850262 h 1016771"/>
                    <a:gd name="connsiteX43" fmla="*/ 139939 w 761692"/>
                    <a:gd name="connsiteY43" fmla="*/ 848490 h 1016771"/>
                    <a:gd name="connsiteX44" fmla="*/ 145253 w 761692"/>
                    <a:gd name="connsiteY44" fmla="*/ 843176 h 1016771"/>
                    <a:gd name="connsiteX45" fmla="*/ 147024 w 761692"/>
                    <a:gd name="connsiteY45" fmla="*/ 841405 h 1016771"/>
                    <a:gd name="connsiteX46" fmla="*/ 148796 w 761692"/>
                    <a:gd name="connsiteY46" fmla="*/ 839633 h 1016771"/>
                    <a:gd name="connsiteX47" fmla="*/ 150567 w 761692"/>
                    <a:gd name="connsiteY47" fmla="*/ 837862 h 1016771"/>
                    <a:gd name="connsiteX48" fmla="*/ 159250 w 761692"/>
                    <a:gd name="connsiteY48" fmla="*/ 829179 h 1016771"/>
                    <a:gd name="connsiteX49" fmla="*/ 116476 w 761692"/>
                    <a:gd name="connsiteY49" fmla="*/ 741349 h 1016771"/>
                    <a:gd name="connsiteX50" fmla="*/ 117606 w 761692"/>
                    <a:gd name="connsiteY50" fmla="*/ 742253 h 1016771"/>
                    <a:gd name="connsiteX51" fmla="*/ 122692 w 761692"/>
                    <a:gd name="connsiteY51" fmla="*/ 759206 h 1016771"/>
                    <a:gd name="connsiteX52" fmla="*/ 126082 w 761692"/>
                    <a:gd name="connsiteY52" fmla="*/ 771073 h 1016771"/>
                    <a:gd name="connsiteX53" fmla="*/ 129473 w 761692"/>
                    <a:gd name="connsiteY53" fmla="*/ 782940 h 1016771"/>
                    <a:gd name="connsiteX54" fmla="*/ 132864 w 761692"/>
                    <a:gd name="connsiteY54" fmla="*/ 793112 h 1016771"/>
                    <a:gd name="connsiteX55" fmla="*/ 136254 w 761692"/>
                    <a:gd name="connsiteY55" fmla="*/ 810066 h 1016771"/>
                    <a:gd name="connsiteX56" fmla="*/ 139058 w 761692"/>
                    <a:gd name="connsiteY56" fmla="*/ 818476 h 1016771"/>
                    <a:gd name="connsiteX57" fmla="*/ 138167 w 761692"/>
                    <a:gd name="connsiteY57" fmla="*/ 818377 h 1016771"/>
                    <a:gd name="connsiteX58" fmla="*/ 134625 w 761692"/>
                    <a:gd name="connsiteY58" fmla="*/ 807749 h 1016771"/>
                    <a:gd name="connsiteX59" fmla="*/ 131082 w 761692"/>
                    <a:gd name="connsiteY59" fmla="*/ 790035 h 1016771"/>
                    <a:gd name="connsiteX60" fmla="*/ 127539 w 761692"/>
                    <a:gd name="connsiteY60" fmla="*/ 779407 h 1016771"/>
                    <a:gd name="connsiteX61" fmla="*/ 123996 w 761692"/>
                    <a:gd name="connsiteY61" fmla="*/ 767007 h 1016771"/>
                    <a:gd name="connsiteX62" fmla="*/ 120454 w 761692"/>
                    <a:gd name="connsiteY62" fmla="*/ 754607 h 1016771"/>
                    <a:gd name="connsiteX63" fmla="*/ 116476 w 761692"/>
                    <a:gd name="connsiteY63" fmla="*/ 741349 h 1016771"/>
                    <a:gd name="connsiteX64" fmla="*/ 554441 w 761692"/>
                    <a:gd name="connsiteY64" fmla="*/ 0 h 1016771"/>
                    <a:gd name="connsiteX65" fmla="*/ 570383 w 761692"/>
                    <a:gd name="connsiteY65" fmla="*/ 3543 h 1016771"/>
                    <a:gd name="connsiteX66" fmla="*/ 577469 w 761692"/>
                    <a:gd name="connsiteY66" fmla="*/ 8857 h 1016771"/>
                    <a:gd name="connsiteX67" fmla="*/ 582783 w 761692"/>
                    <a:gd name="connsiteY67" fmla="*/ 17714 h 1016771"/>
                    <a:gd name="connsiteX68" fmla="*/ 582783 w 761692"/>
                    <a:gd name="connsiteY68" fmla="*/ 24799 h 1016771"/>
                    <a:gd name="connsiteX69" fmla="*/ 588097 w 761692"/>
                    <a:gd name="connsiteY69" fmla="*/ 33656 h 1016771"/>
                    <a:gd name="connsiteX70" fmla="*/ 598725 w 761692"/>
                    <a:gd name="connsiteY70" fmla="*/ 31885 h 1016771"/>
                    <a:gd name="connsiteX71" fmla="*/ 612896 w 761692"/>
                    <a:gd name="connsiteY71" fmla="*/ 37199 h 1016771"/>
                    <a:gd name="connsiteX72" fmla="*/ 618211 w 761692"/>
                    <a:gd name="connsiteY72" fmla="*/ 46056 h 1016771"/>
                    <a:gd name="connsiteX73" fmla="*/ 619982 w 761692"/>
                    <a:gd name="connsiteY73" fmla="*/ 54913 h 1016771"/>
                    <a:gd name="connsiteX74" fmla="*/ 618211 w 761692"/>
                    <a:gd name="connsiteY74" fmla="*/ 74398 h 1016771"/>
                    <a:gd name="connsiteX75" fmla="*/ 616439 w 761692"/>
                    <a:gd name="connsiteY75" fmla="*/ 85026 h 1016771"/>
                    <a:gd name="connsiteX76" fmla="*/ 621753 w 761692"/>
                    <a:gd name="connsiteY76" fmla="*/ 97426 h 1016771"/>
                    <a:gd name="connsiteX77" fmla="*/ 637696 w 761692"/>
                    <a:gd name="connsiteY77" fmla="*/ 113368 h 1016771"/>
                    <a:gd name="connsiteX78" fmla="*/ 644781 w 761692"/>
                    <a:gd name="connsiteY78" fmla="*/ 120454 h 1016771"/>
                    <a:gd name="connsiteX79" fmla="*/ 650095 w 761692"/>
                    <a:gd name="connsiteY79" fmla="*/ 136396 h 1016771"/>
                    <a:gd name="connsiteX80" fmla="*/ 655409 w 761692"/>
                    <a:gd name="connsiteY80" fmla="*/ 155881 h 1016771"/>
                    <a:gd name="connsiteX81" fmla="*/ 662495 w 761692"/>
                    <a:gd name="connsiteY81" fmla="*/ 171824 h 1016771"/>
                    <a:gd name="connsiteX82" fmla="*/ 660724 w 761692"/>
                    <a:gd name="connsiteY82" fmla="*/ 185995 h 1016771"/>
                    <a:gd name="connsiteX83" fmla="*/ 635924 w 761692"/>
                    <a:gd name="connsiteY83" fmla="*/ 194852 h 1016771"/>
                    <a:gd name="connsiteX84" fmla="*/ 619982 w 761692"/>
                    <a:gd name="connsiteY84" fmla="*/ 207251 h 1016771"/>
                    <a:gd name="connsiteX85" fmla="*/ 614668 w 761692"/>
                    <a:gd name="connsiteY85" fmla="*/ 223194 h 1016771"/>
                    <a:gd name="connsiteX86" fmla="*/ 618211 w 761692"/>
                    <a:gd name="connsiteY86" fmla="*/ 242679 h 1016771"/>
                    <a:gd name="connsiteX87" fmla="*/ 612896 w 761692"/>
                    <a:gd name="connsiteY87" fmla="*/ 256850 h 1016771"/>
                    <a:gd name="connsiteX88" fmla="*/ 625296 w 761692"/>
                    <a:gd name="connsiteY88" fmla="*/ 267478 h 1016771"/>
                    <a:gd name="connsiteX89" fmla="*/ 641238 w 761692"/>
                    <a:gd name="connsiteY89" fmla="*/ 269250 h 1016771"/>
                    <a:gd name="connsiteX90" fmla="*/ 658952 w 761692"/>
                    <a:gd name="connsiteY90" fmla="*/ 286963 h 1016771"/>
                    <a:gd name="connsiteX91" fmla="*/ 653638 w 761692"/>
                    <a:gd name="connsiteY91" fmla="*/ 309991 h 1016771"/>
                    <a:gd name="connsiteX92" fmla="*/ 653638 w 761692"/>
                    <a:gd name="connsiteY92" fmla="*/ 329476 h 1016771"/>
                    <a:gd name="connsiteX93" fmla="*/ 643010 w 761692"/>
                    <a:gd name="connsiteY93" fmla="*/ 338333 h 1016771"/>
                    <a:gd name="connsiteX94" fmla="*/ 632382 w 761692"/>
                    <a:gd name="connsiteY94" fmla="*/ 338333 h 1016771"/>
                    <a:gd name="connsiteX95" fmla="*/ 618211 w 761692"/>
                    <a:gd name="connsiteY95" fmla="*/ 357819 h 1016771"/>
                    <a:gd name="connsiteX96" fmla="*/ 609354 w 761692"/>
                    <a:gd name="connsiteY96" fmla="*/ 361361 h 1016771"/>
                    <a:gd name="connsiteX97" fmla="*/ 596954 w 761692"/>
                    <a:gd name="connsiteY97" fmla="*/ 363133 h 1016771"/>
                    <a:gd name="connsiteX98" fmla="*/ 581012 w 761692"/>
                    <a:gd name="connsiteY98" fmla="*/ 379075 h 1016771"/>
                    <a:gd name="connsiteX99" fmla="*/ 589868 w 761692"/>
                    <a:gd name="connsiteY99" fmla="*/ 393246 h 1016771"/>
                    <a:gd name="connsiteX100" fmla="*/ 586326 w 761692"/>
                    <a:gd name="connsiteY100" fmla="*/ 409189 h 1016771"/>
                    <a:gd name="connsiteX101" fmla="*/ 570383 w 761692"/>
                    <a:gd name="connsiteY101" fmla="*/ 398560 h 1016771"/>
                    <a:gd name="connsiteX102" fmla="*/ 550898 w 761692"/>
                    <a:gd name="connsiteY102" fmla="*/ 405646 h 1016771"/>
                    <a:gd name="connsiteX103" fmla="*/ 531413 w 761692"/>
                    <a:gd name="connsiteY103" fmla="*/ 425131 h 1016771"/>
                    <a:gd name="connsiteX104" fmla="*/ 543813 w 761692"/>
                    <a:gd name="connsiteY104" fmla="*/ 444616 h 1016771"/>
                    <a:gd name="connsiteX105" fmla="*/ 557984 w 761692"/>
                    <a:gd name="connsiteY105" fmla="*/ 462330 h 1016771"/>
                    <a:gd name="connsiteX106" fmla="*/ 570383 w 761692"/>
                    <a:gd name="connsiteY106" fmla="*/ 478272 h 1016771"/>
                    <a:gd name="connsiteX107" fmla="*/ 579240 w 761692"/>
                    <a:gd name="connsiteY107" fmla="*/ 485358 h 1016771"/>
                    <a:gd name="connsiteX108" fmla="*/ 602268 w 761692"/>
                    <a:gd name="connsiteY108" fmla="*/ 483586 h 1016771"/>
                    <a:gd name="connsiteX109" fmla="*/ 623525 w 761692"/>
                    <a:gd name="connsiteY109" fmla="*/ 474730 h 1016771"/>
                    <a:gd name="connsiteX110" fmla="*/ 639467 w 761692"/>
                    <a:gd name="connsiteY110" fmla="*/ 464101 h 1016771"/>
                    <a:gd name="connsiteX111" fmla="*/ 662495 w 761692"/>
                    <a:gd name="connsiteY111" fmla="*/ 464101 h 1016771"/>
                    <a:gd name="connsiteX112" fmla="*/ 673123 w 761692"/>
                    <a:gd name="connsiteY112" fmla="*/ 464101 h 1016771"/>
                    <a:gd name="connsiteX113" fmla="*/ 681980 w 761692"/>
                    <a:gd name="connsiteY113" fmla="*/ 467644 h 1016771"/>
                    <a:gd name="connsiteX114" fmla="*/ 703237 w 761692"/>
                    <a:gd name="connsiteY114" fmla="*/ 471187 h 1016771"/>
                    <a:gd name="connsiteX115" fmla="*/ 708551 w 761692"/>
                    <a:gd name="connsiteY115" fmla="*/ 474730 h 1016771"/>
                    <a:gd name="connsiteX116" fmla="*/ 722722 w 761692"/>
                    <a:gd name="connsiteY116" fmla="*/ 501300 h 1016771"/>
                    <a:gd name="connsiteX117" fmla="*/ 724493 w 761692"/>
                    <a:gd name="connsiteY117" fmla="*/ 522557 h 1016771"/>
                    <a:gd name="connsiteX118" fmla="*/ 722722 w 761692"/>
                    <a:gd name="connsiteY118" fmla="*/ 540271 h 1016771"/>
                    <a:gd name="connsiteX119" fmla="*/ 735121 w 761692"/>
                    <a:gd name="connsiteY119" fmla="*/ 552670 h 1016771"/>
                    <a:gd name="connsiteX120" fmla="*/ 735121 w 761692"/>
                    <a:gd name="connsiteY120" fmla="*/ 570384 h 1016771"/>
                    <a:gd name="connsiteX121" fmla="*/ 751064 w 761692"/>
                    <a:gd name="connsiteY121" fmla="*/ 581012 h 1016771"/>
                    <a:gd name="connsiteX122" fmla="*/ 761692 w 761692"/>
                    <a:gd name="connsiteY122" fmla="*/ 604040 h 1016771"/>
                    <a:gd name="connsiteX123" fmla="*/ 747521 w 761692"/>
                    <a:gd name="connsiteY123" fmla="*/ 616440 h 1016771"/>
                    <a:gd name="connsiteX124" fmla="*/ 728036 w 761692"/>
                    <a:gd name="connsiteY124" fmla="*/ 627068 h 1016771"/>
                    <a:gd name="connsiteX125" fmla="*/ 726264 w 761692"/>
                    <a:gd name="connsiteY125" fmla="*/ 650096 h 1016771"/>
                    <a:gd name="connsiteX126" fmla="*/ 728036 w 761692"/>
                    <a:gd name="connsiteY126" fmla="*/ 673124 h 1016771"/>
                    <a:gd name="connsiteX127" fmla="*/ 742207 w 761692"/>
                    <a:gd name="connsiteY127" fmla="*/ 689066 h 1016771"/>
                    <a:gd name="connsiteX128" fmla="*/ 742207 w 761692"/>
                    <a:gd name="connsiteY128" fmla="*/ 712094 h 1016771"/>
                    <a:gd name="connsiteX129" fmla="*/ 740435 w 761692"/>
                    <a:gd name="connsiteY129" fmla="*/ 735122 h 1016771"/>
                    <a:gd name="connsiteX130" fmla="*/ 742207 w 761692"/>
                    <a:gd name="connsiteY130" fmla="*/ 751065 h 1016771"/>
                    <a:gd name="connsiteX131" fmla="*/ 747521 w 761692"/>
                    <a:gd name="connsiteY131" fmla="*/ 768778 h 1016771"/>
                    <a:gd name="connsiteX132" fmla="*/ 759921 w 761692"/>
                    <a:gd name="connsiteY132" fmla="*/ 777635 h 1016771"/>
                    <a:gd name="connsiteX133" fmla="*/ 758149 w 761692"/>
                    <a:gd name="connsiteY133" fmla="*/ 802434 h 1016771"/>
                    <a:gd name="connsiteX134" fmla="*/ 752835 w 761692"/>
                    <a:gd name="connsiteY134" fmla="*/ 814834 h 1016771"/>
                    <a:gd name="connsiteX135" fmla="*/ 743978 w 761692"/>
                    <a:gd name="connsiteY135" fmla="*/ 827234 h 1016771"/>
                    <a:gd name="connsiteX136" fmla="*/ 743978 w 761692"/>
                    <a:gd name="connsiteY136" fmla="*/ 837862 h 1016771"/>
                    <a:gd name="connsiteX137" fmla="*/ 747521 w 761692"/>
                    <a:gd name="connsiteY137" fmla="*/ 853804 h 1016771"/>
                    <a:gd name="connsiteX138" fmla="*/ 733350 w 761692"/>
                    <a:gd name="connsiteY138" fmla="*/ 867975 h 1016771"/>
                    <a:gd name="connsiteX139" fmla="*/ 724493 w 761692"/>
                    <a:gd name="connsiteY139" fmla="*/ 880375 h 1016771"/>
                    <a:gd name="connsiteX140" fmla="*/ 722722 w 761692"/>
                    <a:gd name="connsiteY140" fmla="*/ 899860 h 1016771"/>
                    <a:gd name="connsiteX141" fmla="*/ 722722 w 761692"/>
                    <a:gd name="connsiteY141" fmla="*/ 919345 h 1016771"/>
                    <a:gd name="connsiteX142" fmla="*/ 715636 w 761692"/>
                    <a:gd name="connsiteY142" fmla="*/ 940602 h 1016771"/>
                    <a:gd name="connsiteX143" fmla="*/ 708551 w 761692"/>
                    <a:gd name="connsiteY143" fmla="*/ 954773 h 1016771"/>
                    <a:gd name="connsiteX144" fmla="*/ 699694 w 761692"/>
                    <a:gd name="connsiteY144" fmla="*/ 965401 h 1016771"/>
                    <a:gd name="connsiteX145" fmla="*/ 692608 w 761692"/>
                    <a:gd name="connsiteY145" fmla="*/ 984886 h 1016771"/>
                    <a:gd name="connsiteX146" fmla="*/ 683751 w 761692"/>
                    <a:gd name="connsiteY146" fmla="*/ 997286 h 1016771"/>
                    <a:gd name="connsiteX147" fmla="*/ 673123 w 761692"/>
                    <a:gd name="connsiteY147" fmla="*/ 1002600 h 1016771"/>
                    <a:gd name="connsiteX148" fmla="*/ 662495 w 761692"/>
                    <a:gd name="connsiteY148" fmla="*/ 1013228 h 1016771"/>
                    <a:gd name="connsiteX149" fmla="*/ 644781 w 761692"/>
                    <a:gd name="connsiteY149" fmla="*/ 1016771 h 1016771"/>
                    <a:gd name="connsiteX150" fmla="*/ 635924 w 761692"/>
                    <a:gd name="connsiteY150" fmla="*/ 1004372 h 1016771"/>
                    <a:gd name="connsiteX151" fmla="*/ 623525 w 761692"/>
                    <a:gd name="connsiteY151" fmla="*/ 997286 h 1016771"/>
                    <a:gd name="connsiteX152" fmla="*/ 614668 w 761692"/>
                    <a:gd name="connsiteY152" fmla="*/ 986658 h 1016771"/>
                    <a:gd name="connsiteX153" fmla="*/ 593411 w 761692"/>
                    <a:gd name="connsiteY153" fmla="*/ 970715 h 1016771"/>
                    <a:gd name="connsiteX154" fmla="*/ 582783 w 761692"/>
                    <a:gd name="connsiteY154" fmla="*/ 965401 h 1016771"/>
                    <a:gd name="connsiteX155" fmla="*/ 531413 w 761692"/>
                    <a:gd name="connsiteY155" fmla="*/ 965401 h 1016771"/>
                    <a:gd name="connsiteX156" fmla="*/ 511928 w 761692"/>
                    <a:gd name="connsiteY156" fmla="*/ 965401 h 1016771"/>
                    <a:gd name="connsiteX157" fmla="*/ 492443 w 761692"/>
                    <a:gd name="connsiteY157" fmla="*/ 963630 h 1016771"/>
                    <a:gd name="connsiteX158" fmla="*/ 483586 w 761692"/>
                    <a:gd name="connsiteY158" fmla="*/ 958316 h 1016771"/>
                    <a:gd name="connsiteX159" fmla="*/ 469415 w 761692"/>
                    <a:gd name="connsiteY159" fmla="*/ 954773 h 1016771"/>
                    <a:gd name="connsiteX160" fmla="*/ 460558 w 761692"/>
                    <a:gd name="connsiteY160" fmla="*/ 942373 h 1016771"/>
                    <a:gd name="connsiteX161" fmla="*/ 446387 w 761692"/>
                    <a:gd name="connsiteY161" fmla="*/ 935288 h 1016771"/>
                    <a:gd name="connsiteX162" fmla="*/ 428673 w 761692"/>
                    <a:gd name="connsiteY162" fmla="*/ 928202 h 1016771"/>
                    <a:gd name="connsiteX163" fmla="*/ 418045 w 761692"/>
                    <a:gd name="connsiteY163" fmla="*/ 917574 h 1016771"/>
                    <a:gd name="connsiteX164" fmla="*/ 421588 w 761692"/>
                    <a:gd name="connsiteY164" fmla="*/ 903403 h 1016771"/>
                    <a:gd name="connsiteX165" fmla="*/ 418045 w 761692"/>
                    <a:gd name="connsiteY165" fmla="*/ 898089 h 1016771"/>
                    <a:gd name="connsiteX166" fmla="*/ 396788 w 761692"/>
                    <a:gd name="connsiteY166" fmla="*/ 898089 h 1016771"/>
                    <a:gd name="connsiteX167" fmla="*/ 382617 w 761692"/>
                    <a:gd name="connsiteY167" fmla="*/ 896318 h 1016771"/>
                    <a:gd name="connsiteX168" fmla="*/ 380846 w 761692"/>
                    <a:gd name="connsiteY168" fmla="*/ 906946 h 1016771"/>
                    <a:gd name="connsiteX169" fmla="*/ 373601 w 761692"/>
                    <a:gd name="connsiteY169" fmla="*/ 894832 h 1016771"/>
                    <a:gd name="connsiteX170" fmla="*/ 387164 w 761692"/>
                    <a:gd name="connsiteY170" fmla="*/ 896527 h 1016771"/>
                    <a:gd name="connsiteX171" fmla="*/ 383773 w 761692"/>
                    <a:gd name="connsiteY171" fmla="*/ 886355 h 1016771"/>
                    <a:gd name="connsiteX172" fmla="*/ 387164 w 761692"/>
                    <a:gd name="connsiteY172" fmla="*/ 876183 h 1016771"/>
                    <a:gd name="connsiteX173" fmla="*/ 388859 w 761692"/>
                    <a:gd name="connsiteY173" fmla="*/ 867707 h 1016771"/>
                    <a:gd name="connsiteX174" fmla="*/ 380382 w 761692"/>
                    <a:gd name="connsiteY174" fmla="*/ 859230 h 1016771"/>
                    <a:gd name="connsiteX175" fmla="*/ 373601 w 761692"/>
                    <a:gd name="connsiteY175" fmla="*/ 849058 h 1016771"/>
                    <a:gd name="connsiteX176" fmla="*/ 380382 w 761692"/>
                    <a:gd name="connsiteY176" fmla="*/ 838886 h 1016771"/>
                    <a:gd name="connsiteX177" fmla="*/ 383773 w 761692"/>
                    <a:gd name="connsiteY177" fmla="*/ 833800 h 1016771"/>
                    <a:gd name="connsiteX178" fmla="*/ 388859 w 761692"/>
                    <a:gd name="connsiteY178" fmla="*/ 825324 h 1016771"/>
                    <a:gd name="connsiteX179" fmla="*/ 387164 w 761692"/>
                    <a:gd name="connsiteY179" fmla="*/ 810066 h 1016771"/>
                    <a:gd name="connsiteX180" fmla="*/ 387164 w 761692"/>
                    <a:gd name="connsiteY180" fmla="*/ 796503 h 1016771"/>
                    <a:gd name="connsiteX181" fmla="*/ 378687 w 761692"/>
                    <a:gd name="connsiteY181" fmla="*/ 789722 h 1016771"/>
                    <a:gd name="connsiteX182" fmla="*/ 366820 w 761692"/>
                    <a:gd name="connsiteY182" fmla="*/ 782940 h 1016771"/>
                    <a:gd name="connsiteX183" fmla="*/ 356648 w 761692"/>
                    <a:gd name="connsiteY183" fmla="*/ 781245 h 1016771"/>
                    <a:gd name="connsiteX184" fmla="*/ 349866 w 761692"/>
                    <a:gd name="connsiteY184" fmla="*/ 771073 h 1016771"/>
                    <a:gd name="connsiteX185" fmla="*/ 349866 w 761692"/>
                    <a:gd name="connsiteY185" fmla="*/ 752425 h 1016771"/>
                    <a:gd name="connsiteX186" fmla="*/ 353257 w 761692"/>
                    <a:gd name="connsiteY186" fmla="*/ 743948 h 1016771"/>
                    <a:gd name="connsiteX187" fmla="*/ 354952 w 761692"/>
                    <a:gd name="connsiteY187" fmla="*/ 730385 h 1016771"/>
                    <a:gd name="connsiteX188" fmla="*/ 353257 w 761692"/>
                    <a:gd name="connsiteY188" fmla="*/ 713432 h 1016771"/>
                    <a:gd name="connsiteX189" fmla="*/ 346476 w 761692"/>
                    <a:gd name="connsiteY189" fmla="*/ 701565 h 1016771"/>
                    <a:gd name="connsiteX190" fmla="*/ 332913 w 761692"/>
                    <a:gd name="connsiteY190" fmla="*/ 689697 h 1016771"/>
                    <a:gd name="connsiteX191" fmla="*/ 324436 w 761692"/>
                    <a:gd name="connsiteY191" fmla="*/ 681221 h 1016771"/>
                    <a:gd name="connsiteX192" fmla="*/ 314264 w 761692"/>
                    <a:gd name="connsiteY192" fmla="*/ 676135 h 1016771"/>
                    <a:gd name="connsiteX193" fmla="*/ 293920 w 761692"/>
                    <a:gd name="connsiteY193" fmla="*/ 669354 h 1016771"/>
                    <a:gd name="connsiteX194" fmla="*/ 282053 w 761692"/>
                    <a:gd name="connsiteY194" fmla="*/ 667658 h 1016771"/>
                    <a:gd name="connsiteX195" fmla="*/ 266795 w 761692"/>
                    <a:gd name="connsiteY195" fmla="*/ 672744 h 1016771"/>
                    <a:gd name="connsiteX196" fmla="*/ 265100 w 761692"/>
                    <a:gd name="connsiteY196" fmla="*/ 672744 h 1016771"/>
                    <a:gd name="connsiteX197" fmla="*/ 263404 w 761692"/>
                    <a:gd name="connsiteY197" fmla="*/ 671049 h 1016771"/>
                    <a:gd name="connsiteX198" fmla="*/ 260014 w 761692"/>
                    <a:gd name="connsiteY198" fmla="*/ 671049 h 1016771"/>
                    <a:gd name="connsiteX199" fmla="*/ 258318 w 761692"/>
                    <a:gd name="connsiteY199" fmla="*/ 671049 h 1016771"/>
                    <a:gd name="connsiteX200" fmla="*/ 253232 w 761692"/>
                    <a:gd name="connsiteY200" fmla="*/ 671049 h 1016771"/>
                    <a:gd name="connsiteX201" fmla="*/ 248146 w 761692"/>
                    <a:gd name="connsiteY201" fmla="*/ 672744 h 1016771"/>
                    <a:gd name="connsiteX202" fmla="*/ 248146 w 761692"/>
                    <a:gd name="connsiteY202" fmla="*/ 674440 h 1016771"/>
                    <a:gd name="connsiteX203" fmla="*/ 246451 w 761692"/>
                    <a:gd name="connsiteY203" fmla="*/ 674440 h 1016771"/>
                    <a:gd name="connsiteX204" fmla="*/ 236279 w 761692"/>
                    <a:gd name="connsiteY204" fmla="*/ 679526 h 1016771"/>
                    <a:gd name="connsiteX205" fmla="*/ 226107 w 761692"/>
                    <a:gd name="connsiteY205" fmla="*/ 684612 h 1016771"/>
                    <a:gd name="connsiteX206" fmla="*/ 217630 w 761692"/>
                    <a:gd name="connsiteY206" fmla="*/ 684612 h 1016771"/>
                    <a:gd name="connsiteX207" fmla="*/ 207458 w 761692"/>
                    <a:gd name="connsiteY207" fmla="*/ 693088 h 1016771"/>
                    <a:gd name="connsiteX208" fmla="*/ 198982 w 761692"/>
                    <a:gd name="connsiteY208" fmla="*/ 694783 h 1016771"/>
                    <a:gd name="connsiteX209" fmla="*/ 192200 w 761692"/>
                    <a:gd name="connsiteY209" fmla="*/ 699869 h 1016771"/>
                    <a:gd name="connsiteX210" fmla="*/ 178638 w 761692"/>
                    <a:gd name="connsiteY210" fmla="*/ 706651 h 1016771"/>
                    <a:gd name="connsiteX211" fmla="*/ 163380 w 761692"/>
                    <a:gd name="connsiteY211" fmla="*/ 710041 h 1016771"/>
                    <a:gd name="connsiteX212" fmla="*/ 141340 w 761692"/>
                    <a:gd name="connsiteY212" fmla="*/ 710041 h 1016771"/>
                    <a:gd name="connsiteX213" fmla="*/ 134559 w 761692"/>
                    <a:gd name="connsiteY213" fmla="*/ 716823 h 1016771"/>
                    <a:gd name="connsiteX214" fmla="*/ 127778 w 761692"/>
                    <a:gd name="connsiteY214" fmla="*/ 718518 h 1016771"/>
                    <a:gd name="connsiteX215" fmla="*/ 120996 w 761692"/>
                    <a:gd name="connsiteY215" fmla="*/ 725299 h 1016771"/>
                    <a:gd name="connsiteX216" fmla="*/ 111172 w 761692"/>
                    <a:gd name="connsiteY216" fmla="*/ 733720 h 1016771"/>
                    <a:gd name="connsiteX217" fmla="*/ 106283 w 761692"/>
                    <a:gd name="connsiteY217" fmla="*/ 729808 h 1016771"/>
                    <a:gd name="connsiteX218" fmla="*/ 92112 w 761692"/>
                    <a:gd name="connsiteY218" fmla="*/ 724494 h 1016771"/>
                    <a:gd name="connsiteX219" fmla="*/ 77941 w 761692"/>
                    <a:gd name="connsiteY219" fmla="*/ 726265 h 1016771"/>
                    <a:gd name="connsiteX220" fmla="*/ 70855 w 761692"/>
                    <a:gd name="connsiteY220" fmla="*/ 719180 h 1016771"/>
                    <a:gd name="connsiteX221" fmla="*/ 70855 w 761692"/>
                    <a:gd name="connsiteY221" fmla="*/ 699695 h 1016771"/>
                    <a:gd name="connsiteX222" fmla="*/ 81483 w 761692"/>
                    <a:gd name="connsiteY222" fmla="*/ 685524 h 1016771"/>
                    <a:gd name="connsiteX223" fmla="*/ 85026 w 761692"/>
                    <a:gd name="connsiteY223" fmla="*/ 673124 h 1016771"/>
                    <a:gd name="connsiteX224" fmla="*/ 86797 w 761692"/>
                    <a:gd name="connsiteY224" fmla="*/ 660724 h 1016771"/>
                    <a:gd name="connsiteX225" fmla="*/ 97426 w 761692"/>
                    <a:gd name="connsiteY225" fmla="*/ 650096 h 1016771"/>
                    <a:gd name="connsiteX226" fmla="*/ 102740 w 761692"/>
                    <a:gd name="connsiteY226" fmla="*/ 635925 h 1016771"/>
                    <a:gd name="connsiteX227" fmla="*/ 113368 w 761692"/>
                    <a:gd name="connsiteY227" fmla="*/ 625297 h 1016771"/>
                    <a:gd name="connsiteX228" fmla="*/ 115139 w 761692"/>
                    <a:gd name="connsiteY228" fmla="*/ 612897 h 1016771"/>
                    <a:gd name="connsiteX229" fmla="*/ 127539 w 761692"/>
                    <a:gd name="connsiteY229" fmla="*/ 609354 h 1016771"/>
                    <a:gd name="connsiteX230" fmla="*/ 136396 w 761692"/>
                    <a:gd name="connsiteY230" fmla="*/ 604040 h 1016771"/>
                    <a:gd name="connsiteX231" fmla="*/ 132853 w 761692"/>
                    <a:gd name="connsiteY231" fmla="*/ 593412 h 1016771"/>
                    <a:gd name="connsiteX232" fmla="*/ 134625 w 761692"/>
                    <a:gd name="connsiteY232" fmla="*/ 584555 h 1016771"/>
                    <a:gd name="connsiteX233" fmla="*/ 131082 w 761692"/>
                    <a:gd name="connsiteY233" fmla="*/ 575698 h 1016771"/>
                    <a:gd name="connsiteX234" fmla="*/ 120454 w 761692"/>
                    <a:gd name="connsiteY234" fmla="*/ 568613 h 1016771"/>
                    <a:gd name="connsiteX235" fmla="*/ 125768 w 761692"/>
                    <a:gd name="connsiteY235" fmla="*/ 552670 h 1016771"/>
                    <a:gd name="connsiteX236" fmla="*/ 118682 w 761692"/>
                    <a:gd name="connsiteY236" fmla="*/ 543813 h 1016771"/>
                    <a:gd name="connsiteX237" fmla="*/ 90340 w 761692"/>
                    <a:gd name="connsiteY237" fmla="*/ 543813 h 1016771"/>
                    <a:gd name="connsiteX238" fmla="*/ 86797 w 761692"/>
                    <a:gd name="connsiteY238" fmla="*/ 542042 h 1016771"/>
                    <a:gd name="connsiteX239" fmla="*/ 83255 w 761692"/>
                    <a:gd name="connsiteY239" fmla="*/ 542042 h 1016771"/>
                    <a:gd name="connsiteX240" fmla="*/ 81483 w 761692"/>
                    <a:gd name="connsiteY240" fmla="*/ 540271 h 1016771"/>
                    <a:gd name="connsiteX241" fmla="*/ 81483 w 761692"/>
                    <a:gd name="connsiteY241" fmla="*/ 536728 h 1016771"/>
                    <a:gd name="connsiteX242" fmla="*/ 79712 w 761692"/>
                    <a:gd name="connsiteY242" fmla="*/ 531414 h 1016771"/>
                    <a:gd name="connsiteX243" fmla="*/ 77941 w 761692"/>
                    <a:gd name="connsiteY243" fmla="*/ 529642 h 1016771"/>
                    <a:gd name="connsiteX244" fmla="*/ 70855 w 761692"/>
                    <a:gd name="connsiteY244" fmla="*/ 527871 h 1016771"/>
                    <a:gd name="connsiteX245" fmla="*/ 60227 w 761692"/>
                    <a:gd name="connsiteY245" fmla="*/ 536728 h 1016771"/>
                    <a:gd name="connsiteX246" fmla="*/ 47827 w 761692"/>
                    <a:gd name="connsiteY246" fmla="*/ 526100 h 1016771"/>
                    <a:gd name="connsiteX247" fmla="*/ 42513 w 761692"/>
                    <a:gd name="connsiteY247" fmla="*/ 515471 h 1016771"/>
                    <a:gd name="connsiteX248" fmla="*/ 33656 w 761692"/>
                    <a:gd name="connsiteY248" fmla="*/ 506614 h 1016771"/>
                    <a:gd name="connsiteX249" fmla="*/ 31885 w 761692"/>
                    <a:gd name="connsiteY249" fmla="*/ 490672 h 1016771"/>
                    <a:gd name="connsiteX250" fmla="*/ 26571 w 761692"/>
                    <a:gd name="connsiteY250" fmla="*/ 476501 h 1016771"/>
                    <a:gd name="connsiteX251" fmla="*/ 24799 w 761692"/>
                    <a:gd name="connsiteY251" fmla="*/ 471187 h 1016771"/>
                    <a:gd name="connsiteX252" fmla="*/ 12400 w 761692"/>
                    <a:gd name="connsiteY252" fmla="*/ 472958 h 1016771"/>
                    <a:gd name="connsiteX253" fmla="*/ 7086 w 761692"/>
                    <a:gd name="connsiteY253" fmla="*/ 464101 h 1016771"/>
                    <a:gd name="connsiteX254" fmla="*/ 8857 w 761692"/>
                    <a:gd name="connsiteY254" fmla="*/ 446388 h 1016771"/>
                    <a:gd name="connsiteX255" fmla="*/ 3543 w 761692"/>
                    <a:gd name="connsiteY255" fmla="*/ 435759 h 1016771"/>
                    <a:gd name="connsiteX256" fmla="*/ 5314 w 761692"/>
                    <a:gd name="connsiteY256" fmla="*/ 412731 h 1016771"/>
                    <a:gd name="connsiteX257" fmla="*/ 0 w 761692"/>
                    <a:gd name="connsiteY257" fmla="*/ 396789 h 1016771"/>
                    <a:gd name="connsiteX258" fmla="*/ 3543 w 761692"/>
                    <a:gd name="connsiteY258" fmla="*/ 384389 h 1016771"/>
                    <a:gd name="connsiteX259" fmla="*/ 14171 w 761692"/>
                    <a:gd name="connsiteY259" fmla="*/ 380846 h 1016771"/>
                    <a:gd name="connsiteX260" fmla="*/ 24799 w 761692"/>
                    <a:gd name="connsiteY260" fmla="*/ 364904 h 1016771"/>
                    <a:gd name="connsiteX261" fmla="*/ 30113 w 761692"/>
                    <a:gd name="connsiteY261" fmla="*/ 350733 h 1016771"/>
                    <a:gd name="connsiteX262" fmla="*/ 35428 w 761692"/>
                    <a:gd name="connsiteY262" fmla="*/ 341876 h 1016771"/>
                    <a:gd name="connsiteX263" fmla="*/ 42513 w 761692"/>
                    <a:gd name="connsiteY263" fmla="*/ 327705 h 1016771"/>
                    <a:gd name="connsiteX264" fmla="*/ 42513 w 761692"/>
                    <a:gd name="connsiteY264" fmla="*/ 315305 h 1016771"/>
                    <a:gd name="connsiteX265" fmla="*/ 56684 w 761692"/>
                    <a:gd name="connsiteY265" fmla="*/ 309991 h 1016771"/>
                    <a:gd name="connsiteX266" fmla="*/ 60227 w 761692"/>
                    <a:gd name="connsiteY266" fmla="*/ 309991 h 1016771"/>
                    <a:gd name="connsiteX267" fmla="*/ 61998 w 761692"/>
                    <a:gd name="connsiteY267" fmla="*/ 311763 h 1016771"/>
                    <a:gd name="connsiteX268" fmla="*/ 67312 w 761692"/>
                    <a:gd name="connsiteY268" fmla="*/ 311763 h 1016771"/>
                    <a:gd name="connsiteX269" fmla="*/ 67312 w 761692"/>
                    <a:gd name="connsiteY269" fmla="*/ 309991 h 1016771"/>
                    <a:gd name="connsiteX270" fmla="*/ 67312 w 761692"/>
                    <a:gd name="connsiteY270" fmla="*/ 308220 h 1016771"/>
                    <a:gd name="connsiteX271" fmla="*/ 69084 w 761692"/>
                    <a:gd name="connsiteY271" fmla="*/ 302906 h 1016771"/>
                    <a:gd name="connsiteX272" fmla="*/ 70855 w 761692"/>
                    <a:gd name="connsiteY272" fmla="*/ 301134 h 1016771"/>
                    <a:gd name="connsiteX273" fmla="*/ 70855 w 761692"/>
                    <a:gd name="connsiteY273" fmla="*/ 299363 h 1016771"/>
                    <a:gd name="connsiteX274" fmla="*/ 77941 w 761692"/>
                    <a:gd name="connsiteY274" fmla="*/ 295820 h 1016771"/>
                    <a:gd name="connsiteX275" fmla="*/ 85026 w 761692"/>
                    <a:gd name="connsiteY275" fmla="*/ 295820 h 1016771"/>
                    <a:gd name="connsiteX276" fmla="*/ 93883 w 761692"/>
                    <a:gd name="connsiteY276" fmla="*/ 297592 h 1016771"/>
                    <a:gd name="connsiteX277" fmla="*/ 100968 w 761692"/>
                    <a:gd name="connsiteY277" fmla="*/ 288735 h 1016771"/>
                    <a:gd name="connsiteX278" fmla="*/ 97426 w 761692"/>
                    <a:gd name="connsiteY278" fmla="*/ 279878 h 1016771"/>
                    <a:gd name="connsiteX279" fmla="*/ 85026 w 761692"/>
                    <a:gd name="connsiteY279" fmla="*/ 276335 h 1016771"/>
                    <a:gd name="connsiteX280" fmla="*/ 76169 w 761692"/>
                    <a:gd name="connsiteY280" fmla="*/ 271021 h 1016771"/>
                    <a:gd name="connsiteX281" fmla="*/ 76169 w 761692"/>
                    <a:gd name="connsiteY281" fmla="*/ 262164 h 1016771"/>
                    <a:gd name="connsiteX282" fmla="*/ 81483 w 761692"/>
                    <a:gd name="connsiteY282" fmla="*/ 251536 h 1016771"/>
                    <a:gd name="connsiteX283" fmla="*/ 86797 w 761692"/>
                    <a:gd name="connsiteY283" fmla="*/ 255079 h 1016771"/>
                    <a:gd name="connsiteX284" fmla="*/ 104511 w 761692"/>
                    <a:gd name="connsiteY284" fmla="*/ 262164 h 1016771"/>
                    <a:gd name="connsiteX285" fmla="*/ 116911 w 761692"/>
                    <a:gd name="connsiteY285" fmla="*/ 265707 h 1016771"/>
                    <a:gd name="connsiteX286" fmla="*/ 132853 w 761692"/>
                    <a:gd name="connsiteY286" fmla="*/ 269250 h 1016771"/>
                    <a:gd name="connsiteX287" fmla="*/ 138167 w 761692"/>
                    <a:gd name="connsiteY287" fmla="*/ 265707 h 1016771"/>
                    <a:gd name="connsiteX288" fmla="*/ 150567 w 761692"/>
                    <a:gd name="connsiteY288" fmla="*/ 255079 h 1016771"/>
                    <a:gd name="connsiteX289" fmla="*/ 166509 w 761692"/>
                    <a:gd name="connsiteY289" fmla="*/ 255079 h 1016771"/>
                    <a:gd name="connsiteX290" fmla="*/ 166509 w 761692"/>
                    <a:gd name="connsiteY290" fmla="*/ 265707 h 1016771"/>
                    <a:gd name="connsiteX291" fmla="*/ 177138 w 761692"/>
                    <a:gd name="connsiteY291" fmla="*/ 272792 h 1016771"/>
                    <a:gd name="connsiteX292" fmla="*/ 194851 w 761692"/>
                    <a:gd name="connsiteY292" fmla="*/ 276335 h 1016771"/>
                    <a:gd name="connsiteX293" fmla="*/ 209022 w 761692"/>
                    <a:gd name="connsiteY293" fmla="*/ 279878 h 1016771"/>
                    <a:gd name="connsiteX294" fmla="*/ 221422 w 761692"/>
                    <a:gd name="connsiteY294" fmla="*/ 276335 h 1016771"/>
                    <a:gd name="connsiteX295" fmla="*/ 226736 w 761692"/>
                    <a:gd name="connsiteY295" fmla="*/ 269250 h 1016771"/>
                    <a:gd name="connsiteX296" fmla="*/ 226736 w 761692"/>
                    <a:gd name="connsiteY296" fmla="*/ 251536 h 1016771"/>
                    <a:gd name="connsiteX297" fmla="*/ 224965 w 761692"/>
                    <a:gd name="connsiteY297" fmla="*/ 239136 h 1016771"/>
                    <a:gd name="connsiteX298" fmla="*/ 214337 w 761692"/>
                    <a:gd name="connsiteY298" fmla="*/ 230279 h 1016771"/>
                    <a:gd name="connsiteX299" fmla="*/ 210794 w 761692"/>
                    <a:gd name="connsiteY299" fmla="*/ 217880 h 1016771"/>
                    <a:gd name="connsiteX300" fmla="*/ 221422 w 761692"/>
                    <a:gd name="connsiteY300" fmla="*/ 207251 h 1016771"/>
                    <a:gd name="connsiteX301" fmla="*/ 235593 w 761692"/>
                    <a:gd name="connsiteY301" fmla="*/ 214337 h 1016771"/>
                    <a:gd name="connsiteX302" fmla="*/ 246221 w 761692"/>
                    <a:gd name="connsiteY302" fmla="*/ 219651 h 1016771"/>
                    <a:gd name="connsiteX303" fmla="*/ 253307 w 761692"/>
                    <a:gd name="connsiteY303" fmla="*/ 221422 h 1016771"/>
                    <a:gd name="connsiteX304" fmla="*/ 262164 w 761692"/>
                    <a:gd name="connsiteY304" fmla="*/ 210794 h 1016771"/>
                    <a:gd name="connsiteX305" fmla="*/ 263935 w 761692"/>
                    <a:gd name="connsiteY305" fmla="*/ 201937 h 1016771"/>
                    <a:gd name="connsiteX306" fmla="*/ 274563 w 761692"/>
                    <a:gd name="connsiteY306" fmla="*/ 189538 h 1016771"/>
                    <a:gd name="connsiteX307" fmla="*/ 283420 w 761692"/>
                    <a:gd name="connsiteY307" fmla="*/ 178909 h 1016771"/>
                    <a:gd name="connsiteX308" fmla="*/ 286963 w 761692"/>
                    <a:gd name="connsiteY308" fmla="*/ 173595 h 1016771"/>
                    <a:gd name="connsiteX309" fmla="*/ 311762 w 761692"/>
                    <a:gd name="connsiteY309" fmla="*/ 168281 h 1016771"/>
                    <a:gd name="connsiteX310" fmla="*/ 325933 w 761692"/>
                    <a:gd name="connsiteY310" fmla="*/ 164738 h 1016771"/>
                    <a:gd name="connsiteX311" fmla="*/ 336562 w 761692"/>
                    <a:gd name="connsiteY311" fmla="*/ 159424 h 1016771"/>
                    <a:gd name="connsiteX312" fmla="*/ 348961 w 761692"/>
                    <a:gd name="connsiteY312" fmla="*/ 145253 h 1016771"/>
                    <a:gd name="connsiteX313" fmla="*/ 359589 w 761692"/>
                    <a:gd name="connsiteY313" fmla="*/ 143482 h 1016771"/>
                    <a:gd name="connsiteX314" fmla="*/ 371989 w 761692"/>
                    <a:gd name="connsiteY314" fmla="*/ 143482 h 1016771"/>
                    <a:gd name="connsiteX315" fmla="*/ 391474 w 761692"/>
                    <a:gd name="connsiteY315" fmla="*/ 143482 h 1016771"/>
                    <a:gd name="connsiteX316" fmla="*/ 396788 w 761692"/>
                    <a:gd name="connsiteY316" fmla="*/ 141710 h 1016771"/>
                    <a:gd name="connsiteX317" fmla="*/ 403874 w 761692"/>
                    <a:gd name="connsiteY317" fmla="*/ 134625 h 1016771"/>
                    <a:gd name="connsiteX318" fmla="*/ 409188 w 761692"/>
                    <a:gd name="connsiteY318" fmla="*/ 129311 h 1016771"/>
                    <a:gd name="connsiteX319" fmla="*/ 409188 w 761692"/>
                    <a:gd name="connsiteY319" fmla="*/ 123997 h 1016771"/>
                    <a:gd name="connsiteX320" fmla="*/ 414502 w 761692"/>
                    <a:gd name="connsiteY320" fmla="*/ 115140 h 1016771"/>
                    <a:gd name="connsiteX321" fmla="*/ 428673 w 761692"/>
                    <a:gd name="connsiteY321" fmla="*/ 115140 h 1016771"/>
                    <a:gd name="connsiteX322" fmla="*/ 432216 w 761692"/>
                    <a:gd name="connsiteY322" fmla="*/ 109826 h 1016771"/>
                    <a:gd name="connsiteX323" fmla="*/ 437530 w 761692"/>
                    <a:gd name="connsiteY323" fmla="*/ 100969 h 1016771"/>
                    <a:gd name="connsiteX324" fmla="*/ 448158 w 761692"/>
                    <a:gd name="connsiteY324" fmla="*/ 99197 h 1016771"/>
                    <a:gd name="connsiteX325" fmla="*/ 460558 w 761692"/>
                    <a:gd name="connsiteY325" fmla="*/ 97426 h 1016771"/>
                    <a:gd name="connsiteX326" fmla="*/ 472958 w 761692"/>
                    <a:gd name="connsiteY326" fmla="*/ 93883 h 1016771"/>
                    <a:gd name="connsiteX327" fmla="*/ 492443 w 761692"/>
                    <a:gd name="connsiteY327" fmla="*/ 93883 h 1016771"/>
                    <a:gd name="connsiteX328" fmla="*/ 501300 w 761692"/>
                    <a:gd name="connsiteY328" fmla="*/ 83255 h 1016771"/>
                    <a:gd name="connsiteX329" fmla="*/ 517242 w 761692"/>
                    <a:gd name="connsiteY329" fmla="*/ 81484 h 1016771"/>
                    <a:gd name="connsiteX330" fmla="*/ 522556 w 761692"/>
                    <a:gd name="connsiteY330" fmla="*/ 81484 h 1016771"/>
                    <a:gd name="connsiteX331" fmla="*/ 522556 w 761692"/>
                    <a:gd name="connsiteY331" fmla="*/ 60227 h 1016771"/>
                    <a:gd name="connsiteX332" fmla="*/ 526099 w 761692"/>
                    <a:gd name="connsiteY332" fmla="*/ 54913 h 1016771"/>
                    <a:gd name="connsiteX333" fmla="*/ 529642 w 761692"/>
                    <a:gd name="connsiteY333" fmla="*/ 46056 h 1016771"/>
                    <a:gd name="connsiteX334" fmla="*/ 538499 w 761692"/>
                    <a:gd name="connsiteY334" fmla="*/ 40742 h 1016771"/>
                    <a:gd name="connsiteX335" fmla="*/ 540270 w 761692"/>
                    <a:gd name="connsiteY335" fmla="*/ 30114 h 1016771"/>
                    <a:gd name="connsiteX336" fmla="*/ 536727 w 761692"/>
                    <a:gd name="connsiteY336" fmla="*/ 19485 h 1016771"/>
                    <a:gd name="connsiteX337" fmla="*/ 543813 w 761692"/>
                    <a:gd name="connsiteY337" fmla="*/ 5314 h 1016771"/>
                    <a:gd name="connsiteX338" fmla="*/ 554441 w 761692"/>
                    <a:gd name="connsiteY338" fmla="*/ 0 h 1016771"/>
                    <a:gd name="connsiteX0" fmla="*/ 278662 w 761692"/>
                    <a:gd name="connsiteY0" fmla="*/ 913481 h 1016771"/>
                    <a:gd name="connsiteX1" fmla="*/ 307483 w 761692"/>
                    <a:gd name="connsiteY1" fmla="*/ 901613 h 1016771"/>
                    <a:gd name="connsiteX2" fmla="*/ 311729 w 761692"/>
                    <a:gd name="connsiteY2" fmla="*/ 903178 h 1016771"/>
                    <a:gd name="connsiteX3" fmla="*/ 288734 w 761692"/>
                    <a:gd name="connsiteY3" fmla="*/ 903403 h 1016771"/>
                    <a:gd name="connsiteX4" fmla="*/ 283420 w 761692"/>
                    <a:gd name="connsiteY4" fmla="*/ 915803 h 1016771"/>
                    <a:gd name="connsiteX5" fmla="*/ 271021 w 761692"/>
                    <a:gd name="connsiteY5" fmla="*/ 912260 h 1016771"/>
                    <a:gd name="connsiteX6" fmla="*/ 270666 w 761692"/>
                    <a:gd name="connsiteY6" fmla="*/ 911196 h 1016771"/>
                    <a:gd name="connsiteX7" fmla="*/ 278662 w 761692"/>
                    <a:gd name="connsiteY7" fmla="*/ 913481 h 1016771"/>
                    <a:gd name="connsiteX8" fmla="*/ 222919 w 761692"/>
                    <a:gd name="connsiteY8" fmla="*/ 879608 h 1016771"/>
                    <a:gd name="connsiteX9" fmla="*/ 243060 w 761692"/>
                    <a:gd name="connsiteY9" fmla="*/ 882965 h 1016771"/>
                    <a:gd name="connsiteX10" fmla="*/ 243990 w 761692"/>
                    <a:gd name="connsiteY10" fmla="*/ 883546 h 1016771"/>
                    <a:gd name="connsiteX11" fmla="*/ 224965 w 761692"/>
                    <a:gd name="connsiteY11" fmla="*/ 880375 h 1016771"/>
                    <a:gd name="connsiteX12" fmla="*/ 222919 w 761692"/>
                    <a:gd name="connsiteY12" fmla="*/ 879608 h 1016771"/>
                    <a:gd name="connsiteX13" fmla="*/ 159250 w 761692"/>
                    <a:gd name="connsiteY13" fmla="*/ 829179 h 1016771"/>
                    <a:gd name="connsiteX14" fmla="*/ 159989 w 761692"/>
                    <a:gd name="connsiteY14" fmla="*/ 830410 h 1016771"/>
                    <a:gd name="connsiteX15" fmla="*/ 151512 w 761692"/>
                    <a:gd name="connsiteY15" fmla="*/ 838886 h 1016771"/>
                    <a:gd name="connsiteX16" fmla="*/ 149817 w 761692"/>
                    <a:gd name="connsiteY16" fmla="*/ 840582 h 1016771"/>
                    <a:gd name="connsiteX17" fmla="*/ 148122 w 761692"/>
                    <a:gd name="connsiteY17" fmla="*/ 842277 h 1016771"/>
                    <a:gd name="connsiteX18" fmla="*/ 146426 w 761692"/>
                    <a:gd name="connsiteY18" fmla="*/ 843972 h 1016771"/>
                    <a:gd name="connsiteX19" fmla="*/ 141340 w 761692"/>
                    <a:gd name="connsiteY19" fmla="*/ 849058 h 1016771"/>
                    <a:gd name="connsiteX20" fmla="*/ 141340 w 761692"/>
                    <a:gd name="connsiteY20" fmla="*/ 850754 h 1016771"/>
                    <a:gd name="connsiteX21" fmla="*/ 139645 w 761692"/>
                    <a:gd name="connsiteY21" fmla="*/ 852449 h 1016771"/>
                    <a:gd name="connsiteX22" fmla="*/ 139645 w 761692"/>
                    <a:gd name="connsiteY22" fmla="*/ 860925 h 1016771"/>
                    <a:gd name="connsiteX23" fmla="*/ 148122 w 761692"/>
                    <a:gd name="connsiteY23" fmla="*/ 867707 h 1016771"/>
                    <a:gd name="connsiteX24" fmla="*/ 158294 w 761692"/>
                    <a:gd name="connsiteY24" fmla="*/ 879574 h 1016771"/>
                    <a:gd name="connsiteX25" fmla="*/ 175247 w 761692"/>
                    <a:gd name="connsiteY25" fmla="*/ 889746 h 1016771"/>
                    <a:gd name="connsiteX26" fmla="*/ 188810 w 761692"/>
                    <a:gd name="connsiteY26" fmla="*/ 893137 h 1016771"/>
                    <a:gd name="connsiteX27" fmla="*/ 195591 w 761692"/>
                    <a:gd name="connsiteY27" fmla="*/ 893137 h 1016771"/>
                    <a:gd name="connsiteX28" fmla="*/ 202372 w 761692"/>
                    <a:gd name="connsiteY28" fmla="*/ 886355 h 1016771"/>
                    <a:gd name="connsiteX29" fmla="*/ 200677 w 761692"/>
                    <a:gd name="connsiteY29" fmla="*/ 877879 h 1016771"/>
                    <a:gd name="connsiteX30" fmla="*/ 209154 w 761692"/>
                    <a:gd name="connsiteY30" fmla="*/ 874488 h 1016771"/>
                    <a:gd name="connsiteX31" fmla="*/ 210740 w 761692"/>
                    <a:gd name="connsiteY31" fmla="*/ 875083 h 1016771"/>
                    <a:gd name="connsiteX32" fmla="*/ 201937 w 761692"/>
                    <a:gd name="connsiteY32" fmla="*/ 878604 h 1016771"/>
                    <a:gd name="connsiteX33" fmla="*/ 203708 w 761692"/>
                    <a:gd name="connsiteY33" fmla="*/ 887461 h 1016771"/>
                    <a:gd name="connsiteX34" fmla="*/ 196623 w 761692"/>
                    <a:gd name="connsiteY34" fmla="*/ 894546 h 1016771"/>
                    <a:gd name="connsiteX35" fmla="*/ 189537 w 761692"/>
                    <a:gd name="connsiteY35" fmla="*/ 894546 h 1016771"/>
                    <a:gd name="connsiteX36" fmla="*/ 175366 w 761692"/>
                    <a:gd name="connsiteY36" fmla="*/ 891003 h 1016771"/>
                    <a:gd name="connsiteX37" fmla="*/ 157653 w 761692"/>
                    <a:gd name="connsiteY37" fmla="*/ 880375 h 1016771"/>
                    <a:gd name="connsiteX38" fmla="*/ 147024 w 761692"/>
                    <a:gd name="connsiteY38" fmla="*/ 867975 h 1016771"/>
                    <a:gd name="connsiteX39" fmla="*/ 138167 w 761692"/>
                    <a:gd name="connsiteY39" fmla="*/ 860890 h 1016771"/>
                    <a:gd name="connsiteX40" fmla="*/ 138167 w 761692"/>
                    <a:gd name="connsiteY40" fmla="*/ 852033 h 1016771"/>
                    <a:gd name="connsiteX41" fmla="*/ 139939 w 761692"/>
                    <a:gd name="connsiteY41" fmla="*/ 850262 h 1016771"/>
                    <a:gd name="connsiteX42" fmla="*/ 139939 w 761692"/>
                    <a:gd name="connsiteY42" fmla="*/ 848490 h 1016771"/>
                    <a:gd name="connsiteX43" fmla="*/ 145253 w 761692"/>
                    <a:gd name="connsiteY43" fmla="*/ 843176 h 1016771"/>
                    <a:gd name="connsiteX44" fmla="*/ 147024 w 761692"/>
                    <a:gd name="connsiteY44" fmla="*/ 841405 h 1016771"/>
                    <a:gd name="connsiteX45" fmla="*/ 148796 w 761692"/>
                    <a:gd name="connsiteY45" fmla="*/ 839633 h 1016771"/>
                    <a:gd name="connsiteX46" fmla="*/ 150567 w 761692"/>
                    <a:gd name="connsiteY46" fmla="*/ 837862 h 1016771"/>
                    <a:gd name="connsiteX47" fmla="*/ 159250 w 761692"/>
                    <a:gd name="connsiteY47" fmla="*/ 829179 h 1016771"/>
                    <a:gd name="connsiteX48" fmla="*/ 116476 w 761692"/>
                    <a:gd name="connsiteY48" fmla="*/ 741349 h 1016771"/>
                    <a:gd name="connsiteX49" fmla="*/ 117606 w 761692"/>
                    <a:gd name="connsiteY49" fmla="*/ 742253 h 1016771"/>
                    <a:gd name="connsiteX50" fmla="*/ 122692 w 761692"/>
                    <a:gd name="connsiteY50" fmla="*/ 759206 h 1016771"/>
                    <a:gd name="connsiteX51" fmla="*/ 126082 w 761692"/>
                    <a:gd name="connsiteY51" fmla="*/ 771073 h 1016771"/>
                    <a:gd name="connsiteX52" fmla="*/ 129473 w 761692"/>
                    <a:gd name="connsiteY52" fmla="*/ 782940 h 1016771"/>
                    <a:gd name="connsiteX53" fmla="*/ 132864 w 761692"/>
                    <a:gd name="connsiteY53" fmla="*/ 793112 h 1016771"/>
                    <a:gd name="connsiteX54" fmla="*/ 136254 w 761692"/>
                    <a:gd name="connsiteY54" fmla="*/ 810066 h 1016771"/>
                    <a:gd name="connsiteX55" fmla="*/ 139058 w 761692"/>
                    <a:gd name="connsiteY55" fmla="*/ 818476 h 1016771"/>
                    <a:gd name="connsiteX56" fmla="*/ 138167 w 761692"/>
                    <a:gd name="connsiteY56" fmla="*/ 818377 h 1016771"/>
                    <a:gd name="connsiteX57" fmla="*/ 134625 w 761692"/>
                    <a:gd name="connsiteY57" fmla="*/ 807749 h 1016771"/>
                    <a:gd name="connsiteX58" fmla="*/ 131082 w 761692"/>
                    <a:gd name="connsiteY58" fmla="*/ 790035 h 1016771"/>
                    <a:gd name="connsiteX59" fmla="*/ 127539 w 761692"/>
                    <a:gd name="connsiteY59" fmla="*/ 779407 h 1016771"/>
                    <a:gd name="connsiteX60" fmla="*/ 123996 w 761692"/>
                    <a:gd name="connsiteY60" fmla="*/ 767007 h 1016771"/>
                    <a:gd name="connsiteX61" fmla="*/ 120454 w 761692"/>
                    <a:gd name="connsiteY61" fmla="*/ 754607 h 1016771"/>
                    <a:gd name="connsiteX62" fmla="*/ 116476 w 761692"/>
                    <a:gd name="connsiteY62" fmla="*/ 741349 h 1016771"/>
                    <a:gd name="connsiteX63" fmla="*/ 554441 w 761692"/>
                    <a:gd name="connsiteY63" fmla="*/ 0 h 1016771"/>
                    <a:gd name="connsiteX64" fmla="*/ 570383 w 761692"/>
                    <a:gd name="connsiteY64" fmla="*/ 3543 h 1016771"/>
                    <a:gd name="connsiteX65" fmla="*/ 577469 w 761692"/>
                    <a:gd name="connsiteY65" fmla="*/ 8857 h 1016771"/>
                    <a:gd name="connsiteX66" fmla="*/ 582783 w 761692"/>
                    <a:gd name="connsiteY66" fmla="*/ 17714 h 1016771"/>
                    <a:gd name="connsiteX67" fmla="*/ 582783 w 761692"/>
                    <a:gd name="connsiteY67" fmla="*/ 24799 h 1016771"/>
                    <a:gd name="connsiteX68" fmla="*/ 588097 w 761692"/>
                    <a:gd name="connsiteY68" fmla="*/ 33656 h 1016771"/>
                    <a:gd name="connsiteX69" fmla="*/ 598725 w 761692"/>
                    <a:gd name="connsiteY69" fmla="*/ 31885 h 1016771"/>
                    <a:gd name="connsiteX70" fmla="*/ 612896 w 761692"/>
                    <a:gd name="connsiteY70" fmla="*/ 37199 h 1016771"/>
                    <a:gd name="connsiteX71" fmla="*/ 618211 w 761692"/>
                    <a:gd name="connsiteY71" fmla="*/ 46056 h 1016771"/>
                    <a:gd name="connsiteX72" fmla="*/ 619982 w 761692"/>
                    <a:gd name="connsiteY72" fmla="*/ 54913 h 1016771"/>
                    <a:gd name="connsiteX73" fmla="*/ 618211 w 761692"/>
                    <a:gd name="connsiteY73" fmla="*/ 74398 h 1016771"/>
                    <a:gd name="connsiteX74" fmla="*/ 616439 w 761692"/>
                    <a:gd name="connsiteY74" fmla="*/ 85026 h 1016771"/>
                    <a:gd name="connsiteX75" fmla="*/ 621753 w 761692"/>
                    <a:gd name="connsiteY75" fmla="*/ 97426 h 1016771"/>
                    <a:gd name="connsiteX76" fmla="*/ 637696 w 761692"/>
                    <a:gd name="connsiteY76" fmla="*/ 113368 h 1016771"/>
                    <a:gd name="connsiteX77" fmla="*/ 644781 w 761692"/>
                    <a:gd name="connsiteY77" fmla="*/ 120454 h 1016771"/>
                    <a:gd name="connsiteX78" fmla="*/ 650095 w 761692"/>
                    <a:gd name="connsiteY78" fmla="*/ 136396 h 1016771"/>
                    <a:gd name="connsiteX79" fmla="*/ 655409 w 761692"/>
                    <a:gd name="connsiteY79" fmla="*/ 155881 h 1016771"/>
                    <a:gd name="connsiteX80" fmla="*/ 662495 w 761692"/>
                    <a:gd name="connsiteY80" fmla="*/ 171824 h 1016771"/>
                    <a:gd name="connsiteX81" fmla="*/ 660724 w 761692"/>
                    <a:gd name="connsiteY81" fmla="*/ 185995 h 1016771"/>
                    <a:gd name="connsiteX82" fmla="*/ 635924 w 761692"/>
                    <a:gd name="connsiteY82" fmla="*/ 194852 h 1016771"/>
                    <a:gd name="connsiteX83" fmla="*/ 619982 w 761692"/>
                    <a:gd name="connsiteY83" fmla="*/ 207251 h 1016771"/>
                    <a:gd name="connsiteX84" fmla="*/ 614668 w 761692"/>
                    <a:gd name="connsiteY84" fmla="*/ 223194 h 1016771"/>
                    <a:gd name="connsiteX85" fmla="*/ 618211 w 761692"/>
                    <a:gd name="connsiteY85" fmla="*/ 242679 h 1016771"/>
                    <a:gd name="connsiteX86" fmla="*/ 612896 w 761692"/>
                    <a:gd name="connsiteY86" fmla="*/ 256850 h 1016771"/>
                    <a:gd name="connsiteX87" fmla="*/ 625296 w 761692"/>
                    <a:gd name="connsiteY87" fmla="*/ 267478 h 1016771"/>
                    <a:gd name="connsiteX88" fmla="*/ 641238 w 761692"/>
                    <a:gd name="connsiteY88" fmla="*/ 269250 h 1016771"/>
                    <a:gd name="connsiteX89" fmla="*/ 658952 w 761692"/>
                    <a:gd name="connsiteY89" fmla="*/ 286963 h 1016771"/>
                    <a:gd name="connsiteX90" fmla="*/ 653638 w 761692"/>
                    <a:gd name="connsiteY90" fmla="*/ 309991 h 1016771"/>
                    <a:gd name="connsiteX91" fmla="*/ 653638 w 761692"/>
                    <a:gd name="connsiteY91" fmla="*/ 329476 h 1016771"/>
                    <a:gd name="connsiteX92" fmla="*/ 643010 w 761692"/>
                    <a:gd name="connsiteY92" fmla="*/ 338333 h 1016771"/>
                    <a:gd name="connsiteX93" fmla="*/ 632382 w 761692"/>
                    <a:gd name="connsiteY93" fmla="*/ 338333 h 1016771"/>
                    <a:gd name="connsiteX94" fmla="*/ 618211 w 761692"/>
                    <a:gd name="connsiteY94" fmla="*/ 357819 h 1016771"/>
                    <a:gd name="connsiteX95" fmla="*/ 609354 w 761692"/>
                    <a:gd name="connsiteY95" fmla="*/ 361361 h 1016771"/>
                    <a:gd name="connsiteX96" fmla="*/ 596954 w 761692"/>
                    <a:gd name="connsiteY96" fmla="*/ 363133 h 1016771"/>
                    <a:gd name="connsiteX97" fmla="*/ 581012 w 761692"/>
                    <a:gd name="connsiteY97" fmla="*/ 379075 h 1016771"/>
                    <a:gd name="connsiteX98" fmla="*/ 589868 w 761692"/>
                    <a:gd name="connsiteY98" fmla="*/ 393246 h 1016771"/>
                    <a:gd name="connsiteX99" fmla="*/ 586326 w 761692"/>
                    <a:gd name="connsiteY99" fmla="*/ 409189 h 1016771"/>
                    <a:gd name="connsiteX100" fmla="*/ 570383 w 761692"/>
                    <a:gd name="connsiteY100" fmla="*/ 398560 h 1016771"/>
                    <a:gd name="connsiteX101" fmla="*/ 550898 w 761692"/>
                    <a:gd name="connsiteY101" fmla="*/ 405646 h 1016771"/>
                    <a:gd name="connsiteX102" fmla="*/ 531413 w 761692"/>
                    <a:gd name="connsiteY102" fmla="*/ 425131 h 1016771"/>
                    <a:gd name="connsiteX103" fmla="*/ 543813 w 761692"/>
                    <a:gd name="connsiteY103" fmla="*/ 444616 h 1016771"/>
                    <a:gd name="connsiteX104" fmla="*/ 557984 w 761692"/>
                    <a:gd name="connsiteY104" fmla="*/ 462330 h 1016771"/>
                    <a:gd name="connsiteX105" fmla="*/ 570383 w 761692"/>
                    <a:gd name="connsiteY105" fmla="*/ 478272 h 1016771"/>
                    <a:gd name="connsiteX106" fmla="*/ 579240 w 761692"/>
                    <a:gd name="connsiteY106" fmla="*/ 485358 h 1016771"/>
                    <a:gd name="connsiteX107" fmla="*/ 602268 w 761692"/>
                    <a:gd name="connsiteY107" fmla="*/ 483586 h 1016771"/>
                    <a:gd name="connsiteX108" fmla="*/ 623525 w 761692"/>
                    <a:gd name="connsiteY108" fmla="*/ 474730 h 1016771"/>
                    <a:gd name="connsiteX109" fmla="*/ 639467 w 761692"/>
                    <a:gd name="connsiteY109" fmla="*/ 464101 h 1016771"/>
                    <a:gd name="connsiteX110" fmla="*/ 662495 w 761692"/>
                    <a:gd name="connsiteY110" fmla="*/ 464101 h 1016771"/>
                    <a:gd name="connsiteX111" fmla="*/ 673123 w 761692"/>
                    <a:gd name="connsiteY111" fmla="*/ 464101 h 1016771"/>
                    <a:gd name="connsiteX112" fmla="*/ 681980 w 761692"/>
                    <a:gd name="connsiteY112" fmla="*/ 467644 h 1016771"/>
                    <a:gd name="connsiteX113" fmla="*/ 703237 w 761692"/>
                    <a:gd name="connsiteY113" fmla="*/ 471187 h 1016771"/>
                    <a:gd name="connsiteX114" fmla="*/ 708551 w 761692"/>
                    <a:gd name="connsiteY114" fmla="*/ 474730 h 1016771"/>
                    <a:gd name="connsiteX115" fmla="*/ 722722 w 761692"/>
                    <a:gd name="connsiteY115" fmla="*/ 501300 h 1016771"/>
                    <a:gd name="connsiteX116" fmla="*/ 724493 w 761692"/>
                    <a:gd name="connsiteY116" fmla="*/ 522557 h 1016771"/>
                    <a:gd name="connsiteX117" fmla="*/ 722722 w 761692"/>
                    <a:gd name="connsiteY117" fmla="*/ 540271 h 1016771"/>
                    <a:gd name="connsiteX118" fmla="*/ 735121 w 761692"/>
                    <a:gd name="connsiteY118" fmla="*/ 552670 h 1016771"/>
                    <a:gd name="connsiteX119" fmla="*/ 735121 w 761692"/>
                    <a:gd name="connsiteY119" fmla="*/ 570384 h 1016771"/>
                    <a:gd name="connsiteX120" fmla="*/ 751064 w 761692"/>
                    <a:gd name="connsiteY120" fmla="*/ 581012 h 1016771"/>
                    <a:gd name="connsiteX121" fmla="*/ 761692 w 761692"/>
                    <a:gd name="connsiteY121" fmla="*/ 604040 h 1016771"/>
                    <a:gd name="connsiteX122" fmla="*/ 747521 w 761692"/>
                    <a:gd name="connsiteY122" fmla="*/ 616440 h 1016771"/>
                    <a:gd name="connsiteX123" fmla="*/ 728036 w 761692"/>
                    <a:gd name="connsiteY123" fmla="*/ 627068 h 1016771"/>
                    <a:gd name="connsiteX124" fmla="*/ 726264 w 761692"/>
                    <a:gd name="connsiteY124" fmla="*/ 650096 h 1016771"/>
                    <a:gd name="connsiteX125" fmla="*/ 728036 w 761692"/>
                    <a:gd name="connsiteY125" fmla="*/ 673124 h 1016771"/>
                    <a:gd name="connsiteX126" fmla="*/ 742207 w 761692"/>
                    <a:gd name="connsiteY126" fmla="*/ 689066 h 1016771"/>
                    <a:gd name="connsiteX127" fmla="*/ 742207 w 761692"/>
                    <a:gd name="connsiteY127" fmla="*/ 712094 h 1016771"/>
                    <a:gd name="connsiteX128" fmla="*/ 740435 w 761692"/>
                    <a:gd name="connsiteY128" fmla="*/ 735122 h 1016771"/>
                    <a:gd name="connsiteX129" fmla="*/ 742207 w 761692"/>
                    <a:gd name="connsiteY129" fmla="*/ 751065 h 1016771"/>
                    <a:gd name="connsiteX130" fmla="*/ 747521 w 761692"/>
                    <a:gd name="connsiteY130" fmla="*/ 768778 h 1016771"/>
                    <a:gd name="connsiteX131" fmla="*/ 759921 w 761692"/>
                    <a:gd name="connsiteY131" fmla="*/ 777635 h 1016771"/>
                    <a:gd name="connsiteX132" fmla="*/ 758149 w 761692"/>
                    <a:gd name="connsiteY132" fmla="*/ 802434 h 1016771"/>
                    <a:gd name="connsiteX133" fmla="*/ 752835 w 761692"/>
                    <a:gd name="connsiteY133" fmla="*/ 814834 h 1016771"/>
                    <a:gd name="connsiteX134" fmla="*/ 743978 w 761692"/>
                    <a:gd name="connsiteY134" fmla="*/ 827234 h 1016771"/>
                    <a:gd name="connsiteX135" fmla="*/ 743978 w 761692"/>
                    <a:gd name="connsiteY135" fmla="*/ 837862 h 1016771"/>
                    <a:gd name="connsiteX136" fmla="*/ 747521 w 761692"/>
                    <a:gd name="connsiteY136" fmla="*/ 853804 h 1016771"/>
                    <a:gd name="connsiteX137" fmla="*/ 733350 w 761692"/>
                    <a:gd name="connsiteY137" fmla="*/ 867975 h 1016771"/>
                    <a:gd name="connsiteX138" fmla="*/ 724493 w 761692"/>
                    <a:gd name="connsiteY138" fmla="*/ 880375 h 1016771"/>
                    <a:gd name="connsiteX139" fmla="*/ 722722 w 761692"/>
                    <a:gd name="connsiteY139" fmla="*/ 899860 h 1016771"/>
                    <a:gd name="connsiteX140" fmla="*/ 722722 w 761692"/>
                    <a:gd name="connsiteY140" fmla="*/ 919345 h 1016771"/>
                    <a:gd name="connsiteX141" fmla="*/ 715636 w 761692"/>
                    <a:gd name="connsiteY141" fmla="*/ 940602 h 1016771"/>
                    <a:gd name="connsiteX142" fmla="*/ 708551 w 761692"/>
                    <a:gd name="connsiteY142" fmla="*/ 954773 h 1016771"/>
                    <a:gd name="connsiteX143" fmla="*/ 699694 w 761692"/>
                    <a:gd name="connsiteY143" fmla="*/ 965401 h 1016771"/>
                    <a:gd name="connsiteX144" fmla="*/ 692608 w 761692"/>
                    <a:gd name="connsiteY144" fmla="*/ 984886 h 1016771"/>
                    <a:gd name="connsiteX145" fmla="*/ 683751 w 761692"/>
                    <a:gd name="connsiteY145" fmla="*/ 997286 h 1016771"/>
                    <a:gd name="connsiteX146" fmla="*/ 673123 w 761692"/>
                    <a:gd name="connsiteY146" fmla="*/ 1002600 h 1016771"/>
                    <a:gd name="connsiteX147" fmla="*/ 662495 w 761692"/>
                    <a:gd name="connsiteY147" fmla="*/ 1013228 h 1016771"/>
                    <a:gd name="connsiteX148" fmla="*/ 644781 w 761692"/>
                    <a:gd name="connsiteY148" fmla="*/ 1016771 h 1016771"/>
                    <a:gd name="connsiteX149" fmla="*/ 635924 w 761692"/>
                    <a:gd name="connsiteY149" fmla="*/ 1004372 h 1016771"/>
                    <a:gd name="connsiteX150" fmla="*/ 623525 w 761692"/>
                    <a:gd name="connsiteY150" fmla="*/ 997286 h 1016771"/>
                    <a:gd name="connsiteX151" fmla="*/ 614668 w 761692"/>
                    <a:gd name="connsiteY151" fmla="*/ 986658 h 1016771"/>
                    <a:gd name="connsiteX152" fmla="*/ 593411 w 761692"/>
                    <a:gd name="connsiteY152" fmla="*/ 970715 h 1016771"/>
                    <a:gd name="connsiteX153" fmla="*/ 582783 w 761692"/>
                    <a:gd name="connsiteY153" fmla="*/ 965401 h 1016771"/>
                    <a:gd name="connsiteX154" fmla="*/ 531413 w 761692"/>
                    <a:gd name="connsiteY154" fmla="*/ 965401 h 1016771"/>
                    <a:gd name="connsiteX155" fmla="*/ 511928 w 761692"/>
                    <a:gd name="connsiteY155" fmla="*/ 965401 h 1016771"/>
                    <a:gd name="connsiteX156" fmla="*/ 492443 w 761692"/>
                    <a:gd name="connsiteY156" fmla="*/ 963630 h 1016771"/>
                    <a:gd name="connsiteX157" fmla="*/ 483586 w 761692"/>
                    <a:gd name="connsiteY157" fmla="*/ 958316 h 1016771"/>
                    <a:gd name="connsiteX158" fmla="*/ 469415 w 761692"/>
                    <a:gd name="connsiteY158" fmla="*/ 954773 h 1016771"/>
                    <a:gd name="connsiteX159" fmla="*/ 460558 w 761692"/>
                    <a:gd name="connsiteY159" fmla="*/ 942373 h 1016771"/>
                    <a:gd name="connsiteX160" fmla="*/ 446387 w 761692"/>
                    <a:gd name="connsiteY160" fmla="*/ 935288 h 1016771"/>
                    <a:gd name="connsiteX161" fmla="*/ 428673 w 761692"/>
                    <a:gd name="connsiteY161" fmla="*/ 928202 h 1016771"/>
                    <a:gd name="connsiteX162" fmla="*/ 418045 w 761692"/>
                    <a:gd name="connsiteY162" fmla="*/ 917574 h 1016771"/>
                    <a:gd name="connsiteX163" fmla="*/ 421588 w 761692"/>
                    <a:gd name="connsiteY163" fmla="*/ 903403 h 1016771"/>
                    <a:gd name="connsiteX164" fmla="*/ 418045 w 761692"/>
                    <a:gd name="connsiteY164" fmla="*/ 898089 h 1016771"/>
                    <a:gd name="connsiteX165" fmla="*/ 396788 w 761692"/>
                    <a:gd name="connsiteY165" fmla="*/ 898089 h 1016771"/>
                    <a:gd name="connsiteX166" fmla="*/ 382617 w 761692"/>
                    <a:gd name="connsiteY166" fmla="*/ 896318 h 1016771"/>
                    <a:gd name="connsiteX167" fmla="*/ 380846 w 761692"/>
                    <a:gd name="connsiteY167" fmla="*/ 906946 h 1016771"/>
                    <a:gd name="connsiteX168" fmla="*/ 373601 w 761692"/>
                    <a:gd name="connsiteY168" fmla="*/ 894832 h 1016771"/>
                    <a:gd name="connsiteX169" fmla="*/ 387164 w 761692"/>
                    <a:gd name="connsiteY169" fmla="*/ 896527 h 1016771"/>
                    <a:gd name="connsiteX170" fmla="*/ 383773 w 761692"/>
                    <a:gd name="connsiteY170" fmla="*/ 886355 h 1016771"/>
                    <a:gd name="connsiteX171" fmla="*/ 387164 w 761692"/>
                    <a:gd name="connsiteY171" fmla="*/ 876183 h 1016771"/>
                    <a:gd name="connsiteX172" fmla="*/ 388859 w 761692"/>
                    <a:gd name="connsiteY172" fmla="*/ 867707 h 1016771"/>
                    <a:gd name="connsiteX173" fmla="*/ 380382 w 761692"/>
                    <a:gd name="connsiteY173" fmla="*/ 859230 h 1016771"/>
                    <a:gd name="connsiteX174" fmla="*/ 373601 w 761692"/>
                    <a:gd name="connsiteY174" fmla="*/ 849058 h 1016771"/>
                    <a:gd name="connsiteX175" fmla="*/ 380382 w 761692"/>
                    <a:gd name="connsiteY175" fmla="*/ 838886 h 1016771"/>
                    <a:gd name="connsiteX176" fmla="*/ 383773 w 761692"/>
                    <a:gd name="connsiteY176" fmla="*/ 833800 h 1016771"/>
                    <a:gd name="connsiteX177" fmla="*/ 388859 w 761692"/>
                    <a:gd name="connsiteY177" fmla="*/ 825324 h 1016771"/>
                    <a:gd name="connsiteX178" fmla="*/ 387164 w 761692"/>
                    <a:gd name="connsiteY178" fmla="*/ 810066 h 1016771"/>
                    <a:gd name="connsiteX179" fmla="*/ 387164 w 761692"/>
                    <a:gd name="connsiteY179" fmla="*/ 796503 h 1016771"/>
                    <a:gd name="connsiteX180" fmla="*/ 378687 w 761692"/>
                    <a:gd name="connsiteY180" fmla="*/ 789722 h 1016771"/>
                    <a:gd name="connsiteX181" fmla="*/ 366820 w 761692"/>
                    <a:gd name="connsiteY181" fmla="*/ 782940 h 1016771"/>
                    <a:gd name="connsiteX182" fmla="*/ 356648 w 761692"/>
                    <a:gd name="connsiteY182" fmla="*/ 781245 h 1016771"/>
                    <a:gd name="connsiteX183" fmla="*/ 349866 w 761692"/>
                    <a:gd name="connsiteY183" fmla="*/ 771073 h 1016771"/>
                    <a:gd name="connsiteX184" fmla="*/ 349866 w 761692"/>
                    <a:gd name="connsiteY184" fmla="*/ 752425 h 1016771"/>
                    <a:gd name="connsiteX185" fmla="*/ 353257 w 761692"/>
                    <a:gd name="connsiteY185" fmla="*/ 743948 h 1016771"/>
                    <a:gd name="connsiteX186" fmla="*/ 354952 w 761692"/>
                    <a:gd name="connsiteY186" fmla="*/ 730385 h 1016771"/>
                    <a:gd name="connsiteX187" fmla="*/ 353257 w 761692"/>
                    <a:gd name="connsiteY187" fmla="*/ 713432 h 1016771"/>
                    <a:gd name="connsiteX188" fmla="*/ 346476 w 761692"/>
                    <a:gd name="connsiteY188" fmla="*/ 701565 h 1016771"/>
                    <a:gd name="connsiteX189" fmla="*/ 332913 w 761692"/>
                    <a:gd name="connsiteY189" fmla="*/ 689697 h 1016771"/>
                    <a:gd name="connsiteX190" fmla="*/ 324436 w 761692"/>
                    <a:gd name="connsiteY190" fmla="*/ 681221 h 1016771"/>
                    <a:gd name="connsiteX191" fmla="*/ 314264 w 761692"/>
                    <a:gd name="connsiteY191" fmla="*/ 676135 h 1016771"/>
                    <a:gd name="connsiteX192" fmla="*/ 293920 w 761692"/>
                    <a:gd name="connsiteY192" fmla="*/ 669354 h 1016771"/>
                    <a:gd name="connsiteX193" fmla="*/ 282053 w 761692"/>
                    <a:gd name="connsiteY193" fmla="*/ 667658 h 1016771"/>
                    <a:gd name="connsiteX194" fmla="*/ 266795 w 761692"/>
                    <a:gd name="connsiteY194" fmla="*/ 672744 h 1016771"/>
                    <a:gd name="connsiteX195" fmla="*/ 265100 w 761692"/>
                    <a:gd name="connsiteY195" fmla="*/ 672744 h 1016771"/>
                    <a:gd name="connsiteX196" fmla="*/ 263404 w 761692"/>
                    <a:gd name="connsiteY196" fmla="*/ 671049 h 1016771"/>
                    <a:gd name="connsiteX197" fmla="*/ 260014 w 761692"/>
                    <a:gd name="connsiteY197" fmla="*/ 671049 h 1016771"/>
                    <a:gd name="connsiteX198" fmla="*/ 258318 w 761692"/>
                    <a:gd name="connsiteY198" fmla="*/ 671049 h 1016771"/>
                    <a:gd name="connsiteX199" fmla="*/ 253232 w 761692"/>
                    <a:gd name="connsiteY199" fmla="*/ 671049 h 1016771"/>
                    <a:gd name="connsiteX200" fmla="*/ 248146 w 761692"/>
                    <a:gd name="connsiteY200" fmla="*/ 672744 h 1016771"/>
                    <a:gd name="connsiteX201" fmla="*/ 248146 w 761692"/>
                    <a:gd name="connsiteY201" fmla="*/ 674440 h 1016771"/>
                    <a:gd name="connsiteX202" fmla="*/ 246451 w 761692"/>
                    <a:gd name="connsiteY202" fmla="*/ 674440 h 1016771"/>
                    <a:gd name="connsiteX203" fmla="*/ 236279 w 761692"/>
                    <a:gd name="connsiteY203" fmla="*/ 679526 h 1016771"/>
                    <a:gd name="connsiteX204" fmla="*/ 226107 w 761692"/>
                    <a:gd name="connsiteY204" fmla="*/ 684612 h 1016771"/>
                    <a:gd name="connsiteX205" fmla="*/ 217630 w 761692"/>
                    <a:gd name="connsiteY205" fmla="*/ 684612 h 1016771"/>
                    <a:gd name="connsiteX206" fmla="*/ 207458 w 761692"/>
                    <a:gd name="connsiteY206" fmla="*/ 693088 h 1016771"/>
                    <a:gd name="connsiteX207" fmla="*/ 198982 w 761692"/>
                    <a:gd name="connsiteY207" fmla="*/ 694783 h 1016771"/>
                    <a:gd name="connsiteX208" fmla="*/ 192200 w 761692"/>
                    <a:gd name="connsiteY208" fmla="*/ 699869 h 1016771"/>
                    <a:gd name="connsiteX209" fmla="*/ 178638 w 761692"/>
                    <a:gd name="connsiteY209" fmla="*/ 706651 h 1016771"/>
                    <a:gd name="connsiteX210" fmla="*/ 163380 w 761692"/>
                    <a:gd name="connsiteY210" fmla="*/ 710041 h 1016771"/>
                    <a:gd name="connsiteX211" fmla="*/ 141340 w 761692"/>
                    <a:gd name="connsiteY211" fmla="*/ 710041 h 1016771"/>
                    <a:gd name="connsiteX212" fmla="*/ 134559 w 761692"/>
                    <a:gd name="connsiteY212" fmla="*/ 716823 h 1016771"/>
                    <a:gd name="connsiteX213" fmla="*/ 127778 w 761692"/>
                    <a:gd name="connsiteY213" fmla="*/ 718518 h 1016771"/>
                    <a:gd name="connsiteX214" fmla="*/ 120996 w 761692"/>
                    <a:gd name="connsiteY214" fmla="*/ 725299 h 1016771"/>
                    <a:gd name="connsiteX215" fmla="*/ 111172 w 761692"/>
                    <a:gd name="connsiteY215" fmla="*/ 733720 h 1016771"/>
                    <a:gd name="connsiteX216" fmla="*/ 106283 w 761692"/>
                    <a:gd name="connsiteY216" fmla="*/ 729808 h 1016771"/>
                    <a:gd name="connsiteX217" fmla="*/ 92112 w 761692"/>
                    <a:gd name="connsiteY217" fmla="*/ 724494 h 1016771"/>
                    <a:gd name="connsiteX218" fmla="*/ 77941 w 761692"/>
                    <a:gd name="connsiteY218" fmla="*/ 726265 h 1016771"/>
                    <a:gd name="connsiteX219" fmla="*/ 70855 w 761692"/>
                    <a:gd name="connsiteY219" fmla="*/ 719180 h 1016771"/>
                    <a:gd name="connsiteX220" fmla="*/ 70855 w 761692"/>
                    <a:gd name="connsiteY220" fmla="*/ 699695 h 1016771"/>
                    <a:gd name="connsiteX221" fmla="*/ 81483 w 761692"/>
                    <a:gd name="connsiteY221" fmla="*/ 685524 h 1016771"/>
                    <a:gd name="connsiteX222" fmla="*/ 85026 w 761692"/>
                    <a:gd name="connsiteY222" fmla="*/ 673124 h 1016771"/>
                    <a:gd name="connsiteX223" fmla="*/ 86797 w 761692"/>
                    <a:gd name="connsiteY223" fmla="*/ 660724 h 1016771"/>
                    <a:gd name="connsiteX224" fmla="*/ 97426 w 761692"/>
                    <a:gd name="connsiteY224" fmla="*/ 650096 h 1016771"/>
                    <a:gd name="connsiteX225" fmla="*/ 102740 w 761692"/>
                    <a:gd name="connsiteY225" fmla="*/ 635925 h 1016771"/>
                    <a:gd name="connsiteX226" fmla="*/ 113368 w 761692"/>
                    <a:gd name="connsiteY226" fmla="*/ 625297 h 1016771"/>
                    <a:gd name="connsiteX227" fmla="*/ 115139 w 761692"/>
                    <a:gd name="connsiteY227" fmla="*/ 612897 h 1016771"/>
                    <a:gd name="connsiteX228" fmla="*/ 127539 w 761692"/>
                    <a:gd name="connsiteY228" fmla="*/ 609354 h 1016771"/>
                    <a:gd name="connsiteX229" fmla="*/ 136396 w 761692"/>
                    <a:gd name="connsiteY229" fmla="*/ 604040 h 1016771"/>
                    <a:gd name="connsiteX230" fmla="*/ 132853 w 761692"/>
                    <a:gd name="connsiteY230" fmla="*/ 593412 h 1016771"/>
                    <a:gd name="connsiteX231" fmla="*/ 134625 w 761692"/>
                    <a:gd name="connsiteY231" fmla="*/ 584555 h 1016771"/>
                    <a:gd name="connsiteX232" fmla="*/ 131082 w 761692"/>
                    <a:gd name="connsiteY232" fmla="*/ 575698 h 1016771"/>
                    <a:gd name="connsiteX233" fmla="*/ 120454 w 761692"/>
                    <a:gd name="connsiteY233" fmla="*/ 568613 h 1016771"/>
                    <a:gd name="connsiteX234" fmla="*/ 125768 w 761692"/>
                    <a:gd name="connsiteY234" fmla="*/ 552670 h 1016771"/>
                    <a:gd name="connsiteX235" fmla="*/ 118682 w 761692"/>
                    <a:gd name="connsiteY235" fmla="*/ 543813 h 1016771"/>
                    <a:gd name="connsiteX236" fmla="*/ 90340 w 761692"/>
                    <a:gd name="connsiteY236" fmla="*/ 543813 h 1016771"/>
                    <a:gd name="connsiteX237" fmla="*/ 86797 w 761692"/>
                    <a:gd name="connsiteY237" fmla="*/ 542042 h 1016771"/>
                    <a:gd name="connsiteX238" fmla="*/ 83255 w 761692"/>
                    <a:gd name="connsiteY238" fmla="*/ 542042 h 1016771"/>
                    <a:gd name="connsiteX239" fmla="*/ 81483 w 761692"/>
                    <a:gd name="connsiteY239" fmla="*/ 540271 h 1016771"/>
                    <a:gd name="connsiteX240" fmla="*/ 81483 w 761692"/>
                    <a:gd name="connsiteY240" fmla="*/ 536728 h 1016771"/>
                    <a:gd name="connsiteX241" fmla="*/ 79712 w 761692"/>
                    <a:gd name="connsiteY241" fmla="*/ 531414 h 1016771"/>
                    <a:gd name="connsiteX242" fmla="*/ 77941 w 761692"/>
                    <a:gd name="connsiteY242" fmla="*/ 529642 h 1016771"/>
                    <a:gd name="connsiteX243" fmla="*/ 70855 w 761692"/>
                    <a:gd name="connsiteY243" fmla="*/ 527871 h 1016771"/>
                    <a:gd name="connsiteX244" fmla="*/ 60227 w 761692"/>
                    <a:gd name="connsiteY244" fmla="*/ 536728 h 1016771"/>
                    <a:gd name="connsiteX245" fmla="*/ 47827 w 761692"/>
                    <a:gd name="connsiteY245" fmla="*/ 526100 h 1016771"/>
                    <a:gd name="connsiteX246" fmla="*/ 42513 w 761692"/>
                    <a:gd name="connsiteY246" fmla="*/ 515471 h 1016771"/>
                    <a:gd name="connsiteX247" fmla="*/ 33656 w 761692"/>
                    <a:gd name="connsiteY247" fmla="*/ 506614 h 1016771"/>
                    <a:gd name="connsiteX248" fmla="*/ 31885 w 761692"/>
                    <a:gd name="connsiteY248" fmla="*/ 490672 h 1016771"/>
                    <a:gd name="connsiteX249" fmla="*/ 26571 w 761692"/>
                    <a:gd name="connsiteY249" fmla="*/ 476501 h 1016771"/>
                    <a:gd name="connsiteX250" fmla="*/ 24799 w 761692"/>
                    <a:gd name="connsiteY250" fmla="*/ 471187 h 1016771"/>
                    <a:gd name="connsiteX251" fmla="*/ 12400 w 761692"/>
                    <a:gd name="connsiteY251" fmla="*/ 472958 h 1016771"/>
                    <a:gd name="connsiteX252" fmla="*/ 7086 w 761692"/>
                    <a:gd name="connsiteY252" fmla="*/ 464101 h 1016771"/>
                    <a:gd name="connsiteX253" fmla="*/ 8857 w 761692"/>
                    <a:gd name="connsiteY253" fmla="*/ 446388 h 1016771"/>
                    <a:gd name="connsiteX254" fmla="*/ 3543 w 761692"/>
                    <a:gd name="connsiteY254" fmla="*/ 435759 h 1016771"/>
                    <a:gd name="connsiteX255" fmla="*/ 5314 w 761692"/>
                    <a:gd name="connsiteY255" fmla="*/ 412731 h 1016771"/>
                    <a:gd name="connsiteX256" fmla="*/ 0 w 761692"/>
                    <a:gd name="connsiteY256" fmla="*/ 396789 h 1016771"/>
                    <a:gd name="connsiteX257" fmla="*/ 3543 w 761692"/>
                    <a:gd name="connsiteY257" fmla="*/ 384389 h 1016771"/>
                    <a:gd name="connsiteX258" fmla="*/ 14171 w 761692"/>
                    <a:gd name="connsiteY258" fmla="*/ 380846 h 1016771"/>
                    <a:gd name="connsiteX259" fmla="*/ 24799 w 761692"/>
                    <a:gd name="connsiteY259" fmla="*/ 364904 h 1016771"/>
                    <a:gd name="connsiteX260" fmla="*/ 30113 w 761692"/>
                    <a:gd name="connsiteY260" fmla="*/ 350733 h 1016771"/>
                    <a:gd name="connsiteX261" fmla="*/ 35428 w 761692"/>
                    <a:gd name="connsiteY261" fmla="*/ 341876 h 1016771"/>
                    <a:gd name="connsiteX262" fmla="*/ 42513 w 761692"/>
                    <a:gd name="connsiteY262" fmla="*/ 327705 h 1016771"/>
                    <a:gd name="connsiteX263" fmla="*/ 42513 w 761692"/>
                    <a:gd name="connsiteY263" fmla="*/ 315305 h 1016771"/>
                    <a:gd name="connsiteX264" fmla="*/ 56684 w 761692"/>
                    <a:gd name="connsiteY264" fmla="*/ 309991 h 1016771"/>
                    <a:gd name="connsiteX265" fmla="*/ 60227 w 761692"/>
                    <a:gd name="connsiteY265" fmla="*/ 309991 h 1016771"/>
                    <a:gd name="connsiteX266" fmla="*/ 61998 w 761692"/>
                    <a:gd name="connsiteY266" fmla="*/ 311763 h 1016771"/>
                    <a:gd name="connsiteX267" fmla="*/ 67312 w 761692"/>
                    <a:gd name="connsiteY267" fmla="*/ 311763 h 1016771"/>
                    <a:gd name="connsiteX268" fmla="*/ 67312 w 761692"/>
                    <a:gd name="connsiteY268" fmla="*/ 309991 h 1016771"/>
                    <a:gd name="connsiteX269" fmla="*/ 67312 w 761692"/>
                    <a:gd name="connsiteY269" fmla="*/ 308220 h 1016771"/>
                    <a:gd name="connsiteX270" fmla="*/ 69084 w 761692"/>
                    <a:gd name="connsiteY270" fmla="*/ 302906 h 1016771"/>
                    <a:gd name="connsiteX271" fmla="*/ 70855 w 761692"/>
                    <a:gd name="connsiteY271" fmla="*/ 301134 h 1016771"/>
                    <a:gd name="connsiteX272" fmla="*/ 70855 w 761692"/>
                    <a:gd name="connsiteY272" fmla="*/ 299363 h 1016771"/>
                    <a:gd name="connsiteX273" fmla="*/ 77941 w 761692"/>
                    <a:gd name="connsiteY273" fmla="*/ 295820 h 1016771"/>
                    <a:gd name="connsiteX274" fmla="*/ 85026 w 761692"/>
                    <a:gd name="connsiteY274" fmla="*/ 295820 h 1016771"/>
                    <a:gd name="connsiteX275" fmla="*/ 93883 w 761692"/>
                    <a:gd name="connsiteY275" fmla="*/ 297592 h 1016771"/>
                    <a:gd name="connsiteX276" fmla="*/ 100968 w 761692"/>
                    <a:gd name="connsiteY276" fmla="*/ 288735 h 1016771"/>
                    <a:gd name="connsiteX277" fmla="*/ 97426 w 761692"/>
                    <a:gd name="connsiteY277" fmla="*/ 279878 h 1016771"/>
                    <a:gd name="connsiteX278" fmla="*/ 85026 w 761692"/>
                    <a:gd name="connsiteY278" fmla="*/ 276335 h 1016771"/>
                    <a:gd name="connsiteX279" fmla="*/ 76169 w 761692"/>
                    <a:gd name="connsiteY279" fmla="*/ 271021 h 1016771"/>
                    <a:gd name="connsiteX280" fmla="*/ 76169 w 761692"/>
                    <a:gd name="connsiteY280" fmla="*/ 262164 h 1016771"/>
                    <a:gd name="connsiteX281" fmla="*/ 81483 w 761692"/>
                    <a:gd name="connsiteY281" fmla="*/ 251536 h 1016771"/>
                    <a:gd name="connsiteX282" fmla="*/ 86797 w 761692"/>
                    <a:gd name="connsiteY282" fmla="*/ 255079 h 1016771"/>
                    <a:gd name="connsiteX283" fmla="*/ 104511 w 761692"/>
                    <a:gd name="connsiteY283" fmla="*/ 262164 h 1016771"/>
                    <a:gd name="connsiteX284" fmla="*/ 116911 w 761692"/>
                    <a:gd name="connsiteY284" fmla="*/ 265707 h 1016771"/>
                    <a:gd name="connsiteX285" fmla="*/ 132853 w 761692"/>
                    <a:gd name="connsiteY285" fmla="*/ 269250 h 1016771"/>
                    <a:gd name="connsiteX286" fmla="*/ 138167 w 761692"/>
                    <a:gd name="connsiteY286" fmla="*/ 265707 h 1016771"/>
                    <a:gd name="connsiteX287" fmla="*/ 150567 w 761692"/>
                    <a:gd name="connsiteY287" fmla="*/ 255079 h 1016771"/>
                    <a:gd name="connsiteX288" fmla="*/ 166509 w 761692"/>
                    <a:gd name="connsiteY288" fmla="*/ 255079 h 1016771"/>
                    <a:gd name="connsiteX289" fmla="*/ 166509 w 761692"/>
                    <a:gd name="connsiteY289" fmla="*/ 265707 h 1016771"/>
                    <a:gd name="connsiteX290" fmla="*/ 177138 w 761692"/>
                    <a:gd name="connsiteY290" fmla="*/ 272792 h 1016771"/>
                    <a:gd name="connsiteX291" fmla="*/ 194851 w 761692"/>
                    <a:gd name="connsiteY291" fmla="*/ 276335 h 1016771"/>
                    <a:gd name="connsiteX292" fmla="*/ 209022 w 761692"/>
                    <a:gd name="connsiteY292" fmla="*/ 279878 h 1016771"/>
                    <a:gd name="connsiteX293" fmla="*/ 221422 w 761692"/>
                    <a:gd name="connsiteY293" fmla="*/ 276335 h 1016771"/>
                    <a:gd name="connsiteX294" fmla="*/ 226736 w 761692"/>
                    <a:gd name="connsiteY294" fmla="*/ 269250 h 1016771"/>
                    <a:gd name="connsiteX295" fmla="*/ 226736 w 761692"/>
                    <a:gd name="connsiteY295" fmla="*/ 251536 h 1016771"/>
                    <a:gd name="connsiteX296" fmla="*/ 224965 w 761692"/>
                    <a:gd name="connsiteY296" fmla="*/ 239136 h 1016771"/>
                    <a:gd name="connsiteX297" fmla="*/ 214337 w 761692"/>
                    <a:gd name="connsiteY297" fmla="*/ 230279 h 1016771"/>
                    <a:gd name="connsiteX298" fmla="*/ 210794 w 761692"/>
                    <a:gd name="connsiteY298" fmla="*/ 217880 h 1016771"/>
                    <a:gd name="connsiteX299" fmla="*/ 221422 w 761692"/>
                    <a:gd name="connsiteY299" fmla="*/ 207251 h 1016771"/>
                    <a:gd name="connsiteX300" fmla="*/ 235593 w 761692"/>
                    <a:gd name="connsiteY300" fmla="*/ 214337 h 1016771"/>
                    <a:gd name="connsiteX301" fmla="*/ 246221 w 761692"/>
                    <a:gd name="connsiteY301" fmla="*/ 219651 h 1016771"/>
                    <a:gd name="connsiteX302" fmla="*/ 253307 w 761692"/>
                    <a:gd name="connsiteY302" fmla="*/ 221422 h 1016771"/>
                    <a:gd name="connsiteX303" fmla="*/ 262164 w 761692"/>
                    <a:gd name="connsiteY303" fmla="*/ 210794 h 1016771"/>
                    <a:gd name="connsiteX304" fmla="*/ 263935 w 761692"/>
                    <a:gd name="connsiteY304" fmla="*/ 201937 h 1016771"/>
                    <a:gd name="connsiteX305" fmla="*/ 274563 w 761692"/>
                    <a:gd name="connsiteY305" fmla="*/ 189538 h 1016771"/>
                    <a:gd name="connsiteX306" fmla="*/ 283420 w 761692"/>
                    <a:gd name="connsiteY306" fmla="*/ 178909 h 1016771"/>
                    <a:gd name="connsiteX307" fmla="*/ 286963 w 761692"/>
                    <a:gd name="connsiteY307" fmla="*/ 173595 h 1016771"/>
                    <a:gd name="connsiteX308" fmla="*/ 311762 w 761692"/>
                    <a:gd name="connsiteY308" fmla="*/ 168281 h 1016771"/>
                    <a:gd name="connsiteX309" fmla="*/ 325933 w 761692"/>
                    <a:gd name="connsiteY309" fmla="*/ 164738 h 1016771"/>
                    <a:gd name="connsiteX310" fmla="*/ 336562 w 761692"/>
                    <a:gd name="connsiteY310" fmla="*/ 159424 h 1016771"/>
                    <a:gd name="connsiteX311" fmla="*/ 348961 w 761692"/>
                    <a:gd name="connsiteY311" fmla="*/ 145253 h 1016771"/>
                    <a:gd name="connsiteX312" fmla="*/ 359589 w 761692"/>
                    <a:gd name="connsiteY312" fmla="*/ 143482 h 1016771"/>
                    <a:gd name="connsiteX313" fmla="*/ 371989 w 761692"/>
                    <a:gd name="connsiteY313" fmla="*/ 143482 h 1016771"/>
                    <a:gd name="connsiteX314" fmla="*/ 391474 w 761692"/>
                    <a:gd name="connsiteY314" fmla="*/ 143482 h 1016771"/>
                    <a:gd name="connsiteX315" fmla="*/ 396788 w 761692"/>
                    <a:gd name="connsiteY315" fmla="*/ 141710 h 1016771"/>
                    <a:gd name="connsiteX316" fmla="*/ 403874 w 761692"/>
                    <a:gd name="connsiteY316" fmla="*/ 134625 h 1016771"/>
                    <a:gd name="connsiteX317" fmla="*/ 409188 w 761692"/>
                    <a:gd name="connsiteY317" fmla="*/ 129311 h 1016771"/>
                    <a:gd name="connsiteX318" fmla="*/ 409188 w 761692"/>
                    <a:gd name="connsiteY318" fmla="*/ 123997 h 1016771"/>
                    <a:gd name="connsiteX319" fmla="*/ 414502 w 761692"/>
                    <a:gd name="connsiteY319" fmla="*/ 115140 h 1016771"/>
                    <a:gd name="connsiteX320" fmla="*/ 428673 w 761692"/>
                    <a:gd name="connsiteY320" fmla="*/ 115140 h 1016771"/>
                    <a:gd name="connsiteX321" fmla="*/ 432216 w 761692"/>
                    <a:gd name="connsiteY321" fmla="*/ 109826 h 1016771"/>
                    <a:gd name="connsiteX322" fmla="*/ 437530 w 761692"/>
                    <a:gd name="connsiteY322" fmla="*/ 100969 h 1016771"/>
                    <a:gd name="connsiteX323" fmla="*/ 448158 w 761692"/>
                    <a:gd name="connsiteY323" fmla="*/ 99197 h 1016771"/>
                    <a:gd name="connsiteX324" fmla="*/ 460558 w 761692"/>
                    <a:gd name="connsiteY324" fmla="*/ 97426 h 1016771"/>
                    <a:gd name="connsiteX325" fmla="*/ 472958 w 761692"/>
                    <a:gd name="connsiteY325" fmla="*/ 93883 h 1016771"/>
                    <a:gd name="connsiteX326" fmla="*/ 492443 w 761692"/>
                    <a:gd name="connsiteY326" fmla="*/ 93883 h 1016771"/>
                    <a:gd name="connsiteX327" fmla="*/ 501300 w 761692"/>
                    <a:gd name="connsiteY327" fmla="*/ 83255 h 1016771"/>
                    <a:gd name="connsiteX328" fmla="*/ 517242 w 761692"/>
                    <a:gd name="connsiteY328" fmla="*/ 81484 h 1016771"/>
                    <a:gd name="connsiteX329" fmla="*/ 522556 w 761692"/>
                    <a:gd name="connsiteY329" fmla="*/ 81484 h 1016771"/>
                    <a:gd name="connsiteX330" fmla="*/ 522556 w 761692"/>
                    <a:gd name="connsiteY330" fmla="*/ 60227 h 1016771"/>
                    <a:gd name="connsiteX331" fmla="*/ 526099 w 761692"/>
                    <a:gd name="connsiteY331" fmla="*/ 54913 h 1016771"/>
                    <a:gd name="connsiteX332" fmla="*/ 529642 w 761692"/>
                    <a:gd name="connsiteY332" fmla="*/ 46056 h 1016771"/>
                    <a:gd name="connsiteX333" fmla="*/ 538499 w 761692"/>
                    <a:gd name="connsiteY333" fmla="*/ 40742 h 1016771"/>
                    <a:gd name="connsiteX334" fmla="*/ 540270 w 761692"/>
                    <a:gd name="connsiteY334" fmla="*/ 30114 h 1016771"/>
                    <a:gd name="connsiteX335" fmla="*/ 536727 w 761692"/>
                    <a:gd name="connsiteY335" fmla="*/ 19485 h 1016771"/>
                    <a:gd name="connsiteX336" fmla="*/ 543813 w 761692"/>
                    <a:gd name="connsiteY336" fmla="*/ 5314 h 1016771"/>
                    <a:gd name="connsiteX337" fmla="*/ 554441 w 761692"/>
                    <a:gd name="connsiteY337" fmla="*/ 0 h 1016771"/>
                    <a:gd name="connsiteX0" fmla="*/ 278662 w 761692"/>
                    <a:gd name="connsiteY0" fmla="*/ 913481 h 1016771"/>
                    <a:gd name="connsiteX1" fmla="*/ 307483 w 761692"/>
                    <a:gd name="connsiteY1" fmla="*/ 901613 h 1016771"/>
                    <a:gd name="connsiteX2" fmla="*/ 288734 w 761692"/>
                    <a:gd name="connsiteY2" fmla="*/ 903403 h 1016771"/>
                    <a:gd name="connsiteX3" fmla="*/ 283420 w 761692"/>
                    <a:gd name="connsiteY3" fmla="*/ 915803 h 1016771"/>
                    <a:gd name="connsiteX4" fmla="*/ 271021 w 761692"/>
                    <a:gd name="connsiteY4" fmla="*/ 912260 h 1016771"/>
                    <a:gd name="connsiteX5" fmla="*/ 270666 w 761692"/>
                    <a:gd name="connsiteY5" fmla="*/ 911196 h 1016771"/>
                    <a:gd name="connsiteX6" fmla="*/ 278662 w 761692"/>
                    <a:gd name="connsiteY6" fmla="*/ 913481 h 1016771"/>
                    <a:gd name="connsiteX7" fmla="*/ 222919 w 761692"/>
                    <a:gd name="connsiteY7" fmla="*/ 879608 h 1016771"/>
                    <a:gd name="connsiteX8" fmla="*/ 243060 w 761692"/>
                    <a:gd name="connsiteY8" fmla="*/ 882965 h 1016771"/>
                    <a:gd name="connsiteX9" fmla="*/ 243990 w 761692"/>
                    <a:gd name="connsiteY9" fmla="*/ 883546 h 1016771"/>
                    <a:gd name="connsiteX10" fmla="*/ 224965 w 761692"/>
                    <a:gd name="connsiteY10" fmla="*/ 880375 h 1016771"/>
                    <a:gd name="connsiteX11" fmla="*/ 222919 w 761692"/>
                    <a:gd name="connsiteY11" fmla="*/ 879608 h 1016771"/>
                    <a:gd name="connsiteX12" fmla="*/ 159250 w 761692"/>
                    <a:gd name="connsiteY12" fmla="*/ 829179 h 1016771"/>
                    <a:gd name="connsiteX13" fmla="*/ 159989 w 761692"/>
                    <a:gd name="connsiteY13" fmla="*/ 830410 h 1016771"/>
                    <a:gd name="connsiteX14" fmla="*/ 151512 w 761692"/>
                    <a:gd name="connsiteY14" fmla="*/ 838886 h 1016771"/>
                    <a:gd name="connsiteX15" fmla="*/ 149817 w 761692"/>
                    <a:gd name="connsiteY15" fmla="*/ 840582 h 1016771"/>
                    <a:gd name="connsiteX16" fmla="*/ 148122 w 761692"/>
                    <a:gd name="connsiteY16" fmla="*/ 842277 h 1016771"/>
                    <a:gd name="connsiteX17" fmla="*/ 146426 w 761692"/>
                    <a:gd name="connsiteY17" fmla="*/ 843972 h 1016771"/>
                    <a:gd name="connsiteX18" fmla="*/ 141340 w 761692"/>
                    <a:gd name="connsiteY18" fmla="*/ 849058 h 1016771"/>
                    <a:gd name="connsiteX19" fmla="*/ 141340 w 761692"/>
                    <a:gd name="connsiteY19" fmla="*/ 850754 h 1016771"/>
                    <a:gd name="connsiteX20" fmla="*/ 139645 w 761692"/>
                    <a:gd name="connsiteY20" fmla="*/ 852449 h 1016771"/>
                    <a:gd name="connsiteX21" fmla="*/ 139645 w 761692"/>
                    <a:gd name="connsiteY21" fmla="*/ 860925 h 1016771"/>
                    <a:gd name="connsiteX22" fmla="*/ 148122 w 761692"/>
                    <a:gd name="connsiteY22" fmla="*/ 867707 h 1016771"/>
                    <a:gd name="connsiteX23" fmla="*/ 158294 w 761692"/>
                    <a:gd name="connsiteY23" fmla="*/ 879574 h 1016771"/>
                    <a:gd name="connsiteX24" fmla="*/ 175247 w 761692"/>
                    <a:gd name="connsiteY24" fmla="*/ 889746 h 1016771"/>
                    <a:gd name="connsiteX25" fmla="*/ 188810 w 761692"/>
                    <a:gd name="connsiteY25" fmla="*/ 893137 h 1016771"/>
                    <a:gd name="connsiteX26" fmla="*/ 195591 w 761692"/>
                    <a:gd name="connsiteY26" fmla="*/ 893137 h 1016771"/>
                    <a:gd name="connsiteX27" fmla="*/ 202372 w 761692"/>
                    <a:gd name="connsiteY27" fmla="*/ 886355 h 1016771"/>
                    <a:gd name="connsiteX28" fmla="*/ 200677 w 761692"/>
                    <a:gd name="connsiteY28" fmla="*/ 877879 h 1016771"/>
                    <a:gd name="connsiteX29" fmla="*/ 209154 w 761692"/>
                    <a:gd name="connsiteY29" fmla="*/ 874488 h 1016771"/>
                    <a:gd name="connsiteX30" fmla="*/ 210740 w 761692"/>
                    <a:gd name="connsiteY30" fmla="*/ 875083 h 1016771"/>
                    <a:gd name="connsiteX31" fmla="*/ 201937 w 761692"/>
                    <a:gd name="connsiteY31" fmla="*/ 878604 h 1016771"/>
                    <a:gd name="connsiteX32" fmla="*/ 203708 w 761692"/>
                    <a:gd name="connsiteY32" fmla="*/ 887461 h 1016771"/>
                    <a:gd name="connsiteX33" fmla="*/ 196623 w 761692"/>
                    <a:gd name="connsiteY33" fmla="*/ 894546 h 1016771"/>
                    <a:gd name="connsiteX34" fmla="*/ 189537 w 761692"/>
                    <a:gd name="connsiteY34" fmla="*/ 894546 h 1016771"/>
                    <a:gd name="connsiteX35" fmla="*/ 175366 w 761692"/>
                    <a:gd name="connsiteY35" fmla="*/ 891003 h 1016771"/>
                    <a:gd name="connsiteX36" fmla="*/ 157653 w 761692"/>
                    <a:gd name="connsiteY36" fmla="*/ 880375 h 1016771"/>
                    <a:gd name="connsiteX37" fmla="*/ 147024 w 761692"/>
                    <a:gd name="connsiteY37" fmla="*/ 867975 h 1016771"/>
                    <a:gd name="connsiteX38" fmla="*/ 138167 w 761692"/>
                    <a:gd name="connsiteY38" fmla="*/ 860890 h 1016771"/>
                    <a:gd name="connsiteX39" fmla="*/ 138167 w 761692"/>
                    <a:gd name="connsiteY39" fmla="*/ 852033 h 1016771"/>
                    <a:gd name="connsiteX40" fmla="*/ 139939 w 761692"/>
                    <a:gd name="connsiteY40" fmla="*/ 850262 h 1016771"/>
                    <a:gd name="connsiteX41" fmla="*/ 139939 w 761692"/>
                    <a:gd name="connsiteY41" fmla="*/ 848490 h 1016771"/>
                    <a:gd name="connsiteX42" fmla="*/ 145253 w 761692"/>
                    <a:gd name="connsiteY42" fmla="*/ 843176 h 1016771"/>
                    <a:gd name="connsiteX43" fmla="*/ 147024 w 761692"/>
                    <a:gd name="connsiteY43" fmla="*/ 841405 h 1016771"/>
                    <a:gd name="connsiteX44" fmla="*/ 148796 w 761692"/>
                    <a:gd name="connsiteY44" fmla="*/ 839633 h 1016771"/>
                    <a:gd name="connsiteX45" fmla="*/ 150567 w 761692"/>
                    <a:gd name="connsiteY45" fmla="*/ 837862 h 1016771"/>
                    <a:gd name="connsiteX46" fmla="*/ 159250 w 761692"/>
                    <a:gd name="connsiteY46" fmla="*/ 829179 h 1016771"/>
                    <a:gd name="connsiteX47" fmla="*/ 116476 w 761692"/>
                    <a:gd name="connsiteY47" fmla="*/ 741349 h 1016771"/>
                    <a:gd name="connsiteX48" fmla="*/ 117606 w 761692"/>
                    <a:gd name="connsiteY48" fmla="*/ 742253 h 1016771"/>
                    <a:gd name="connsiteX49" fmla="*/ 122692 w 761692"/>
                    <a:gd name="connsiteY49" fmla="*/ 759206 h 1016771"/>
                    <a:gd name="connsiteX50" fmla="*/ 126082 w 761692"/>
                    <a:gd name="connsiteY50" fmla="*/ 771073 h 1016771"/>
                    <a:gd name="connsiteX51" fmla="*/ 129473 w 761692"/>
                    <a:gd name="connsiteY51" fmla="*/ 782940 h 1016771"/>
                    <a:gd name="connsiteX52" fmla="*/ 132864 w 761692"/>
                    <a:gd name="connsiteY52" fmla="*/ 793112 h 1016771"/>
                    <a:gd name="connsiteX53" fmla="*/ 136254 w 761692"/>
                    <a:gd name="connsiteY53" fmla="*/ 810066 h 1016771"/>
                    <a:gd name="connsiteX54" fmla="*/ 139058 w 761692"/>
                    <a:gd name="connsiteY54" fmla="*/ 818476 h 1016771"/>
                    <a:gd name="connsiteX55" fmla="*/ 138167 w 761692"/>
                    <a:gd name="connsiteY55" fmla="*/ 818377 h 1016771"/>
                    <a:gd name="connsiteX56" fmla="*/ 134625 w 761692"/>
                    <a:gd name="connsiteY56" fmla="*/ 807749 h 1016771"/>
                    <a:gd name="connsiteX57" fmla="*/ 131082 w 761692"/>
                    <a:gd name="connsiteY57" fmla="*/ 790035 h 1016771"/>
                    <a:gd name="connsiteX58" fmla="*/ 127539 w 761692"/>
                    <a:gd name="connsiteY58" fmla="*/ 779407 h 1016771"/>
                    <a:gd name="connsiteX59" fmla="*/ 123996 w 761692"/>
                    <a:gd name="connsiteY59" fmla="*/ 767007 h 1016771"/>
                    <a:gd name="connsiteX60" fmla="*/ 120454 w 761692"/>
                    <a:gd name="connsiteY60" fmla="*/ 754607 h 1016771"/>
                    <a:gd name="connsiteX61" fmla="*/ 116476 w 761692"/>
                    <a:gd name="connsiteY61" fmla="*/ 741349 h 1016771"/>
                    <a:gd name="connsiteX62" fmla="*/ 554441 w 761692"/>
                    <a:gd name="connsiteY62" fmla="*/ 0 h 1016771"/>
                    <a:gd name="connsiteX63" fmla="*/ 570383 w 761692"/>
                    <a:gd name="connsiteY63" fmla="*/ 3543 h 1016771"/>
                    <a:gd name="connsiteX64" fmla="*/ 577469 w 761692"/>
                    <a:gd name="connsiteY64" fmla="*/ 8857 h 1016771"/>
                    <a:gd name="connsiteX65" fmla="*/ 582783 w 761692"/>
                    <a:gd name="connsiteY65" fmla="*/ 17714 h 1016771"/>
                    <a:gd name="connsiteX66" fmla="*/ 582783 w 761692"/>
                    <a:gd name="connsiteY66" fmla="*/ 24799 h 1016771"/>
                    <a:gd name="connsiteX67" fmla="*/ 588097 w 761692"/>
                    <a:gd name="connsiteY67" fmla="*/ 33656 h 1016771"/>
                    <a:gd name="connsiteX68" fmla="*/ 598725 w 761692"/>
                    <a:gd name="connsiteY68" fmla="*/ 31885 h 1016771"/>
                    <a:gd name="connsiteX69" fmla="*/ 612896 w 761692"/>
                    <a:gd name="connsiteY69" fmla="*/ 37199 h 1016771"/>
                    <a:gd name="connsiteX70" fmla="*/ 618211 w 761692"/>
                    <a:gd name="connsiteY70" fmla="*/ 46056 h 1016771"/>
                    <a:gd name="connsiteX71" fmla="*/ 619982 w 761692"/>
                    <a:gd name="connsiteY71" fmla="*/ 54913 h 1016771"/>
                    <a:gd name="connsiteX72" fmla="*/ 618211 w 761692"/>
                    <a:gd name="connsiteY72" fmla="*/ 74398 h 1016771"/>
                    <a:gd name="connsiteX73" fmla="*/ 616439 w 761692"/>
                    <a:gd name="connsiteY73" fmla="*/ 85026 h 1016771"/>
                    <a:gd name="connsiteX74" fmla="*/ 621753 w 761692"/>
                    <a:gd name="connsiteY74" fmla="*/ 97426 h 1016771"/>
                    <a:gd name="connsiteX75" fmla="*/ 637696 w 761692"/>
                    <a:gd name="connsiteY75" fmla="*/ 113368 h 1016771"/>
                    <a:gd name="connsiteX76" fmla="*/ 644781 w 761692"/>
                    <a:gd name="connsiteY76" fmla="*/ 120454 h 1016771"/>
                    <a:gd name="connsiteX77" fmla="*/ 650095 w 761692"/>
                    <a:gd name="connsiteY77" fmla="*/ 136396 h 1016771"/>
                    <a:gd name="connsiteX78" fmla="*/ 655409 w 761692"/>
                    <a:gd name="connsiteY78" fmla="*/ 155881 h 1016771"/>
                    <a:gd name="connsiteX79" fmla="*/ 662495 w 761692"/>
                    <a:gd name="connsiteY79" fmla="*/ 171824 h 1016771"/>
                    <a:gd name="connsiteX80" fmla="*/ 660724 w 761692"/>
                    <a:gd name="connsiteY80" fmla="*/ 185995 h 1016771"/>
                    <a:gd name="connsiteX81" fmla="*/ 635924 w 761692"/>
                    <a:gd name="connsiteY81" fmla="*/ 194852 h 1016771"/>
                    <a:gd name="connsiteX82" fmla="*/ 619982 w 761692"/>
                    <a:gd name="connsiteY82" fmla="*/ 207251 h 1016771"/>
                    <a:gd name="connsiteX83" fmla="*/ 614668 w 761692"/>
                    <a:gd name="connsiteY83" fmla="*/ 223194 h 1016771"/>
                    <a:gd name="connsiteX84" fmla="*/ 618211 w 761692"/>
                    <a:gd name="connsiteY84" fmla="*/ 242679 h 1016771"/>
                    <a:gd name="connsiteX85" fmla="*/ 612896 w 761692"/>
                    <a:gd name="connsiteY85" fmla="*/ 256850 h 1016771"/>
                    <a:gd name="connsiteX86" fmla="*/ 625296 w 761692"/>
                    <a:gd name="connsiteY86" fmla="*/ 267478 h 1016771"/>
                    <a:gd name="connsiteX87" fmla="*/ 641238 w 761692"/>
                    <a:gd name="connsiteY87" fmla="*/ 269250 h 1016771"/>
                    <a:gd name="connsiteX88" fmla="*/ 658952 w 761692"/>
                    <a:gd name="connsiteY88" fmla="*/ 286963 h 1016771"/>
                    <a:gd name="connsiteX89" fmla="*/ 653638 w 761692"/>
                    <a:gd name="connsiteY89" fmla="*/ 309991 h 1016771"/>
                    <a:gd name="connsiteX90" fmla="*/ 653638 w 761692"/>
                    <a:gd name="connsiteY90" fmla="*/ 329476 h 1016771"/>
                    <a:gd name="connsiteX91" fmla="*/ 643010 w 761692"/>
                    <a:gd name="connsiteY91" fmla="*/ 338333 h 1016771"/>
                    <a:gd name="connsiteX92" fmla="*/ 632382 w 761692"/>
                    <a:gd name="connsiteY92" fmla="*/ 338333 h 1016771"/>
                    <a:gd name="connsiteX93" fmla="*/ 618211 w 761692"/>
                    <a:gd name="connsiteY93" fmla="*/ 357819 h 1016771"/>
                    <a:gd name="connsiteX94" fmla="*/ 609354 w 761692"/>
                    <a:gd name="connsiteY94" fmla="*/ 361361 h 1016771"/>
                    <a:gd name="connsiteX95" fmla="*/ 596954 w 761692"/>
                    <a:gd name="connsiteY95" fmla="*/ 363133 h 1016771"/>
                    <a:gd name="connsiteX96" fmla="*/ 581012 w 761692"/>
                    <a:gd name="connsiteY96" fmla="*/ 379075 h 1016771"/>
                    <a:gd name="connsiteX97" fmla="*/ 589868 w 761692"/>
                    <a:gd name="connsiteY97" fmla="*/ 393246 h 1016771"/>
                    <a:gd name="connsiteX98" fmla="*/ 586326 w 761692"/>
                    <a:gd name="connsiteY98" fmla="*/ 409189 h 1016771"/>
                    <a:gd name="connsiteX99" fmla="*/ 570383 w 761692"/>
                    <a:gd name="connsiteY99" fmla="*/ 398560 h 1016771"/>
                    <a:gd name="connsiteX100" fmla="*/ 550898 w 761692"/>
                    <a:gd name="connsiteY100" fmla="*/ 405646 h 1016771"/>
                    <a:gd name="connsiteX101" fmla="*/ 531413 w 761692"/>
                    <a:gd name="connsiteY101" fmla="*/ 425131 h 1016771"/>
                    <a:gd name="connsiteX102" fmla="*/ 543813 w 761692"/>
                    <a:gd name="connsiteY102" fmla="*/ 444616 h 1016771"/>
                    <a:gd name="connsiteX103" fmla="*/ 557984 w 761692"/>
                    <a:gd name="connsiteY103" fmla="*/ 462330 h 1016771"/>
                    <a:gd name="connsiteX104" fmla="*/ 570383 w 761692"/>
                    <a:gd name="connsiteY104" fmla="*/ 478272 h 1016771"/>
                    <a:gd name="connsiteX105" fmla="*/ 579240 w 761692"/>
                    <a:gd name="connsiteY105" fmla="*/ 485358 h 1016771"/>
                    <a:gd name="connsiteX106" fmla="*/ 602268 w 761692"/>
                    <a:gd name="connsiteY106" fmla="*/ 483586 h 1016771"/>
                    <a:gd name="connsiteX107" fmla="*/ 623525 w 761692"/>
                    <a:gd name="connsiteY107" fmla="*/ 474730 h 1016771"/>
                    <a:gd name="connsiteX108" fmla="*/ 639467 w 761692"/>
                    <a:gd name="connsiteY108" fmla="*/ 464101 h 1016771"/>
                    <a:gd name="connsiteX109" fmla="*/ 662495 w 761692"/>
                    <a:gd name="connsiteY109" fmla="*/ 464101 h 1016771"/>
                    <a:gd name="connsiteX110" fmla="*/ 673123 w 761692"/>
                    <a:gd name="connsiteY110" fmla="*/ 464101 h 1016771"/>
                    <a:gd name="connsiteX111" fmla="*/ 681980 w 761692"/>
                    <a:gd name="connsiteY111" fmla="*/ 467644 h 1016771"/>
                    <a:gd name="connsiteX112" fmla="*/ 703237 w 761692"/>
                    <a:gd name="connsiteY112" fmla="*/ 471187 h 1016771"/>
                    <a:gd name="connsiteX113" fmla="*/ 708551 w 761692"/>
                    <a:gd name="connsiteY113" fmla="*/ 474730 h 1016771"/>
                    <a:gd name="connsiteX114" fmla="*/ 722722 w 761692"/>
                    <a:gd name="connsiteY114" fmla="*/ 501300 h 1016771"/>
                    <a:gd name="connsiteX115" fmla="*/ 724493 w 761692"/>
                    <a:gd name="connsiteY115" fmla="*/ 522557 h 1016771"/>
                    <a:gd name="connsiteX116" fmla="*/ 722722 w 761692"/>
                    <a:gd name="connsiteY116" fmla="*/ 540271 h 1016771"/>
                    <a:gd name="connsiteX117" fmla="*/ 735121 w 761692"/>
                    <a:gd name="connsiteY117" fmla="*/ 552670 h 1016771"/>
                    <a:gd name="connsiteX118" fmla="*/ 735121 w 761692"/>
                    <a:gd name="connsiteY118" fmla="*/ 570384 h 1016771"/>
                    <a:gd name="connsiteX119" fmla="*/ 751064 w 761692"/>
                    <a:gd name="connsiteY119" fmla="*/ 581012 h 1016771"/>
                    <a:gd name="connsiteX120" fmla="*/ 761692 w 761692"/>
                    <a:gd name="connsiteY120" fmla="*/ 604040 h 1016771"/>
                    <a:gd name="connsiteX121" fmla="*/ 747521 w 761692"/>
                    <a:gd name="connsiteY121" fmla="*/ 616440 h 1016771"/>
                    <a:gd name="connsiteX122" fmla="*/ 728036 w 761692"/>
                    <a:gd name="connsiteY122" fmla="*/ 627068 h 1016771"/>
                    <a:gd name="connsiteX123" fmla="*/ 726264 w 761692"/>
                    <a:gd name="connsiteY123" fmla="*/ 650096 h 1016771"/>
                    <a:gd name="connsiteX124" fmla="*/ 728036 w 761692"/>
                    <a:gd name="connsiteY124" fmla="*/ 673124 h 1016771"/>
                    <a:gd name="connsiteX125" fmla="*/ 742207 w 761692"/>
                    <a:gd name="connsiteY125" fmla="*/ 689066 h 1016771"/>
                    <a:gd name="connsiteX126" fmla="*/ 742207 w 761692"/>
                    <a:gd name="connsiteY126" fmla="*/ 712094 h 1016771"/>
                    <a:gd name="connsiteX127" fmla="*/ 740435 w 761692"/>
                    <a:gd name="connsiteY127" fmla="*/ 735122 h 1016771"/>
                    <a:gd name="connsiteX128" fmla="*/ 742207 w 761692"/>
                    <a:gd name="connsiteY128" fmla="*/ 751065 h 1016771"/>
                    <a:gd name="connsiteX129" fmla="*/ 747521 w 761692"/>
                    <a:gd name="connsiteY129" fmla="*/ 768778 h 1016771"/>
                    <a:gd name="connsiteX130" fmla="*/ 759921 w 761692"/>
                    <a:gd name="connsiteY130" fmla="*/ 777635 h 1016771"/>
                    <a:gd name="connsiteX131" fmla="*/ 758149 w 761692"/>
                    <a:gd name="connsiteY131" fmla="*/ 802434 h 1016771"/>
                    <a:gd name="connsiteX132" fmla="*/ 752835 w 761692"/>
                    <a:gd name="connsiteY132" fmla="*/ 814834 h 1016771"/>
                    <a:gd name="connsiteX133" fmla="*/ 743978 w 761692"/>
                    <a:gd name="connsiteY133" fmla="*/ 827234 h 1016771"/>
                    <a:gd name="connsiteX134" fmla="*/ 743978 w 761692"/>
                    <a:gd name="connsiteY134" fmla="*/ 837862 h 1016771"/>
                    <a:gd name="connsiteX135" fmla="*/ 747521 w 761692"/>
                    <a:gd name="connsiteY135" fmla="*/ 853804 h 1016771"/>
                    <a:gd name="connsiteX136" fmla="*/ 733350 w 761692"/>
                    <a:gd name="connsiteY136" fmla="*/ 867975 h 1016771"/>
                    <a:gd name="connsiteX137" fmla="*/ 724493 w 761692"/>
                    <a:gd name="connsiteY137" fmla="*/ 880375 h 1016771"/>
                    <a:gd name="connsiteX138" fmla="*/ 722722 w 761692"/>
                    <a:gd name="connsiteY138" fmla="*/ 899860 h 1016771"/>
                    <a:gd name="connsiteX139" fmla="*/ 722722 w 761692"/>
                    <a:gd name="connsiteY139" fmla="*/ 919345 h 1016771"/>
                    <a:gd name="connsiteX140" fmla="*/ 715636 w 761692"/>
                    <a:gd name="connsiteY140" fmla="*/ 940602 h 1016771"/>
                    <a:gd name="connsiteX141" fmla="*/ 708551 w 761692"/>
                    <a:gd name="connsiteY141" fmla="*/ 954773 h 1016771"/>
                    <a:gd name="connsiteX142" fmla="*/ 699694 w 761692"/>
                    <a:gd name="connsiteY142" fmla="*/ 965401 h 1016771"/>
                    <a:gd name="connsiteX143" fmla="*/ 692608 w 761692"/>
                    <a:gd name="connsiteY143" fmla="*/ 984886 h 1016771"/>
                    <a:gd name="connsiteX144" fmla="*/ 683751 w 761692"/>
                    <a:gd name="connsiteY144" fmla="*/ 997286 h 1016771"/>
                    <a:gd name="connsiteX145" fmla="*/ 673123 w 761692"/>
                    <a:gd name="connsiteY145" fmla="*/ 1002600 h 1016771"/>
                    <a:gd name="connsiteX146" fmla="*/ 662495 w 761692"/>
                    <a:gd name="connsiteY146" fmla="*/ 1013228 h 1016771"/>
                    <a:gd name="connsiteX147" fmla="*/ 644781 w 761692"/>
                    <a:gd name="connsiteY147" fmla="*/ 1016771 h 1016771"/>
                    <a:gd name="connsiteX148" fmla="*/ 635924 w 761692"/>
                    <a:gd name="connsiteY148" fmla="*/ 1004372 h 1016771"/>
                    <a:gd name="connsiteX149" fmla="*/ 623525 w 761692"/>
                    <a:gd name="connsiteY149" fmla="*/ 997286 h 1016771"/>
                    <a:gd name="connsiteX150" fmla="*/ 614668 w 761692"/>
                    <a:gd name="connsiteY150" fmla="*/ 986658 h 1016771"/>
                    <a:gd name="connsiteX151" fmla="*/ 593411 w 761692"/>
                    <a:gd name="connsiteY151" fmla="*/ 970715 h 1016771"/>
                    <a:gd name="connsiteX152" fmla="*/ 582783 w 761692"/>
                    <a:gd name="connsiteY152" fmla="*/ 965401 h 1016771"/>
                    <a:gd name="connsiteX153" fmla="*/ 531413 w 761692"/>
                    <a:gd name="connsiteY153" fmla="*/ 965401 h 1016771"/>
                    <a:gd name="connsiteX154" fmla="*/ 511928 w 761692"/>
                    <a:gd name="connsiteY154" fmla="*/ 965401 h 1016771"/>
                    <a:gd name="connsiteX155" fmla="*/ 492443 w 761692"/>
                    <a:gd name="connsiteY155" fmla="*/ 963630 h 1016771"/>
                    <a:gd name="connsiteX156" fmla="*/ 483586 w 761692"/>
                    <a:gd name="connsiteY156" fmla="*/ 958316 h 1016771"/>
                    <a:gd name="connsiteX157" fmla="*/ 469415 w 761692"/>
                    <a:gd name="connsiteY157" fmla="*/ 954773 h 1016771"/>
                    <a:gd name="connsiteX158" fmla="*/ 460558 w 761692"/>
                    <a:gd name="connsiteY158" fmla="*/ 942373 h 1016771"/>
                    <a:gd name="connsiteX159" fmla="*/ 446387 w 761692"/>
                    <a:gd name="connsiteY159" fmla="*/ 935288 h 1016771"/>
                    <a:gd name="connsiteX160" fmla="*/ 428673 w 761692"/>
                    <a:gd name="connsiteY160" fmla="*/ 928202 h 1016771"/>
                    <a:gd name="connsiteX161" fmla="*/ 418045 w 761692"/>
                    <a:gd name="connsiteY161" fmla="*/ 917574 h 1016771"/>
                    <a:gd name="connsiteX162" fmla="*/ 421588 w 761692"/>
                    <a:gd name="connsiteY162" fmla="*/ 903403 h 1016771"/>
                    <a:gd name="connsiteX163" fmla="*/ 418045 w 761692"/>
                    <a:gd name="connsiteY163" fmla="*/ 898089 h 1016771"/>
                    <a:gd name="connsiteX164" fmla="*/ 396788 w 761692"/>
                    <a:gd name="connsiteY164" fmla="*/ 898089 h 1016771"/>
                    <a:gd name="connsiteX165" fmla="*/ 382617 w 761692"/>
                    <a:gd name="connsiteY165" fmla="*/ 896318 h 1016771"/>
                    <a:gd name="connsiteX166" fmla="*/ 380846 w 761692"/>
                    <a:gd name="connsiteY166" fmla="*/ 906946 h 1016771"/>
                    <a:gd name="connsiteX167" fmla="*/ 373601 w 761692"/>
                    <a:gd name="connsiteY167" fmla="*/ 894832 h 1016771"/>
                    <a:gd name="connsiteX168" fmla="*/ 387164 w 761692"/>
                    <a:gd name="connsiteY168" fmla="*/ 896527 h 1016771"/>
                    <a:gd name="connsiteX169" fmla="*/ 383773 w 761692"/>
                    <a:gd name="connsiteY169" fmla="*/ 886355 h 1016771"/>
                    <a:gd name="connsiteX170" fmla="*/ 387164 w 761692"/>
                    <a:gd name="connsiteY170" fmla="*/ 876183 h 1016771"/>
                    <a:gd name="connsiteX171" fmla="*/ 388859 w 761692"/>
                    <a:gd name="connsiteY171" fmla="*/ 867707 h 1016771"/>
                    <a:gd name="connsiteX172" fmla="*/ 380382 w 761692"/>
                    <a:gd name="connsiteY172" fmla="*/ 859230 h 1016771"/>
                    <a:gd name="connsiteX173" fmla="*/ 373601 w 761692"/>
                    <a:gd name="connsiteY173" fmla="*/ 849058 h 1016771"/>
                    <a:gd name="connsiteX174" fmla="*/ 380382 w 761692"/>
                    <a:gd name="connsiteY174" fmla="*/ 838886 h 1016771"/>
                    <a:gd name="connsiteX175" fmla="*/ 383773 w 761692"/>
                    <a:gd name="connsiteY175" fmla="*/ 833800 h 1016771"/>
                    <a:gd name="connsiteX176" fmla="*/ 388859 w 761692"/>
                    <a:gd name="connsiteY176" fmla="*/ 825324 h 1016771"/>
                    <a:gd name="connsiteX177" fmla="*/ 387164 w 761692"/>
                    <a:gd name="connsiteY177" fmla="*/ 810066 h 1016771"/>
                    <a:gd name="connsiteX178" fmla="*/ 387164 w 761692"/>
                    <a:gd name="connsiteY178" fmla="*/ 796503 h 1016771"/>
                    <a:gd name="connsiteX179" fmla="*/ 378687 w 761692"/>
                    <a:gd name="connsiteY179" fmla="*/ 789722 h 1016771"/>
                    <a:gd name="connsiteX180" fmla="*/ 366820 w 761692"/>
                    <a:gd name="connsiteY180" fmla="*/ 782940 h 1016771"/>
                    <a:gd name="connsiteX181" fmla="*/ 356648 w 761692"/>
                    <a:gd name="connsiteY181" fmla="*/ 781245 h 1016771"/>
                    <a:gd name="connsiteX182" fmla="*/ 349866 w 761692"/>
                    <a:gd name="connsiteY182" fmla="*/ 771073 h 1016771"/>
                    <a:gd name="connsiteX183" fmla="*/ 349866 w 761692"/>
                    <a:gd name="connsiteY183" fmla="*/ 752425 h 1016771"/>
                    <a:gd name="connsiteX184" fmla="*/ 353257 w 761692"/>
                    <a:gd name="connsiteY184" fmla="*/ 743948 h 1016771"/>
                    <a:gd name="connsiteX185" fmla="*/ 354952 w 761692"/>
                    <a:gd name="connsiteY185" fmla="*/ 730385 h 1016771"/>
                    <a:gd name="connsiteX186" fmla="*/ 353257 w 761692"/>
                    <a:gd name="connsiteY186" fmla="*/ 713432 h 1016771"/>
                    <a:gd name="connsiteX187" fmla="*/ 346476 w 761692"/>
                    <a:gd name="connsiteY187" fmla="*/ 701565 h 1016771"/>
                    <a:gd name="connsiteX188" fmla="*/ 332913 w 761692"/>
                    <a:gd name="connsiteY188" fmla="*/ 689697 h 1016771"/>
                    <a:gd name="connsiteX189" fmla="*/ 324436 w 761692"/>
                    <a:gd name="connsiteY189" fmla="*/ 681221 h 1016771"/>
                    <a:gd name="connsiteX190" fmla="*/ 314264 w 761692"/>
                    <a:gd name="connsiteY190" fmla="*/ 676135 h 1016771"/>
                    <a:gd name="connsiteX191" fmla="*/ 293920 w 761692"/>
                    <a:gd name="connsiteY191" fmla="*/ 669354 h 1016771"/>
                    <a:gd name="connsiteX192" fmla="*/ 282053 w 761692"/>
                    <a:gd name="connsiteY192" fmla="*/ 667658 h 1016771"/>
                    <a:gd name="connsiteX193" fmla="*/ 266795 w 761692"/>
                    <a:gd name="connsiteY193" fmla="*/ 672744 h 1016771"/>
                    <a:gd name="connsiteX194" fmla="*/ 265100 w 761692"/>
                    <a:gd name="connsiteY194" fmla="*/ 672744 h 1016771"/>
                    <a:gd name="connsiteX195" fmla="*/ 263404 w 761692"/>
                    <a:gd name="connsiteY195" fmla="*/ 671049 h 1016771"/>
                    <a:gd name="connsiteX196" fmla="*/ 260014 w 761692"/>
                    <a:gd name="connsiteY196" fmla="*/ 671049 h 1016771"/>
                    <a:gd name="connsiteX197" fmla="*/ 258318 w 761692"/>
                    <a:gd name="connsiteY197" fmla="*/ 671049 h 1016771"/>
                    <a:gd name="connsiteX198" fmla="*/ 253232 w 761692"/>
                    <a:gd name="connsiteY198" fmla="*/ 671049 h 1016771"/>
                    <a:gd name="connsiteX199" fmla="*/ 248146 w 761692"/>
                    <a:gd name="connsiteY199" fmla="*/ 672744 h 1016771"/>
                    <a:gd name="connsiteX200" fmla="*/ 248146 w 761692"/>
                    <a:gd name="connsiteY200" fmla="*/ 674440 h 1016771"/>
                    <a:gd name="connsiteX201" fmla="*/ 246451 w 761692"/>
                    <a:gd name="connsiteY201" fmla="*/ 674440 h 1016771"/>
                    <a:gd name="connsiteX202" fmla="*/ 236279 w 761692"/>
                    <a:gd name="connsiteY202" fmla="*/ 679526 h 1016771"/>
                    <a:gd name="connsiteX203" fmla="*/ 226107 w 761692"/>
                    <a:gd name="connsiteY203" fmla="*/ 684612 h 1016771"/>
                    <a:gd name="connsiteX204" fmla="*/ 217630 w 761692"/>
                    <a:gd name="connsiteY204" fmla="*/ 684612 h 1016771"/>
                    <a:gd name="connsiteX205" fmla="*/ 207458 w 761692"/>
                    <a:gd name="connsiteY205" fmla="*/ 693088 h 1016771"/>
                    <a:gd name="connsiteX206" fmla="*/ 198982 w 761692"/>
                    <a:gd name="connsiteY206" fmla="*/ 694783 h 1016771"/>
                    <a:gd name="connsiteX207" fmla="*/ 192200 w 761692"/>
                    <a:gd name="connsiteY207" fmla="*/ 699869 h 1016771"/>
                    <a:gd name="connsiteX208" fmla="*/ 178638 w 761692"/>
                    <a:gd name="connsiteY208" fmla="*/ 706651 h 1016771"/>
                    <a:gd name="connsiteX209" fmla="*/ 163380 w 761692"/>
                    <a:gd name="connsiteY209" fmla="*/ 710041 h 1016771"/>
                    <a:gd name="connsiteX210" fmla="*/ 141340 w 761692"/>
                    <a:gd name="connsiteY210" fmla="*/ 710041 h 1016771"/>
                    <a:gd name="connsiteX211" fmla="*/ 134559 w 761692"/>
                    <a:gd name="connsiteY211" fmla="*/ 716823 h 1016771"/>
                    <a:gd name="connsiteX212" fmla="*/ 127778 w 761692"/>
                    <a:gd name="connsiteY212" fmla="*/ 718518 h 1016771"/>
                    <a:gd name="connsiteX213" fmla="*/ 120996 w 761692"/>
                    <a:gd name="connsiteY213" fmla="*/ 725299 h 1016771"/>
                    <a:gd name="connsiteX214" fmla="*/ 111172 w 761692"/>
                    <a:gd name="connsiteY214" fmla="*/ 733720 h 1016771"/>
                    <a:gd name="connsiteX215" fmla="*/ 106283 w 761692"/>
                    <a:gd name="connsiteY215" fmla="*/ 729808 h 1016771"/>
                    <a:gd name="connsiteX216" fmla="*/ 92112 w 761692"/>
                    <a:gd name="connsiteY216" fmla="*/ 724494 h 1016771"/>
                    <a:gd name="connsiteX217" fmla="*/ 77941 w 761692"/>
                    <a:gd name="connsiteY217" fmla="*/ 726265 h 1016771"/>
                    <a:gd name="connsiteX218" fmla="*/ 70855 w 761692"/>
                    <a:gd name="connsiteY218" fmla="*/ 719180 h 1016771"/>
                    <a:gd name="connsiteX219" fmla="*/ 70855 w 761692"/>
                    <a:gd name="connsiteY219" fmla="*/ 699695 h 1016771"/>
                    <a:gd name="connsiteX220" fmla="*/ 81483 w 761692"/>
                    <a:gd name="connsiteY220" fmla="*/ 685524 h 1016771"/>
                    <a:gd name="connsiteX221" fmla="*/ 85026 w 761692"/>
                    <a:gd name="connsiteY221" fmla="*/ 673124 h 1016771"/>
                    <a:gd name="connsiteX222" fmla="*/ 86797 w 761692"/>
                    <a:gd name="connsiteY222" fmla="*/ 660724 h 1016771"/>
                    <a:gd name="connsiteX223" fmla="*/ 97426 w 761692"/>
                    <a:gd name="connsiteY223" fmla="*/ 650096 h 1016771"/>
                    <a:gd name="connsiteX224" fmla="*/ 102740 w 761692"/>
                    <a:gd name="connsiteY224" fmla="*/ 635925 h 1016771"/>
                    <a:gd name="connsiteX225" fmla="*/ 113368 w 761692"/>
                    <a:gd name="connsiteY225" fmla="*/ 625297 h 1016771"/>
                    <a:gd name="connsiteX226" fmla="*/ 115139 w 761692"/>
                    <a:gd name="connsiteY226" fmla="*/ 612897 h 1016771"/>
                    <a:gd name="connsiteX227" fmla="*/ 127539 w 761692"/>
                    <a:gd name="connsiteY227" fmla="*/ 609354 h 1016771"/>
                    <a:gd name="connsiteX228" fmla="*/ 136396 w 761692"/>
                    <a:gd name="connsiteY228" fmla="*/ 604040 h 1016771"/>
                    <a:gd name="connsiteX229" fmla="*/ 132853 w 761692"/>
                    <a:gd name="connsiteY229" fmla="*/ 593412 h 1016771"/>
                    <a:gd name="connsiteX230" fmla="*/ 134625 w 761692"/>
                    <a:gd name="connsiteY230" fmla="*/ 584555 h 1016771"/>
                    <a:gd name="connsiteX231" fmla="*/ 131082 w 761692"/>
                    <a:gd name="connsiteY231" fmla="*/ 575698 h 1016771"/>
                    <a:gd name="connsiteX232" fmla="*/ 120454 w 761692"/>
                    <a:gd name="connsiteY232" fmla="*/ 568613 h 1016771"/>
                    <a:gd name="connsiteX233" fmla="*/ 125768 w 761692"/>
                    <a:gd name="connsiteY233" fmla="*/ 552670 h 1016771"/>
                    <a:gd name="connsiteX234" fmla="*/ 118682 w 761692"/>
                    <a:gd name="connsiteY234" fmla="*/ 543813 h 1016771"/>
                    <a:gd name="connsiteX235" fmla="*/ 90340 w 761692"/>
                    <a:gd name="connsiteY235" fmla="*/ 543813 h 1016771"/>
                    <a:gd name="connsiteX236" fmla="*/ 86797 w 761692"/>
                    <a:gd name="connsiteY236" fmla="*/ 542042 h 1016771"/>
                    <a:gd name="connsiteX237" fmla="*/ 83255 w 761692"/>
                    <a:gd name="connsiteY237" fmla="*/ 542042 h 1016771"/>
                    <a:gd name="connsiteX238" fmla="*/ 81483 w 761692"/>
                    <a:gd name="connsiteY238" fmla="*/ 540271 h 1016771"/>
                    <a:gd name="connsiteX239" fmla="*/ 81483 w 761692"/>
                    <a:gd name="connsiteY239" fmla="*/ 536728 h 1016771"/>
                    <a:gd name="connsiteX240" fmla="*/ 79712 w 761692"/>
                    <a:gd name="connsiteY240" fmla="*/ 531414 h 1016771"/>
                    <a:gd name="connsiteX241" fmla="*/ 77941 w 761692"/>
                    <a:gd name="connsiteY241" fmla="*/ 529642 h 1016771"/>
                    <a:gd name="connsiteX242" fmla="*/ 70855 w 761692"/>
                    <a:gd name="connsiteY242" fmla="*/ 527871 h 1016771"/>
                    <a:gd name="connsiteX243" fmla="*/ 60227 w 761692"/>
                    <a:gd name="connsiteY243" fmla="*/ 536728 h 1016771"/>
                    <a:gd name="connsiteX244" fmla="*/ 47827 w 761692"/>
                    <a:gd name="connsiteY244" fmla="*/ 526100 h 1016771"/>
                    <a:gd name="connsiteX245" fmla="*/ 42513 w 761692"/>
                    <a:gd name="connsiteY245" fmla="*/ 515471 h 1016771"/>
                    <a:gd name="connsiteX246" fmla="*/ 33656 w 761692"/>
                    <a:gd name="connsiteY246" fmla="*/ 506614 h 1016771"/>
                    <a:gd name="connsiteX247" fmla="*/ 31885 w 761692"/>
                    <a:gd name="connsiteY247" fmla="*/ 490672 h 1016771"/>
                    <a:gd name="connsiteX248" fmla="*/ 26571 w 761692"/>
                    <a:gd name="connsiteY248" fmla="*/ 476501 h 1016771"/>
                    <a:gd name="connsiteX249" fmla="*/ 24799 w 761692"/>
                    <a:gd name="connsiteY249" fmla="*/ 471187 h 1016771"/>
                    <a:gd name="connsiteX250" fmla="*/ 12400 w 761692"/>
                    <a:gd name="connsiteY250" fmla="*/ 472958 h 1016771"/>
                    <a:gd name="connsiteX251" fmla="*/ 7086 w 761692"/>
                    <a:gd name="connsiteY251" fmla="*/ 464101 h 1016771"/>
                    <a:gd name="connsiteX252" fmla="*/ 8857 w 761692"/>
                    <a:gd name="connsiteY252" fmla="*/ 446388 h 1016771"/>
                    <a:gd name="connsiteX253" fmla="*/ 3543 w 761692"/>
                    <a:gd name="connsiteY253" fmla="*/ 435759 h 1016771"/>
                    <a:gd name="connsiteX254" fmla="*/ 5314 w 761692"/>
                    <a:gd name="connsiteY254" fmla="*/ 412731 h 1016771"/>
                    <a:gd name="connsiteX255" fmla="*/ 0 w 761692"/>
                    <a:gd name="connsiteY255" fmla="*/ 396789 h 1016771"/>
                    <a:gd name="connsiteX256" fmla="*/ 3543 w 761692"/>
                    <a:gd name="connsiteY256" fmla="*/ 384389 h 1016771"/>
                    <a:gd name="connsiteX257" fmla="*/ 14171 w 761692"/>
                    <a:gd name="connsiteY257" fmla="*/ 380846 h 1016771"/>
                    <a:gd name="connsiteX258" fmla="*/ 24799 w 761692"/>
                    <a:gd name="connsiteY258" fmla="*/ 364904 h 1016771"/>
                    <a:gd name="connsiteX259" fmla="*/ 30113 w 761692"/>
                    <a:gd name="connsiteY259" fmla="*/ 350733 h 1016771"/>
                    <a:gd name="connsiteX260" fmla="*/ 35428 w 761692"/>
                    <a:gd name="connsiteY260" fmla="*/ 341876 h 1016771"/>
                    <a:gd name="connsiteX261" fmla="*/ 42513 w 761692"/>
                    <a:gd name="connsiteY261" fmla="*/ 327705 h 1016771"/>
                    <a:gd name="connsiteX262" fmla="*/ 42513 w 761692"/>
                    <a:gd name="connsiteY262" fmla="*/ 315305 h 1016771"/>
                    <a:gd name="connsiteX263" fmla="*/ 56684 w 761692"/>
                    <a:gd name="connsiteY263" fmla="*/ 309991 h 1016771"/>
                    <a:gd name="connsiteX264" fmla="*/ 60227 w 761692"/>
                    <a:gd name="connsiteY264" fmla="*/ 309991 h 1016771"/>
                    <a:gd name="connsiteX265" fmla="*/ 61998 w 761692"/>
                    <a:gd name="connsiteY265" fmla="*/ 311763 h 1016771"/>
                    <a:gd name="connsiteX266" fmla="*/ 67312 w 761692"/>
                    <a:gd name="connsiteY266" fmla="*/ 311763 h 1016771"/>
                    <a:gd name="connsiteX267" fmla="*/ 67312 w 761692"/>
                    <a:gd name="connsiteY267" fmla="*/ 309991 h 1016771"/>
                    <a:gd name="connsiteX268" fmla="*/ 67312 w 761692"/>
                    <a:gd name="connsiteY268" fmla="*/ 308220 h 1016771"/>
                    <a:gd name="connsiteX269" fmla="*/ 69084 w 761692"/>
                    <a:gd name="connsiteY269" fmla="*/ 302906 h 1016771"/>
                    <a:gd name="connsiteX270" fmla="*/ 70855 w 761692"/>
                    <a:gd name="connsiteY270" fmla="*/ 301134 h 1016771"/>
                    <a:gd name="connsiteX271" fmla="*/ 70855 w 761692"/>
                    <a:gd name="connsiteY271" fmla="*/ 299363 h 1016771"/>
                    <a:gd name="connsiteX272" fmla="*/ 77941 w 761692"/>
                    <a:gd name="connsiteY272" fmla="*/ 295820 h 1016771"/>
                    <a:gd name="connsiteX273" fmla="*/ 85026 w 761692"/>
                    <a:gd name="connsiteY273" fmla="*/ 295820 h 1016771"/>
                    <a:gd name="connsiteX274" fmla="*/ 93883 w 761692"/>
                    <a:gd name="connsiteY274" fmla="*/ 297592 h 1016771"/>
                    <a:gd name="connsiteX275" fmla="*/ 100968 w 761692"/>
                    <a:gd name="connsiteY275" fmla="*/ 288735 h 1016771"/>
                    <a:gd name="connsiteX276" fmla="*/ 97426 w 761692"/>
                    <a:gd name="connsiteY276" fmla="*/ 279878 h 1016771"/>
                    <a:gd name="connsiteX277" fmla="*/ 85026 w 761692"/>
                    <a:gd name="connsiteY277" fmla="*/ 276335 h 1016771"/>
                    <a:gd name="connsiteX278" fmla="*/ 76169 w 761692"/>
                    <a:gd name="connsiteY278" fmla="*/ 271021 h 1016771"/>
                    <a:gd name="connsiteX279" fmla="*/ 76169 w 761692"/>
                    <a:gd name="connsiteY279" fmla="*/ 262164 h 1016771"/>
                    <a:gd name="connsiteX280" fmla="*/ 81483 w 761692"/>
                    <a:gd name="connsiteY280" fmla="*/ 251536 h 1016771"/>
                    <a:gd name="connsiteX281" fmla="*/ 86797 w 761692"/>
                    <a:gd name="connsiteY281" fmla="*/ 255079 h 1016771"/>
                    <a:gd name="connsiteX282" fmla="*/ 104511 w 761692"/>
                    <a:gd name="connsiteY282" fmla="*/ 262164 h 1016771"/>
                    <a:gd name="connsiteX283" fmla="*/ 116911 w 761692"/>
                    <a:gd name="connsiteY283" fmla="*/ 265707 h 1016771"/>
                    <a:gd name="connsiteX284" fmla="*/ 132853 w 761692"/>
                    <a:gd name="connsiteY284" fmla="*/ 269250 h 1016771"/>
                    <a:gd name="connsiteX285" fmla="*/ 138167 w 761692"/>
                    <a:gd name="connsiteY285" fmla="*/ 265707 h 1016771"/>
                    <a:gd name="connsiteX286" fmla="*/ 150567 w 761692"/>
                    <a:gd name="connsiteY286" fmla="*/ 255079 h 1016771"/>
                    <a:gd name="connsiteX287" fmla="*/ 166509 w 761692"/>
                    <a:gd name="connsiteY287" fmla="*/ 255079 h 1016771"/>
                    <a:gd name="connsiteX288" fmla="*/ 166509 w 761692"/>
                    <a:gd name="connsiteY288" fmla="*/ 265707 h 1016771"/>
                    <a:gd name="connsiteX289" fmla="*/ 177138 w 761692"/>
                    <a:gd name="connsiteY289" fmla="*/ 272792 h 1016771"/>
                    <a:gd name="connsiteX290" fmla="*/ 194851 w 761692"/>
                    <a:gd name="connsiteY290" fmla="*/ 276335 h 1016771"/>
                    <a:gd name="connsiteX291" fmla="*/ 209022 w 761692"/>
                    <a:gd name="connsiteY291" fmla="*/ 279878 h 1016771"/>
                    <a:gd name="connsiteX292" fmla="*/ 221422 w 761692"/>
                    <a:gd name="connsiteY292" fmla="*/ 276335 h 1016771"/>
                    <a:gd name="connsiteX293" fmla="*/ 226736 w 761692"/>
                    <a:gd name="connsiteY293" fmla="*/ 269250 h 1016771"/>
                    <a:gd name="connsiteX294" fmla="*/ 226736 w 761692"/>
                    <a:gd name="connsiteY294" fmla="*/ 251536 h 1016771"/>
                    <a:gd name="connsiteX295" fmla="*/ 224965 w 761692"/>
                    <a:gd name="connsiteY295" fmla="*/ 239136 h 1016771"/>
                    <a:gd name="connsiteX296" fmla="*/ 214337 w 761692"/>
                    <a:gd name="connsiteY296" fmla="*/ 230279 h 1016771"/>
                    <a:gd name="connsiteX297" fmla="*/ 210794 w 761692"/>
                    <a:gd name="connsiteY297" fmla="*/ 217880 h 1016771"/>
                    <a:gd name="connsiteX298" fmla="*/ 221422 w 761692"/>
                    <a:gd name="connsiteY298" fmla="*/ 207251 h 1016771"/>
                    <a:gd name="connsiteX299" fmla="*/ 235593 w 761692"/>
                    <a:gd name="connsiteY299" fmla="*/ 214337 h 1016771"/>
                    <a:gd name="connsiteX300" fmla="*/ 246221 w 761692"/>
                    <a:gd name="connsiteY300" fmla="*/ 219651 h 1016771"/>
                    <a:gd name="connsiteX301" fmla="*/ 253307 w 761692"/>
                    <a:gd name="connsiteY301" fmla="*/ 221422 h 1016771"/>
                    <a:gd name="connsiteX302" fmla="*/ 262164 w 761692"/>
                    <a:gd name="connsiteY302" fmla="*/ 210794 h 1016771"/>
                    <a:gd name="connsiteX303" fmla="*/ 263935 w 761692"/>
                    <a:gd name="connsiteY303" fmla="*/ 201937 h 1016771"/>
                    <a:gd name="connsiteX304" fmla="*/ 274563 w 761692"/>
                    <a:gd name="connsiteY304" fmla="*/ 189538 h 1016771"/>
                    <a:gd name="connsiteX305" fmla="*/ 283420 w 761692"/>
                    <a:gd name="connsiteY305" fmla="*/ 178909 h 1016771"/>
                    <a:gd name="connsiteX306" fmla="*/ 286963 w 761692"/>
                    <a:gd name="connsiteY306" fmla="*/ 173595 h 1016771"/>
                    <a:gd name="connsiteX307" fmla="*/ 311762 w 761692"/>
                    <a:gd name="connsiteY307" fmla="*/ 168281 h 1016771"/>
                    <a:gd name="connsiteX308" fmla="*/ 325933 w 761692"/>
                    <a:gd name="connsiteY308" fmla="*/ 164738 h 1016771"/>
                    <a:gd name="connsiteX309" fmla="*/ 336562 w 761692"/>
                    <a:gd name="connsiteY309" fmla="*/ 159424 h 1016771"/>
                    <a:gd name="connsiteX310" fmla="*/ 348961 w 761692"/>
                    <a:gd name="connsiteY310" fmla="*/ 145253 h 1016771"/>
                    <a:gd name="connsiteX311" fmla="*/ 359589 w 761692"/>
                    <a:gd name="connsiteY311" fmla="*/ 143482 h 1016771"/>
                    <a:gd name="connsiteX312" fmla="*/ 371989 w 761692"/>
                    <a:gd name="connsiteY312" fmla="*/ 143482 h 1016771"/>
                    <a:gd name="connsiteX313" fmla="*/ 391474 w 761692"/>
                    <a:gd name="connsiteY313" fmla="*/ 143482 h 1016771"/>
                    <a:gd name="connsiteX314" fmla="*/ 396788 w 761692"/>
                    <a:gd name="connsiteY314" fmla="*/ 141710 h 1016771"/>
                    <a:gd name="connsiteX315" fmla="*/ 403874 w 761692"/>
                    <a:gd name="connsiteY315" fmla="*/ 134625 h 1016771"/>
                    <a:gd name="connsiteX316" fmla="*/ 409188 w 761692"/>
                    <a:gd name="connsiteY316" fmla="*/ 129311 h 1016771"/>
                    <a:gd name="connsiteX317" fmla="*/ 409188 w 761692"/>
                    <a:gd name="connsiteY317" fmla="*/ 123997 h 1016771"/>
                    <a:gd name="connsiteX318" fmla="*/ 414502 w 761692"/>
                    <a:gd name="connsiteY318" fmla="*/ 115140 h 1016771"/>
                    <a:gd name="connsiteX319" fmla="*/ 428673 w 761692"/>
                    <a:gd name="connsiteY319" fmla="*/ 115140 h 1016771"/>
                    <a:gd name="connsiteX320" fmla="*/ 432216 w 761692"/>
                    <a:gd name="connsiteY320" fmla="*/ 109826 h 1016771"/>
                    <a:gd name="connsiteX321" fmla="*/ 437530 w 761692"/>
                    <a:gd name="connsiteY321" fmla="*/ 100969 h 1016771"/>
                    <a:gd name="connsiteX322" fmla="*/ 448158 w 761692"/>
                    <a:gd name="connsiteY322" fmla="*/ 99197 h 1016771"/>
                    <a:gd name="connsiteX323" fmla="*/ 460558 w 761692"/>
                    <a:gd name="connsiteY323" fmla="*/ 97426 h 1016771"/>
                    <a:gd name="connsiteX324" fmla="*/ 472958 w 761692"/>
                    <a:gd name="connsiteY324" fmla="*/ 93883 h 1016771"/>
                    <a:gd name="connsiteX325" fmla="*/ 492443 w 761692"/>
                    <a:gd name="connsiteY325" fmla="*/ 93883 h 1016771"/>
                    <a:gd name="connsiteX326" fmla="*/ 501300 w 761692"/>
                    <a:gd name="connsiteY326" fmla="*/ 83255 h 1016771"/>
                    <a:gd name="connsiteX327" fmla="*/ 517242 w 761692"/>
                    <a:gd name="connsiteY327" fmla="*/ 81484 h 1016771"/>
                    <a:gd name="connsiteX328" fmla="*/ 522556 w 761692"/>
                    <a:gd name="connsiteY328" fmla="*/ 81484 h 1016771"/>
                    <a:gd name="connsiteX329" fmla="*/ 522556 w 761692"/>
                    <a:gd name="connsiteY329" fmla="*/ 60227 h 1016771"/>
                    <a:gd name="connsiteX330" fmla="*/ 526099 w 761692"/>
                    <a:gd name="connsiteY330" fmla="*/ 54913 h 1016771"/>
                    <a:gd name="connsiteX331" fmla="*/ 529642 w 761692"/>
                    <a:gd name="connsiteY331" fmla="*/ 46056 h 1016771"/>
                    <a:gd name="connsiteX332" fmla="*/ 538499 w 761692"/>
                    <a:gd name="connsiteY332" fmla="*/ 40742 h 1016771"/>
                    <a:gd name="connsiteX333" fmla="*/ 540270 w 761692"/>
                    <a:gd name="connsiteY333" fmla="*/ 30114 h 1016771"/>
                    <a:gd name="connsiteX334" fmla="*/ 536727 w 761692"/>
                    <a:gd name="connsiteY334" fmla="*/ 19485 h 1016771"/>
                    <a:gd name="connsiteX335" fmla="*/ 543813 w 761692"/>
                    <a:gd name="connsiteY335" fmla="*/ 5314 h 1016771"/>
                    <a:gd name="connsiteX336" fmla="*/ 554441 w 761692"/>
                    <a:gd name="connsiteY336" fmla="*/ 0 h 1016771"/>
                    <a:gd name="connsiteX0" fmla="*/ 270666 w 761692"/>
                    <a:gd name="connsiteY0" fmla="*/ 911196 h 1016771"/>
                    <a:gd name="connsiteX1" fmla="*/ 307483 w 761692"/>
                    <a:gd name="connsiteY1" fmla="*/ 901613 h 1016771"/>
                    <a:gd name="connsiteX2" fmla="*/ 288734 w 761692"/>
                    <a:gd name="connsiteY2" fmla="*/ 903403 h 1016771"/>
                    <a:gd name="connsiteX3" fmla="*/ 283420 w 761692"/>
                    <a:gd name="connsiteY3" fmla="*/ 915803 h 1016771"/>
                    <a:gd name="connsiteX4" fmla="*/ 271021 w 761692"/>
                    <a:gd name="connsiteY4" fmla="*/ 912260 h 1016771"/>
                    <a:gd name="connsiteX5" fmla="*/ 270666 w 761692"/>
                    <a:gd name="connsiteY5" fmla="*/ 911196 h 1016771"/>
                    <a:gd name="connsiteX6" fmla="*/ 222919 w 761692"/>
                    <a:gd name="connsiteY6" fmla="*/ 879608 h 1016771"/>
                    <a:gd name="connsiteX7" fmla="*/ 243060 w 761692"/>
                    <a:gd name="connsiteY7" fmla="*/ 882965 h 1016771"/>
                    <a:gd name="connsiteX8" fmla="*/ 243990 w 761692"/>
                    <a:gd name="connsiteY8" fmla="*/ 883546 h 1016771"/>
                    <a:gd name="connsiteX9" fmla="*/ 224965 w 761692"/>
                    <a:gd name="connsiteY9" fmla="*/ 880375 h 1016771"/>
                    <a:gd name="connsiteX10" fmla="*/ 222919 w 761692"/>
                    <a:gd name="connsiteY10" fmla="*/ 879608 h 1016771"/>
                    <a:gd name="connsiteX11" fmla="*/ 159250 w 761692"/>
                    <a:gd name="connsiteY11" fmla="*/ 829179 h 1016771"/>
                    <a:gd name="connsiteX12" fmla="*/ 159989 w 761692"/>
                    <a:gd name="connsiteY12" fmla="*/ 830410 h 1016771"/>
                    <a:gd name="connsiteX13" fmla="*/ 151512 w 761692"/>
                    <a:gd name="connsiteY13" fmla="*/ 838886 h 1016771"/>
                    <a:gd name="connsiteX14" fmla="*/ 149817 w 761692"/>
                    <a:gd name="connsiteY14" fmla="*/ 840582 h 1016771"/>
                    <a:gd name="connsiteX15" fmla="*/ 148122 w 761692"/>
                    <a:gd name="connsiteY15" fmla="*/ 842277 h 1016771"/>
                    <a:gd name="connsiteX16" fmla="*/ 146426 w 761692"/>
                    <a:gd name="connsiteY16" fmla="*/ 843972 h 1016771"/>
                    <a:gd name="connsiteX17" fmla="*/ 141340 w 761692"/>
                    <a:gd name="connsiteY17" fmla="*/ 849058 h 1016771"/>
                    <a:gd name="connsiteX18" fmla="*/ 141340 w 761692"/>
                    <a:gd name="connsiteY18" fmla="*/ 850754 h 1016771"/>
                    <a:gd name="connsiteX19" fmla="*/ 139645 w 761692"/>
                    <a:gd name="connsiteY19" fmla="*/ 852449 h 1016771"/>
                    <a:gd name="connsiteX20" fmla="*/ 139645 w 761692"/>
                    <a:gd name="connsiteY20" fmla="*/ 860925 h 1016771"/>
                    <a:gd name="connsiteX21" fmla="*/ 148122 w 761692"/>
                    <a:gd name="connsiteY21" fmla="*/ 867707 h 1016771"/>
                    <a:gd name="connsiteX22" fmla="*/ 158294 w 761692"/>
                    <a:gd name="connsiteY22" fmla="*/ 879574 h 1016771"/>
                    <a:gd name="connsiteX23" fmla="*/ 175247 w 761692"/>
                    <a:gd name="connsiteY23" fmla="*/ 889746 h 1016771"/>
                    <a:gd name="connsiteX24" fmla="*/ 188810 w 761692"/>
                    <a:gd name="connsiteY24" fmla="*/ 893137 h 1016771"/>
                    <a:gd name="connsiteX25" fmla="*/ 195591 w 761692"/>
                    <a:gd name="connsiteY25" fmla="*/ 893137 h 1016771"/>
                    <a:gd name="connsiteX26" fmla="*/ 202372 w 761692"/>
                    <a:gd name="connsiteY26" fmla="*/ 886355 h 1016771"/>
                    <a:gd name="connsiteX27" fmla="*/ 200677 w 761692"/>
                    <a:gd name="connsiteY27" fmla="*/ 877879 h 1016771"/>
                    <a:gd name="connsiteX28" fmla="*/ 209154 w 761692"/>
                    <a:gd name="connsiteY28" fmla="*/ 874488 h 1016771"/>
                    <a:gd name="connsiteX29" fmla="*/ 210740 w 761692"/>
                    <a:gd name="connsiteY29" fmla="*/ 875083 h 1016771"/>
                    <a:gd name="connsiteX30" fmla="*/ 201937 w 761692"/>
                    <a:gd name="connsiteY30" fmla="*/ 878604 h 1016771"/>
                    <a:gd name="connsiteX31" fmla="*/ 203708 w 761692"/>
                    <a:gd name="connsiteY31" fmla="*/ 887461 h 1016771"/>
                    <a:gd name="connsiteX32" fmla="*/ 196623 w 761692"/>
                    <a:gd name="connsiteY32" fmla="*/ 894546 h 1016771"/>
                    <a:gd name="connsiteX33" fmla="*/ 189537 w 761692"/>
                    <a:gd name="connsiteY33" fmla="*/ 894546 h 1016771"/>
                    <a:gd name="connsiteX34" fmla="*/ 175366 w 761692"/>
                    <a:gd name="connsiteY34" fmla="*/ 891003 h 1016771"/>
                    <a:gd name="connsiteX35" fmla="*/ 157653 w 761692"/>
                    <a:gd name="connsiteY35" fmla="*/ 880375 h 1016771"/>
                    <a:gd name="connsiteX36" fmla="*/ 147024 w 761692"/>
                    <a:gd name="connsiteY36" fmla="*/ 867975 h 1016771"/>
                    <a:gd name="connsiteX37" fmla="*/ 138167 w 761692"/>
                    <a:gd name="connsiteY37" fmla="*/ 860890 h 1016771"/>
                    <a:gd name="connsiteX38" fmla="*/ 138167 w 761692"/>
                    <a:gd name="connsiteY38" fmla="*/ 852033 h 1016771"/>
                    <a:gd name="connsiteX39" fmla="*/ 139939 w 761692"/>
                    <a:gd name="connsiteY39" fmla="*/ 850262 h 1016771"/>
                    <a:gd name="connsiteX40" fmla="*/ 139939 w 761692"/>
                    <a:gd name="connsiteY40" fmla="*/ 848490 h 1016771"/>
                    <a:gd name="connsiteX41" fmla="*/ 145253 w 761692"/>
                    <a:gd name="connsiteY41" fmla="*/ 843176 h 1016771"/>
                    <a:gd name="connsiteX42" fmla="*/ 147024 w 761692"/>
                    <a:gd name="connsiteY42" fmla="*/ 841405 h 1016771"/>
                    <a:gd name="connsiteX43" fmla="*/ 148796 w 761692"/>
                    <a:gd name="connsiteY43" fmla="*/ 839633 h 1016771"/>
                    <a:gd name="connsiteX44" fmla="*/ 150567 w 761692"/>
                    <a:gd name="connsiteY44" fmla="*/ 837862 h 1016771"/>
                    <a:gd name="connsiteX45" fmla="*/ 159250 w 761692"/>
                    <a:gd name="connsiteY45" fmla="*/ 829179 h 1016771"/>
                    <a:gd name="connsiteX46" fmla="*/ 116476 w 761692"/>
                    <a:gd name="connsiteY46" fmla="*/ 741349 h 1016771"/>
                    <a:gd name="connsiteX47" fmla="*/ 117606 w 761692"/>
                    <a:gd name="connsiteY47" fmla="*/ 742253 h 1016771"/>
                    <a:gd name="connsiteX48" fmla="*/ 122692 w 761692"/>
                    <a:gd name="connsiteY48" fmla="*/ 759206 h 1016771"/>
                    <a:gd name="connsiteX49" fmla="*/ 126082 w 761692"/>
                    <a:gd name="connsiteY49" fmla="*/ 771073 h 1016771"/>
                    <a:gd name="connsiteX50" fmla="*/ 129473 w 761692"/>
                    <a:gd name="connsiteY50" fmla="*/ 782940 h 1016771"/>
                    <a:gd name="connsiteX51" fmla="*/ 132864 w 761692"/>
                    <a:gd name="connsiteY51" fmla="*/ 793112 h 1016771"/>
                    <a:gd name="connsiteX52" fmla="*/ 136254 w 761692"/>
                    <a:gd name="connsiteY52" fmla="*/ 810066 h 1016771"/>
                    <a:gd name="connsiteX53" fmla="*/ 139058 w 761692"/>
                    <a:gd name="connsiteY53" fmla="*/ 818476 h 1016771"/>
                    <a:gd name="connsiteX54" fmla="*/ 138167 w 761692"/>
                    <a:gd name="connsiteY54" fmla="*/ 818377 h 1016771"/>
                    <a:gd name="connsiteX55" fmla="*/ 134625 w 761692"/>
                    <a:gd name="connsiteY55" fmla="*/ 807749 h 1016771"/>
                    <a:gd name="connsiteX56" fmla="*/ 131082 w 761692"/>
                    <a:gd name="connsiteY56" fmla="*/ 790035 h 1016771"/>
                    <a:gd name="connsiteX57" fmla="*/ 127539 w 761692"/>
                    <a:gd name="connsiteY57" fmla="*/ 779407 h 1016771"/>
                    <a:gd name="connsiteX58" fmla="*/ 123996 w 761692"/>
                    <a:gd name="connsiteY58" fmla="*/ 767007 h 1016771"/>
                    <a:gd name="connsiteX59" fmla="*/ 120454 w 761692"/>
                    <a:gd name="connsiteY59" fmla="*/ 754607 h 1016771"/>
                    <a:gd name="connsiteX60" fmla="*/ 116476 w 761692"/>
                    <a:gd name="connsiteY60" fmla="*/ 741349 h 1016771"/>
                    <a:gd name="connsiteX61" fmla="*/ 554441 w 761692"/>
                    <a:gd name="connsiteY61" fmla="*/ 0 h 1016771"/>
                    <a:gd name="connsiteX62" fmla="*/ 570383 w 761692"/>
                    <a:gd name="connsiteY62" fmla="*/ 3543 h 1016771"/>
                    <a:gd name="connsiteX63" fmla="*/ 577469 w 761692"/>
                    <a:gd name="connsiteY63" fmla="*/ 8857 h 1016771"/>
                    <a:gd name="connsiteX64" fmla="*/ 582783 w 761692"/>
                    <a:gd name="connsiteY64" fmla="*/ 17714 h 1016771"/>
                    <a:gd name="connsiteX65" fmla="*/ 582783 w 761692"/>
                    <a:gd name="connsiteY65" fmla="*/ 24799 h 1016771"/>
                    <a:gd name="connsiteX66" fmla="*/ 588097 w 761692"/>
                    <a:gd name="connsiteY66" fmla="*/ 33656 h 1016771"/>
                    <a:gd name="connsiteX67" fmla="*/ 598725 w 761692"/>
                    <a:gd name="connsiteY67" fmla="*/ 31885 h 1016771"/>
                    <a:gd name="connsiteX68" fmla="*/ 612896 w 761692"/>
                    <a:gd name="connsiteY68" fmla="*/ 37199 h 1016771"/>
                    <a:gd name="connsiteX69" fmla="*/ 618211 w 761692"/>
                    <a:gd name="connsiteY69" fmla="*/ 46056 h 1016771"/>
                    <a:gd name="connsiteX70" fmla="*/ 619982 w 761692"/>
                    <a:gd name="connsiteY70" fmla="*/ 54913 h 1016771"/>
                    <a:gd name="connsiteX71" fmla="*/ 618211 w 761692"/>
                    <a:gd name="connsiteY71" fmla="*/ 74398 h 1016771"/>
                    <a:gd name="connsiteX72" fmla="*/ 616439 w 761692"/>
                    <a:gd name="connsiteY72" fmla="*/ 85026 h 1016771"/>
                    <a:gd name="connsiteX73" fmla="*/ 621753 w 761692"/>
                    <a:gd name="connsiteY73" fmla="*/ 97426 h 1016771"/>
                    <a:gd name="connsiteX74" fmla="*/ 637696 w 761692"/>
                    <a:gd name="connsiteY74" fmla="*/ 113368 h 1016771"/>
                    <a:gd name="connsiteX75" fmla="*/ 644781 w 761692"/>
                    <a:gd name="connsiteY75" fmla="*/ 120454 h 1016771"/>
                    <a:gd name="connsiteX76" fmla="*/ 650095 w 761692"/>
                    <a:gd name="connsiteY76" fmla="*/ 136396 h 1016771"/>
                    <a:gd name="connsiteX77" fmla="*/ 655409 w 761692"/>
                    <a:gd name="connsiteY77" fmla="*/ 155881 h 1016771"/>
                    <a:gd name="connsiteX78" fmla="*/ 662495 w 761692"/>
                    <a:gd name="connsiteY78" fmla="*/ 171824 h 1016771"/>
                    <a:gd name="connsiteX79" fmla="*/ 660724 w 761692"/>
                    <a:gd name="connsiteY79" fmla="*/ 185995 h 1016771"/>
                    <a:gd name="connsiteX80" fmla="*/ 635924 w 761692"/>
                    <a:gd name="connsiteY80" fmla="*/ 194852 h 1016771"/>
                    <a:gd name="connsiteX81" fmla="*/ 619982 w 761692"/>
                    <a:gd name="connsiteY81" fmla="*/ 207251 h 1016771"/>
                    <a:gd name="connsiteX82" fmla="*/ 614668 w 761692"/>
                    <a:gd name="connsiteY82" fmla="*/ 223194 h 1016771"/>
                    <a:gd name="connsiteX83" fmla="*/ 618211 w 761692"/>
                    <a:gd name="connsiteY83" fmla="*/ 242679 h 1016771"/>
                    <a:gd name="connsiteX84" fmla="*/ 612896 w 761692"/>
                    <a:gd name="connsiteY84" fmla="*/ 256850 h 1016771"/>
                    <a:gd name="connsiteX85" fmla="*/ 625296 w 761692"/>
                    <a:gd name="connsiteY85" fmla="*/ 267478 h 1016771"/>
                    <a:gd name="connsiteX86" fmla="*/ 641238 w 761692"/>
                    <a:gd name="connsiteY86" fmla="*/ 269250 h 1016771"/>
                    <a:gd name="connsiteX87" fmla="*/ 658952 w 761692"/>
                    <a:gd name="connsiteY87" fmla="*/ 286963 h 1016771"/>
                    <a:gd name="connsiteX88" fmla="*/ 653638 w 761692"/>
                    <a:gd name="connsiteY88" fmla="*/ 309991 h 1016771"/>
                    <a:gd name="connsiteX89" fmla="*/ 653638 w 761692"/>
                    <a:gd name="connsiteY89" fmla="*/ 329476 h 1016771"/>
                    <a:gd name="connsiteX90" fmla="*/ 643010 w 761692"/>
                    <a:gd name="connsiteY90" fmla="*/ 338333 h 1016771"/>
                    <a:gd name="connsiteX91" fmla="*/ 632382 w 761692"/>
                    <a:gd name="connsiteY91" fmla="*/ 338333 h 1016771"/>
                    <a:gd name="connsiteX92" fmla="*/ 618211 w 761692"/>
                    <a:gd name="connsiteY92" fmla="*/ 357819 h 1016771"/>
                    <a:gd name="connsiteX93" fmla="*/ 609354 w 761692"/>
                    <a:gd name="connsiteY93" fmla="*/ 361361 h 1016771"/>
                    <a:gd name="connsiteX94" fmla="*/ 596954 w 761692"/>
                    <a:gd name="connsiteY94" fmla="*/ 363133 h 1016771"/>
                    <a:gd name="connsiteX95" fmla="*/ 581012 w 761692"/>
                    <a:gd name="connsiteY95" fmla="*/ 379075 h 1016771"/>
                    <a:gd name="connsiteX96" fmla="*/ 589868 w 761692"/>
                    <a:gd name="connsiteY96" fmla="*/ 393246 h 1016771"/>
                    <a:gd name="connsiteX97" fmla="*/ 586326 w 761692"/>
                    <a:gd name="connsiteY97" fmla="*/ 409189 h 1016771"/>
                    <a:gd name="connsiteX98" fmla="*/ 570383 w 761692"/>
                    <a:gd name="connsiteY98" fmla="*/ 398560 h 1016771"/>
                    <a:gd name="connsiteX99" fmla="*/ 550898 w 761692"/>
                    <a:gd name="connsiteY99" fmla="*/ 405646 h 1016771"/>
                    <a:gd name="connsiteX100" fmla="*/ 531413 w 761692"/>
                    <a:gd name="connsiteY100" fmla="*/ 425131 h 1016771"/>
                    <a:gd name="connsiteX101" fmla="*/ 543813 w 761692"/>
                    <a:gd name="connsiteY101" fmla="*/ 444616 h 1016771"/>
                    <a:gd name="connsiteX102" fmla="*/ 557984 w 761692"/>
                    <a:gd name="connsiteY102" fmla="*/ 462330 h 1016771"/>
                    <a:gd name="connsiteX103" fmla="*/ 570383 w 761692"/>
                    <a:gd name="connsiteY103" fmla="*/ 478272 h 1016771"/>
                    <a:gd name="connsiteX104" fmla="*/ 579240 w 761692"/>
                    <a:gd name="connsiteY104" fmla="*/ 485358 h 1016771"/>
                    <a:gd name="connsiteX105" fmla="*/ 602268 w 761692"/>
                    <a:gd name="connsiteY105" fmla="*/ 483586 h 1016771"/>
                    <a:gd name="connsiteX106" fmla="*/ 623525 w 761692"/>
                    <a:gd name="connsiteY106" fmla="*/ 474730 h 1016771"/>
                    <a:gd name="connsiteX107" fmla="*/ 639467 w 761692"/>
                    <a:gd name="connsiteY107" fmla="*/ 464101 h 1016771"/>
                    <a:gd name="connsiteX108" fmla="*/ 662495 w 761692"/>
                    <a:gd name="connsiteY108" fmla="*/ 464101 h 1016771"/>
                    <a:gd name="connsiteX109" fmla="*/ 673123 w 761692"/>
                    <a:gd name="connsiteY109" fmla="*/ 464101 h 1016771"/>
                    <a:gd name="connsiteX110" fmla="*/ 681980 w 761692"/>
                    <a:gd name="connsiteY110" fmla="*/ 467644 h 1016771"/>
                    <a:gd name="connsiteX111" fmla="*/ 703237 w 761692"/>
                    <a:gd name="connsiteY111" fmla="*/ 471187 h 1016771"/>
                    <a:gd name="connsiteX112" fmla="*/ 708551 w 761692"/>
                    <a:gd name="connsiteY112" fmla="*/ 474730 h 1016771"/>
                    <a:gd name="connsiteX113" fmla="*/ 722722 w 761692"/>
                    <a:gd name="connsiteY113" fmla="*/ 501300 h 1016771"/>
                    <a:gd name="connsiteX114" fmla="*/ 724493 w 761692"/>
                    <a:gd name="connsiteY114" fmla="*/ 522557 h 1016771"/>
                    <a:gd name="connsiteX115" fmla="*/ 722722 w 761692"/>
                    <a:gd name="connsiteY115" fmla="*/ 540271 h 1016771"/>
                    <a:gd name="connsiteX116" fmla="*/ 735121 w 761692"/>
                    <a:gd name="connsiteY116" fmla="*/ 552670 h 1016771"/>
                    <a:gd name="connsiteX117" fmla="*/ 735121 w 761692"/>
                    <a:gd name="connsiteY117" fmla="*/ 570384 h 1016771"/>
                    <a:gd name="connsiteX118" fmla="*/ 751064 w 761692"/>
                    <a:gd name="connsiteY118" fmla="*/ 581012 h 1016771"/>
                    <a:gd name="connsiteX119" fmla="*/ 761692 w 761692"/>
                    <a:gd name="connsiteY119" fmla="*/ 604040 h 1016771"/>
                    <a:gd name="connsiteX120" fmla="*/ 747521 w 761692"/>
                    <a:gd name="connsiteY120" fmla="*/ 616440 h 1016771"/>
                    <a:gd name="connsiteX121" fmla="*/ 728036 w 761692"/>
                    <a:gd name="connsiteY121" fmla="*/ 627068 h 1016771"/>
                    <a:gd name="connsiteX122" fmla="*/ 726264 w 761692"/>
                    <a:gd name="connsiteY122" fmla="*/ 650096 h 1016771"/>
                    <a:gd name="connsiteX123" fmla="*/ 728036 w 761692"/>
                    <a:gd name="connsiteY123" fmla="*/ 673124 h 1016771"/>
                    <a:gd name="connsiteX124" fmla="*/ 742207 w 761692"/>
                    <a:gd name="connsiteY124" fmla="*/ 689066 h 1016771"/>
                    <a:gd name="connsiteX125" fmla="*/ 742207 w 761692"/>
                    <a:gd name="connsiteY125" fmla="*/ 712094 h 1016771"/>
                    <a:gd name="connsiteX126" fmla="*/ 740435 w 761692"/>
                    <a:gd name="connsiteY126" fmla="*/ 735122 h 1016771"/>
                    <a:gd name="connsiteX127" fmla="*/ 742207 w 761692"/>
                    <a:gd name="connsiteY127" fmla="*/ 751065 h 1016771"/>
                    <a:gd name="connsiteX128" fmla="*/ 747521 w 761692"/>
                    <a:gd name="connsiteY128" fmla="*/ 768778 h 1016771"/>
                    <a:gd name="connsiteX129" fmla="*/ 759921 w 761692"/>
                    <a:gd name="connsiteY129" fmla="*/ 777635 h 1016771"/>
                    <a:gd name="connsiteX130" fmla="*/ 758149 w 761692"/>
                    <a:gd name="connsiteY130" fmla="*/ 802434 h 1016771"/>
                    <a:gd name="connsiteX131" fmla="*/ 752835 w 761692"/>
                    <a:gd name="connsiteY131" fmla="*/ 814834 h 1016771"/>
                    <a:gd name="connsiteX132" fmla="*/ 743978 w 761692"/>
                    <a:gd name="connsiteY132" fmla="*/ 827234 h 1016771"/>
                    <a:gd name="connsiteX133" fmla="*/ 743978 w 761692"/>
                    <a:gd name="connsiteY133" fmla="*/ 837862 h 1016771"/>
                    <a:gd name="connsiteX134" fmla="*/ 747521 w 761692"/>
                    <a:gd name="connsiteY134" fmla="*/ 853804 h 1016771"/>
                    <a:gd name="connsiteX135" fmla="*/ 733350 w 761692"/>
                    <a:gd name="connsiteY135" fmla="*/ 867975 h 1016771"/>
                    <a:gd name="connsiteX136" fmla="*/ 724493 w 761692"/>
                    <a:gd name="connsiteY136" fmla="*/ 880375 h 1016771"/>
                    <a:gd name="connsiteX137" fmla="*/ 722722 w 761692"/>
                    <a:gd name="connsiteY137" fmla="*/ 899860 h 1016771"/>
                    <a:gd name="connsiteX138" fmla="*/ 722722 w 761692"/>
                    <a:gd name="connsiteY138" fmla="*/ 919345 h 1016771"/>
                    <a:gd name="connsiteX139" fmla="*/ 715636 w 761692"/>
                    <a:gd name="connsiteY139" fmla="*/ 940602 h 1016771"/>
                    <a:gd name="connsiteX140" fmla="*/ 708551 w 761692"/>
                    <a:gd name="connsiteY140" fmla="*/ 954773 h 1016771"/>
                    <a:gd name="connsiteX141" fmla="*/ 699694 w 761692"/>
                    <a:gd name="connsiteY141" fmla="*/ 965401 h 1016771"/>
                    <a:gd name="connsiteX142" fmla="*/ 692608 w 761692"/>
                    <a:gd name="connsiteY142" fmla="*/ 984886 h 1016771"/>
                    <a:gd name="connsiteX143" fmla="*/ 683751 w 761692"/>
                    <a:gd name="connsiteY143" fmla="*/ 997286 h 1016771"/>
                    <a:gd name="connsiteX144" fmla="*/ 673123 w 761692"/>
                    <a:gd name="connsiteY144" fmla="*/ 1002600 h 1016771"/>
                    <a:gd name="connsiteX145" fmla="*/ 662495 w 761692"/>
                    <a:gd name="connsiteY145" fmla="*/ 1013228 h 1016771"/>
                    <a:gd name="connsiteX146" fmla="*/ 644781 w 761692"/>
                    <a:gd name="connsiteY146" fmla="*/ 1016771 h 1016771"/>
                    <a:gd name="connsiteX147" fmla="*/ 635924 w 761692"/>
                    <a:gd name="connsiteY147" fmla="*/ 1004372 h 1016771"/>
                    <a:gd name="connsiteX148" fmla="*/ 623525 w 761692"/>
                    <a:gd name="connsiteY148" fmla="*/ 997286 h 1016771"/>
                    <a:gd name="connsiteX149" fmla="*/ 614668 w 761692"/>
                    <a:gd name="connsiteY149" fmla="*/ 986658 h 1016771"/>
                    <a:gd name="connsiteX150" fmla="*/ 593411 w 761692"/>
                    <a:gd name="connsiteY150" fmla="*/ 970715 h 1016771"/>
                    <a:gd name="connsiteX151" fmla="*/ 582783 w 761692"/>
                    <a:gd name="connsiteY151" fmla="*/ 965401 h 1016771"/>
                    <a:gd name="connsiteX152" fmla="*/ 531413 w 761692"/>
                    <a:gd name="connsiteY152" fmla="*/ 965401 h 1016771"/>
                    <a:gd name="connsiteX153" fmla="*/ 511928 w 761692"/>
                    <a:gd name="connsiteY153" fmla="*/ 965401 h 1016771"/>
                    <a:gd name="connsiteX154" fmla="*/ 492443 w 761692"/>
                    <a:gd name="connsiteY154" fmla="*/ 963630 h 1016771"/>
                    <a:gd name="connsiteX155" fmla="*/ 483586 w 761692"/>
                    <a:gd name="connsiteY155" fmla="*/ 958316 h 1016771"/>
                    <a:gd name="connsiteX156" fmla="*/ 469415 w 761692"/>
                    <a:gd name="connsiteY156" fmla="*/ 954773 h 1016771"/>
                    <a:gd name="connsiteX157" fmla="*/ 460558 w 761692"/>
                    <a:gd name="connsiteY157" fmla="*/ 942373 h 1016771"/>
                    <a:gd name="connsiteX158" fmla="*/ 446387 w 761692"/>
                    <a:gd name="connsiteY158" fmla="*/ 935288 h 1016771"/>
                    <a:gd name="connsiteX159" fmla="*/ 428673 w 761692"/>
                    <a:gd name="connsiteY159" fmla="*/ 928202 h 1016771"/>
                    <a:gd name="connsiteX160" fmla="*/ 418045 w 761692"/>
                    <a:gd name="connsiteY160" fmla="*/ 917574 h 1016771"/>
                    <a:gd name="connsiteX161" fmla="*/ 421588 w 761692"/>
                    <a:gd name="connsiteY161" fmla="*/ 903403 h 1016771"/>
                    <a:gd name="connsiteX162" fmla="*/ 418045 w 761692"/>
                    <a:gd name="connsiteY162" fmla="*/ 898089 h 1016771"/>
                    <a:gd name="connsiteX163" fmla="*/ 396788 w 761692"/>
                    <a:gd name="connsiteY163" fmla="*/ 898089 h 1016771"/>
                    <a:gd name="connsiteX164" fmla="*/ 382617 w 761692"/>
                    <a:gd name="connsiteY164" fmla="*/ 896318 h 1016771"/>
                    <a:gd name="connsiteX165" fmla="*/ 380846 w 761692"/>
                    <a:gd name="connsiteY165" fmla="*/ 906946 h 1016771"/>
                    <a:gd name="connsiteX166" fmla="*/ 373601 w 761692"/>
                    <a:gd name="connsiteY166" fmla="*/ 894832 h 1016771"/>
                    <a:gd name="connsiteX167" fmla="*/ 387164 w 761692"/>
                    <a:gd name="connsiteY167" fmla="*/ 896527 h 1016771"/>
                    <a:gd name="connsiteX168" fmla="*/ 383773 w 761692"/>
                    <a:gd name="connsiteY168" fmla="*/ 886355 h 1016771"/>
                    <a:gd name="connsiteX169" fmla="*/ 387164 w 761692"/>
                    <a:gd name="connsiteY169" fmla="*/ 876183 h 1016771"/>
                    <a:gd name="connsiteX170" fmla="*/ 388859 w 761692"/>
                    <a:gd name="connsiteY170" fmla="*/ 867707 h 1016771"/>
                    <a:gd name="connsiteX171" fmla="*/ 380382 w 761692"/>
                    <a:gd name="connsiteY171" fmla="*/ 859230 h 1016771"/>
                    <a:gd name="connsiteX172" fmla="*/ 373601 w 761692"/>
                    <a:gd name="connsiteY172" fmla="*/ 849058 h 1016771"/>
                    <a:gd name="connsiteX173" fmla="*/ 380382 w 761692"/>
                    <a:gd name="connsiteY173" fmla="*/ 838886 h 1016771"/>
                    <a:gd name="connsiteX174" fmla="*/ 383773 w 761692"/>
                    <a:gd name="connsiteY174" fmla="*/ 833800 h 1016771"/>
                    <a:gd name="connsiteX175" fmla="*/ 388859 w 761692"/>
                    <a:gd name="connsiteY175" fmla="*/ 825324 h 1016771"/>
                    <a:gd name="connsiteX176" fmla="*/ 387164 w 761692"/>
                    <a:gd name="connsiteY176" fmla="*/ 810066 h 1016771"/>
                    <a:gd name="connsiteX177" fmla="*/ 387164 w 761692"/>
                    <a:gd name="connsiteY177" fmla="*/ 796503 h 1016771"/>
                    <a:gd name="connsiteX178" fmla="*/ 378687 w 761692"/>
                    <a:gd name="connsiteY178" fmla="*/ 789722 h 1016771"/>
                    <a:gd name="connsiteX179" fmla="*/ 366820 w 761692"/>
                    <a:gd name="connsiteY179" fmla="*/ 782940 h 1016771"/>
                    <a:gd name="connsiteX180" fmla="*/ 356648 w 761692"/>
                    <a:gd name="connsiteY180" fmla="*/ 781245 h 1016771"/>
                    <a:gd name="connsiteX181" fmla="*/ 349866 w 761692"/>
                    <a:gd name="connsiteY181" fmla="*/ 771073 h 1016771"/>
                    <a:gd name="connsiteX182" fmla="*/ 349866 w 761692"/>
                    <a:gd name="connsiteY182" fmla="*/ 752425 h 1016771"/>
                    <a:gd name="connsiteX183" fmla="*/ 353257 w 761692"/>
                    <a:gd name="connsiteY183" fmla="*/ 743948 h 1016771"/>
                    <a:gd name="connsiteX184" fmla="*/ 354952 w 761692"/>
                    <a:gd name="connsiteY184" fmla="*/ 730385 h 1016771"/>
                    <a:gd name="connsiteX185" fmla="*/ 353257 w 761692"/>
                    <a:gd name="connsiteY185" fmla="*/ 713432 h 1016771"/>
                    <a:gd name="connsiteX186" fmla="*/ 346476 w 761692"/>
                    <a:gd name="connsiteY186" fmla="*/ 701565 h 1016771"/>
                    <a:gd name="connsiteX187" fmla="*/ 332913 w 761692"/>
                    <a:gd name="connsiteY187" fmla="*/ 689697 h 1016771"/>
                    <a:gd name="connsiteX188" fmla="*/ 324436 w 761692"/>
                    <a:gd name="connsiteY188" fmla="*/ 681221 h 1016771"/>
                    <a:gd name="connsiteX189" fmla="*/ 314264 w 761692"/>
                    <a:gd name="connsiteY189" fmla="*/ 676135 h 1016771"/>
                    <a:gd name="connsiteX190" fmla="*/ 293920 w 761692"/>
                    <a:gd name="connsiteY190" fmla="*/ 669354 h 1016771"/>
                    <a:gd name="connsiteX191" fmla="*/ 282053 w 761692"/>
                    <a:gd name="connsiteY191" fmla="*/ 667658 h 1016771"/>
                    <a:gd name="connsiteX192" fmla="*/ 266795 w 761692"/>
                    <a:gd name="connsiteY192" fmla="*/ 672744 h 1016771"/>
                    <a:gd name="connsiteX193" fmla="*/ 265100 w 761692"/>
                    <a:gd name="connsiteY193" fmla="*/ 672744 h 1016771"/>
                    <a:gd name="connsiteX194" fmla="*/ 263404 w 761692"/>
                    <a:gd name="connsiteY194" fmla="*/ 671049 h 1016771"/>
                    <a:gd name="connsiteX195" fmla="*/ 260014 w 761692"/>
                    <a:gd name="connsiteY195" fmla="*/ 671049 h 1016771"/>
                    <a:gd name="connsiteX196" fmla="*/ 258318 w 761692"/>
                    <a:gd name="connsiteY196" fmla="*/ 671049 h 1016771"/>
                    <a:gd name="connsiteX197" fmla="*/ 253232 w 761692"/>
                    <a:gd name="connsiteY197" fmla="*/ 671049 h 1016771"/>
                    <a:gd name="connsiteX198" fmla="*/ 248146 w 761692"/>
                    <a:gd name="connsiteY198" fmla="*/ 672744 h 1016771"/>
                    <a:gd name="connsiteX199" fmla="*/ 248146 w 761692"/>
                    <a:gd name="connsiteY199" fmla="*/ 674440 h 1016771"/>
                    <a:gd name="connsiteX200" fmla="*/ 246451 w 761692"/>
                    <a:gd name="connsiteY200" fmla="*/ 674440 h 1016771"/>
                    <a:gd name="connsiteX201" fmla="*/ 236279 w 761692"/>
                    <a:gd name="connsiteY201" fmla="*/ 679526 h 1016771"/>
                    <a:gd name="connsiteX202" fmla="*/ 226107 w 761692"/>
                    <a:gd name="connsiteY202" fmla="*/ 684612 h 1016771"/>
                    <a:gd name="connsiteX203" fmla="*/ 217630 w 761692"/>
                    <a:gd name="connsiteY203" fmla="*/ 684612 h 1016771"/>
                    <a:gd name="connsiteX204" fmla="*/ 207458 w 761692"/>
                    <a:gd name="connsiteY204" fmla="*/ 693088 h 1016771"/>
                    <a:gd name="connsiteX205" fmla="*/ 198982 w 761692"/>
                    <a:gd name="connsiteY205" fmla="*/ 694783 h 1016771"/>
                    <a:gd name="connsiteX206" fmla="*/ 192200 w 761692"/>
                    <a:gd name="connsiteY206" fmla="*/ 699869 h 1016771"/>
                    <a:gd name="connsiteX207" fmla="*/ 178638 w 761692"/>
                    <a:gd name="connsiteY207" fmla="*/ 706651 h 1016771"/>
                    <a:gd name="connsiteX208" fmla="*/ 163380 w 761692"/>
                    <a:gd name="connsiteY208" fmla="*/ 710041 h 1016771"/>
                    <a:gd name="connsiteX209" fmla="*/ 141340 w 761692"/>
                    <a:gd name="connsiteY209" fmla="*/ 710041 h 1016771"/>
                    <a:gd name="connsiteX210" fmla="*/ 134559 w 761692"/>
                    <a:gd name="connsiteY210" fmla="*/ 716823 h 1016771"/>
                    <a:gd name="connsiteX211" fmla="*/ 127778 w 761692"/>
                    <a:gd name="connsiteY211" fmla="*/ 718518 h 1016771"/>
                    <a:gd name="connsiteX212" fmla="*/ 120996 w 761692"/>
                    <a:gd name="connsiteY212" fmla="*/ 725299 h 1016771"/>
                    <a:gd name="connsiteX213" fmla="*/ 111172 w 761692"/>
                    <a:gd name="connsiteY213" fmla="*/ 733720 h 1016771"/>
                    <a:gd name="connsiteX214" fmla="*/ 106283 w 761692"/>
                    <a:gd name="connsiteY214" fmla="*/ 729808 h 1016771"/>
                    <a:gd name="connsiteX215" fmla="*/ 92112 w 761692"/>
                    <a:gd name="connsiteY215" fmla="*/ 724494 h 1016771"/>
                    <a:gd name="connsiteX216" fmla="*/ 77941 w 761692"/>
                    <a:gd name="connsiteY216" fmla="*/ 726265 h 1016771"/>
                    <a:gd name="connsiteX217" fmla="*/ 70855 w 761692"/>
                    <a:gd name="connsiteY217" fmla="*/ 719180 h 1016771"/>
                    <a:gd name="connsiteX218" fmla="*/ 70855 w 761692"/>
                    <a:gd name="connsiteY218" fmla="*/ 699695 h 1016771"/>
                    <a:gd name="connsiteX219" fmla="*/ 81483 w 761692"/>
                    <a:gd name="connsiteY219" fmla="*/ 685524 h 1016771"/>
                    <a:gd name="connsiteX220" fmla="*/ 85026 w 761692"/>
                    <a:gd name="connsiteY220" fmla="*/ 673124 h 1016771"/>
                    <a:gd name="connsiteX221" fmla="*/ 86797 w 761692"/>
                    <a:gd name="connsiteY221" fmla="*/ 660724 h 1016771"/>
                    <a:gd name="connsiteX222" fmla="*/ 97426 w 761692"/>
                    <a:gd name="connsiteY222" fmla="*/ 650096 h 1016771"/>
                    <a:gd name="connsiteX223" fmla="*/ 102740 w 761692"/>
                    <a:gd name="connsiteY223" fmla="*/ 635925 h 1016771"/>
                    <a:gd name="connsiteX224" fmla="*/ 113368 w 761692"/>
                    <a:gd name="connsiteY224" fmla="*/ 625297 h 1016771"/>
                    <a:gd name="connsiteX225" fmla="*/ 115139 w 761692"/>
                    <a:gd name="connsiteY225" fmla="*/ 612897 h 1016771"/>
                    <a:gd name="connsiteX226" fmla="*/ 127539 w 761692"/>
                    <a:gd name="connsiteY226" fmla="*/ 609354 h 1016771"/>
                    <a:gd name="connsiteX227" fmla="*/ 136396 w 761692"/>
                    <a:gd name="connsiteY227" fmla="*/ 604040 h 1016771"/>
                    <a:gd name="connsiteX228" fmla="*/ 132853 w 761692"/>
                    <a:gd name="connsiteY228" fmla="*/ 593412 h 1016771"/>
                    <a:gd name="connsiteX229" fmla="*/ 134625 w 761692"/>
                    <a:gd name="connsiteY229" fmla="*/ 584555 h 1016771"/>
                    <a:gd name="connsiteX230" fmla="*/ 131082 w 761692"/>
                    <a:gd name="connsiteY230" fmla="*/ 575698 h 1016771"/>
                    <a:gd name="connsiteX231" fmla="*/ 120454 w 761692"/>
                    <a:gd name="connsiteY231" fmla="*/ 568613 h 1016771"/>
                    <a:gd name="connsiteX232" fmla="*/ 125768 w 761692"/>
                    <a:gd name="connsiteY232" fmla="*/ 552670 h 1016771"/>
                    <a:gd name="connsiteX233" fmla="*/ 118682 w 761692"/>
                    <a:gd name="connsiteY233" fmla="*/ 543813 h 1016771"/>
                    <a:gd name="connsiteX234" fmla="*/ 90340 w 761692"/>
                    <a:gd name="connsiteY234" fmla="*/ 543813 h 1016771"/>
                    <a:gd name="connsiteX235" fmla="*/ 86797 w 761692"/>
                    <a:gd name="connsiteY235" fmla="*/ 542042 h 1016771"/>
                    <a:gd name="connsiteX236" fmla="*/ 83255 w 761692"/>
                    <a:gd name="connsiteY236" fmla="*/ 542042 h 1016771"/>
                    <a:gd name="connsiteX237" fmla="*/ 81483 w 761692"/>
                    <a:gd name="connsiteY237" fmla="*/ 540271 h 1016771"/>
                    <a:gd name="connsiteX238" fmla="*/ 81483 w 761692"/>
                    <a:gd name="connsiteY238" fmla="*/ 536728 h 1016771"/>
                    <a:gd name="connsiteX239" fmla="*/ 79712 w 761692"/>
                    <a:gd name="connsiteY239" fmla="*/ 531414 h 1016771"/>
                    <a:gd name="connsiteX240" fmla="*/ 77941 w 761692"/>
                    <a:gd name="connsiteY240" fmla="*/ 529642 h 1016771"/>
                    <a:gd name="connsiteX241" fmla="*/ 70855 w 761692"/>
                    <a:gd name="connsiteY241" fmla="*/ 527871 h 1016771"/>
                    <a:gd name="connsiteX242" fmla="*/ 60227 w 761692"/>
                    <a:gd name="connsiteY242" fmla="*/ 536728 h 1016771"/>
                    <a:gd name="connsiteX243" fmla="*/ 47827 w 761692"/>
                    <a:gd name="connsiteY243" fmla="*/ 526100 h 1016771"/>
                    <a:gd name="connsiteX244" fmla="*/ 42513 w 761692"/>
                    <a:gd name="connsiteY244" fmla="*/ 515471 h 1016771"/>
                    <a:gd name="connsiteX245" fmla="*/ 33656 w 761692"/>
                    <a:gd name="connsiteY245" fmla="*/ 506614 h 1016771"/>
                    <a:gd name="connsiteX246" fmla="*/ 31885 w 761692"/>
                    <a:gd name="connsiteY246" fmla="*/ 490672 h 1016771"/>
                    <a:gd name="connsiteX247" fmla="*/ 26571 w 761692"/>
                    <a:gd name="connsiteY247" fmla="*/ 476501 h 1016771"/>
                    <a:gd name="connsiteX248" fmla="*/ 24799 w 761692"/>
                    <a:gd name="connsiteY248" fmla="*/ 471187 h 1016771"/>
                    <a:gd name="connsiteX249" fmla="*/ 12400 w 761692"/>
                    <a:gd name="connsiteY249" fmla="*/ 472958 h 1016771"/>
                    <a:gd name="connsiteX250" fmla="*/ 7086 w 761692"/>
                    <a:gd name="connsiteY250" fmla="*/ 464101 h 1016771"/>
                    <a:gd name="connsiteX251" fmla="*/ 8857 w 761692"/>
                    <a:gd name="connsiteY251" fmla="*/ 446388 h 1016771"/>
                    <a:gd name="connsiteX252" fmla="*/ 3543 w 761692"/>
                    <a:gd name="connsiteY252" fmla="*/ 435759 h 1016771"/>
                    <a:gd name="connsiteX253" fmla="*/ 5314 w 761692"/>
                    <a:gd name="connsiteY253" fmla="*/ 412731 h 1016771"/>
                    <a:gd name="connsiteX254" fmla="*/ 0 w 761692"/>
                    <a:gd name="connsiteY254" fmla="*/ 396789 h 1016771"/>
                    <a:gd name="connsiteX255" fmla="*/ 3543 w 761692"/>
                    <a:gd name="connsiteY255" fmla="*/ 384389 h 1016771"/>
                    <a:gd name="connsiteX256" fmla="*/ 14171 w 761692"/>
                    <a:gd name="connsiteY256" fmla="*/ 380846 h 1016771"/>
                    <a:gd name="connsiteX257" fmla="*/ 24799 w 761692"/>
                    <a:gd name="connsiteY257" fmla="*/ 364904 h 1016771"/>
                    <a:gd name="connsiteX258" fmla="*/ 30113 w 761692"/>
                    <a:gd name="connsiteY258" fmla="*/ 350733 h 1016771"/>
                    <a:gd name="connsiteX259" fmla="*/ 35428 w 761692"/>
                    <a:gd name="connsiteY259" fmla="*/ 341876 h 1016771"/>
                    <a:gd name="connsiteX260" fmla="*/ 42513 w 761692"/>
                    <a:gd name="connsiteY260" fmla="*/ 327705 h 1016771"/>
                    <a:gd name="connsiteX261" fmla="*/ 42513 w 761692"/>
                    <a:gd name="connsiteY261" fmla="*/ 315305 h 1016771"/>
                    <a:gd name="connsiteX262" fmla="*/ 56684 w 761692"/>
                    <a:gd name="connsiteY262" fmla="*/ 309991 h 1016771"/>
                    <a:gd name="connsiteX263" fmla="*/ 60227 w 761692"/>
                    <a:gd name="connsiteY263" fmla="*/ 309991 h 1016771"/>
                    <a:gd name="connsiteX264" fmla="*/ 61998 w 761692"/>
                    <a:gd name="connsiteY264" fmla="*/ 311763 h 1016771"/>
                    <a:gd name="connsiteX265" fmla="*/ 67312 w 761692"/>
                    <a:gd name="connsiteY265" fmla="*/ 311763 h 1016771"/>
                    <a:gd name="connsiteX266" fmla="*/ 67312 w 761692"/>
                    <a:gd name="connsiteY266" fmla="*/ 309991 h 1016771"/>
                    <a:gd name="connsiteX267" fmla="*/ 67312 w 761692"/>
                    <a:gd name="connsiteY267" fmla="*/ 308220 h 1016771"/>
                    <a:gd name="connsiteX268" fmla="*/ 69084 w 761692"/>
                    <a:gd name="connsiteY268" fmla="*/ 302906 h 1016771"/>
                    <a:gd name="connsiteX269" fmla="*/ 70855 w 761692"/>
                    <a:gd name="connsiteY269" fmla="*/ 301134 h 1016771"/>
                    <a:gd name="connsiteX270" fmla="*/ 70855 w 761692"/>
                    <a:gd name="connsiteY270" fmla="*/ 299363 h 1016771"/>
                    <a:gd name="connsiteX271" fmla="*/ 77941 w 761692"/>
                    <a:gd name="connsiteY271" fmla="*/ 295820 h 1016771"/>
                    <a:gd name="connsiteX272" fmla="*/ 85026 w 761692"/>
                    <a:gd name="connsiteY272" fmla="*/ 295820 h 1016771"/>
                    <a:gd name="connsiteX273" fmla="*/ 93883 w 761692"/>
                    <a:gd name="connsiteY273" fmla="*/ 297592 h 1016771"/>
                    <a:gd name="connsiteX274" fmla="*/ 100968 w 761692"/>
                    <a:gd name="connsiteY274" fmla="*/ 288735 h 1016771"/>
                    <a:gd name="connsiteX275" fmla="*/ 97426 w 761692"/>
                    <a:gd name="connsiteY275" fmla="*/ 279878 h 1016771"/>
                    <a:gd name="connsiteX276" fmla="*/ 85026 w 761692"/>
                    <a:gd name="connsiteY276" fmla="*/ 276335 h 1016771"/>
                    <a:gd name="connsiteX277" fmla="*/ 76169 w 761692"/>
                    <a:gd name="connsiteY277" fmla="*/ 271021 h 1016771"/>
                    <a:gd name="connsiteX278" fmla="*/ 76169 w 761692"/>
                    <a:gd name="connsiteY278" fmla="*/ 262164 h 1016771"/>
                    <a:gd name="connsiteX279" fmla="*/ 81483 w 761692"/>
                    <a:gd name="connsiteY279" fmla="*/ 251536 h 1016771"/>
                    <a:gd name="connsiteX280" fmla="*/ 86797 w 761692"/>
                    <a:gd name="connsiteY280" fmla="*/ 255079 h 1016771"/>
                    <a:gd name="connsiteX281" fmla="*/ 104511 w 761692"/>
                    <a:gd name="connsiteY281" fmla="*/ 262164 h 1016771"/>
                    <a:gd name="connsiteX282" fmla="*/ 116911 w 761692"/>
                    <a:gd name="connsiteY282" fmla="*/ 265707 h 1016771"/>
                    <a:gd name="connsiteX283" fmla="*/ 132853 w 761692"/>
                    <a:gd name="connsiteY283" fmla="*/ 269250 h 1016771"/>
                    <a:gd name="connsiteX284" fmla="*/ 138167 w 761692"/>
                    <a:gd name="connsiteY284" fmla="*/ 265707 h 1016771"/>
                    <a:gd name="connsiteX285" fmla="*/ 150567 w 761692"/>
                    <a:gd name="connsiteY285" fmla="*/ 255079 h 1016771"/>
                    <a:gd name="connsiteX286" fmla="*/ 166509 w 761692"/>
                    <a:gd name="connsiteY286" fmla="*/ 255079 h 1016771"/>
                    <a:gd name="connsiteX287" fmla="*/ 166509 w 761692"/>
                    <a:gd name="connsiteY287" fmla="*/ 265707 h 1016771"/>
                    <a:gd name="connsiteX288" fmla="*/ 177138 w 761692"/>
                    <a:gd name="connsiteY288" fmla="*/ 272792 h 1016771"/>
                    <a:gd name="connsiteX289" fmla="*/ 194851 w 761692"/>
                    <a:gd name="connsiteY289" fmla="*/ 276335 h 1016771"/>
                    <a:gd name="connsiteX290" fmla="*/ 209022 w 761692"/>
                    <a:gd name="connsiteY290" fmla="*/ 279878 h 1016771"/>
                    <a:gd name="connsiteX291" fmla="*/ 221422 w 761692"/>
                    <a:gd name="connsiteY291" fmla="*/ 276335 h 1016771"/>
                    <a:gd name="connsiteX292" fmla="*/ 226736 w 761692"/>
                    <a:gd name="connsiteY292" fmla="*/ 269250 h 1016771"/>
                    <a:gd name="connsiteX293" fmla="*/ 226736 w 761692"/>
                    <a:gd name="connsiteY293" fmla="*/ 251536 h 1016771"/>
                    <a:gd name="connsiteX294" fmla="*/ 224965 w 761692"/>
                    <a:gd name="connsiteY294" fmla="*/ 239136 h 1016771"/>
                    <a:gd name="connsiteX295" fmla="*/ 214337 w 761692"/>
                    <a:gd name="connsiteY295" fmla="*/ 230279 h 1016771"/>
                    <a:gd name="connsiteX296" fmla="*/ 210794 w 761692"/>
                    <a:gd name="connsiteY296" fmla="*/ 217880 h 1016771"/>
                    <a:gd name="connsiteX297" fmla="*/ 221422 w 761692"/>
                    <a:gd name="connsiteY297" fmla="*/ 207251 h 1016771"/>
                    <a:gd name="connsiteX298" fmla="*/ 235593 w 761692"/>
                    <a:gd name="connsiteY298" fmla="*/ 214337 h 1016771"/>
                    <a:gd name="connsiteX299" fmla="*/ 246221 w 761692"/>
                    <a:gd name="connsiteY299" fmla="*/ 219651 h 1016771"/>
                    <a:gd name="connsiteX300" fmla="*/ 253307 w 761692"/>
                    <a:gd name="connsiteY300" fmla="*/ 221422 h 1016771"/>
                    <a:gd name="connsiteX301" fmla="*/ 262164 w 761692"/>
                    <a:gd name="connsiteY301" fmla="*/ 210794 h 1016771"/>
                    <a:gd name="connsiteX302" fmla="*/ 263935 w 761692"/>
                    <a:gd name="connsiteY302" fmla="*/ 201937 h 1016771"/>
                    <a:gd name="connsiteX303" fmla="*/ 274563 w 761692"/>
                    <a:gd name="connsiteY303" fmla="*/ 189538 h 1016771"/>
                    <a:gd name="connsiteX304" fmla="*/ 283420 w 761692"/>
                    <a:gd name="connsiteY304" fmla="*/ 178909 h 1016771"/>
                    <a:gd name="connsiteX305" fmla="*/ 286963 w 761692"/>
                    <a:gd name="connsiteY305" fmla="*/ 173595 h 1016771"/>
                    <a:gd name="connsiteX306" fmla="*/ 311762 w 761692"/>
                    <a:gd name="connsiteY306" fmla="*/ 168281 h 1016771"/>
                    <a:gd name="connsiteX307" fmla="*/ 325933 w 761692"/>
                    <a:gd name="connsiteY307" fmla="*/ 164738 h 1016771"/>
                    <a:gd name="connsiteX308" fmla="*/ 336562 w 761692"/>
                    <a:gd name="connsiteY308" fmla="*/ 159424 h 1016771"/>
                    <a:gd name="connsiteX309" fmla="*/ 348961 w 761692"/>
                    <a:gd name="connsiteY309" fmla="*/ 145253 h 1016771"/>
                    <a:gd name="connsiteX310" fmla="*/ 359589 w 761692"/>
                    <a:gd name="connsiteY310" fmla="*/ 143482 h 1016771"/>
                    <a:gd name="connsiteX311" fmla="*/ 371989 w 761692"/>
                    <a:gd name="connsiteY311" fmla="*/ 143482 h 1016771"/>
                    <a:gd name="connsiteX312" fmla="*/ 391474 w 761692"/>
                    <a:gd name="connsiteY312" fmla="*/ 143482 h 1016771"/>
                    <a:gd name="connsiteX313" fmla="*/ 396788 w 761692"/>
                    <a:gd name="connsiteY313" fmla="*/ 141710 h 1016771"/>
                    <a:gd name="connsiteX314" fmla="*/ 403874 w 761692"/>
                    <a:gd name="connsiteY314" fmla="*/ 134625 h 1016771"/>
                    <a:gd name="connsiteX315" fmla="*/ 409188 w 761692"/>
                    <a:gd name="connsiteY315" fmla="*/ 129311 h 1016771"/>
                    <a:gd name="connsiteX316" fmla="*/ 409188 w 761692"/>
                    <a:gd name="connsiteY316" fmla="*/ 123997 h 1016771"/>
                    <a:gd name="connsiteX317" fmla="*/ 414502 w 761692"/>
                    <a:gd name="connsiteY317" fmla="*/ 115140 h 1016771"/>
                    <a:gd name="connsiteX318" fmla="*/ 428673 w 761692"/>
                    <a:gd name="connsiteY318" fmla="*/ 115140 h 1016771"/>
                    <a:gd name="connsiteX319" fmla="*/ 432216 w 761692"/>
                    <a:gd name="connsiteY319" fmla="*/ 109826 h 1016771"/>
                    <a:gd name="connsiteX320" fmla="*/ 437530 w 761692"/>
                    <a:gd name="connsiteY320" fmla="*/ 100969 h 1016771"/>
                    <a:gd name="connsiteX321" fmla="*/ 448158 w 761692"/>
                    <a:gd name="connsiteY321" fmla="*/ 99197 h 1016771"/>
                    <a:gd name="connsiteX322" fmla="*/ 460558 w 761692"/>
                    <a:gd name="connsiteY322" fmla="*/ 97426 h 1016771"/>
                    <a:gd name="connsiteX323" fmla="*/ 472958 w 761692"/>
                    <a:gd name="connsiteY323" fmla="*/ 93883 h 1016771"/>
                    <a:gd name="connsiteX324" fmla="*/ 492443 w 761692"/>
                    <a:gd name="connsiteY324" fmla="*/ 93883 h 1016771"/>
                    <a:gd name="connsiteX325" fmla="*/ 501300 w 761692"/>
                    <a:gd name="connsiteY325" fmla="*/ 83255 h 1016771"/>
                    <a:gd name="connsiteX326" fmla="*/ 517242 w 761692"/>
                    <a:gd name="connsiteY326" fmla="*/ 81484 h 1016771"/>
                    <a:gd name="connsiteX327" fmla="*/ 522556 w 761692"/>
                    <a:gd name="connsiteY327" fmla="*/ 81484 h 1016771"/>
                    <a:gd name="connsiteX328" fmla="*/ 522556 w 761692"/>
                    <a:gd name="connsiteY328" fmla="*/ 60227 h 1016771"/>
                    <a:gd name="connsiteX329" fmla="*/ 526099 w 761692"/>
                    <a:gd name="connsiteY329" fmla="*/ 54913 h 1016771"/>
                    <a:gd name="connsiteX330" fmla="*/ 529642 w 761692"/>
                    <a:gd name="connsiteY330" fmla="*/ 46056 h 1016771"/>
                    <a:gd name="connsiteX331" fmla="*/ 538499 w 761692"/>
                    <a:gd name="connsiteY331" fmla="*/ 40742 h 1016771"/>
                    <a:gd name="connsiteX332" fmla="*/ 540270 w 761692"/>
                    <a:gd name="connsiteY332" fmla="*/ 30114 h 1016771"/>
                    <a:gd name="connsiteX333" fmla="*/ 536727 w 761692"/>
                    <a:gd name="connsiteY333" fmla="*/ 19485 h 1016771"/>
                    <a:gd name="connsiteX334" fmla="*/ 543813 w 761692"/>
                    <a:gd name="connsiteY334" fmla="*/ 5314 h 1016771"/>
                    <a:gd name="connsiteX335" fmla="*/ 554441 w 761692"/>
                    <a:gd name="connsiteY335" fmla="*/ 0 h 1016771"/>
                    <a:gd name="connsiteX0" fmla="*/ 270666 w 761692"/>
                    <a:gd name="connsiteY0" fmla="*/ 911196 h 1016771"/>
                    <a:gd name="connsiteX1" fmla="*/ 307483 w 761692"/>
                    <a:gd name="connsiteY1" fmla="*/ 901613 h 1016771"/>
                    <a:gd name="connsiteX2" fmla="*/ 288734 w 761692"/>
                    <a:gd name="connsiteY2" fmla="*/ 903403 h 1016771"/>
                    <a:gd name="connsiteX3" fmla="*/ 271021 w 761692"/>
                    <a:gd name="connsiteY3" fmla="*/ 912260 h 1016771"/>
                    <a:gd name="connsiteX4" fmla="*/ 270666 w 761692"/>
                    <a:gd name="connsiteY4" fmla="*/ 911196 h 1016771"/>
                    <a:gd name="connsiteX5" fmla="*/ 222919 w 761692"/>
                    <a:gd name="connsiteY5" fmla="*/ 879608 h 1016771"/>
                    <a:gd name="connsiteX6" fmla="*/ 243060 w 761692"/>
                    <a:gd name="connsiteY6" fmla="*/ 882965 h 1016771"/>
                    <a:gd name="connsiteX7" fmla="*/ 243990 w 761692"/>
                    <a:gd name="connsiteY7" fmla="*/ 883546 h 1016771"/>
                    <a:gd name="connsiteX8" fmla="*/ 224965 w 761692"/>
                    <a:gd name="connsiteY8" fmla="*/ 880375 h 1016771"/>
                    <a:gd name="connsiteX9" fmla="*/ 222919 w 761692"/>
                    <a:gd name="connsiteY9" fmla="*/ 879608 h 1016771"/>
                    <a:gd name="connsiteX10" fmla="*/ 159250 w 761692"/>
                    <a:gd name="connsiteY10" fmla="*/ 829179 h 1016771"/>
                    <a:gd name="connsiteX11" fmla="*/ 159989 w 761692"/>
                    <a:gd name="connsiteY11" fmla="*/ 830410 h 1016771"/>
                    <a:gd name="connsiteX12" fmla="*/ 151512 w 761692"/>
                    <a:gd name="connsiteY12" fmla="*/ 838886 h 1016771"/>
                    <a:gd name="connsiteX13" fmla="*/ 149817 w 761692"/>
                    <a:gd name="connsiteY13" fmla="*/ 840582 h 1016771"/>
                    <a:gd name="connsiteX14" fmla="*/ 148122 w 761692"/>
                    <a:gd name="connsiteY14" fmla="*/ 842277 h 1016771"/>
                    <a:gd name="connsiteX15" fmla="*/ 146426 w 761692"/>
                    <a:gd name="connsiteY15" fmla="*/ 843972 h 1016771"/>
                    <a:gd name="connsiteX16" fmla="*/ 141340 w 761692"/>
                    <a:gd name="connsiteY16" fmla="*/ 849058 h 1016771"/>
                    <a:gd name="connsiteX17" fmla="*/ 141340 w 761692"/>
                    <a:gd name="connsiteY17" fmla="*/ 850754 h 1016771"/>
                    <a:gd name="connsiteX18" fmla="*/ 139645 w 761692"/>
                    <a:gd name="connsiteY18" fmla="*/ 852449 h 1016771"/>
                    <a:gd name="connsiteX19" fmla="*/ 139645 w 761692"/>
                    <a:gd name="connsiteY19" fmla="*/ 860925 h 1016771"/>
                    <a:gd name="connsiteX20" fmla="*/ 148122 w 761692"/>
                    <a:gd name="connsiteY20" fmla="*/ 867707 h 1016771"/>
                    <a:gd name="connsiteX21" fmla="*/ 158294 w 761692"/>
                    <a:gd name="connsiteY21" fmla="*/ 879574 h 1016771"/>
                    <a:gd name="connsiteX22" fmla="*/ 175247 w 761692"/>
                    <a:gd name="connsiteY22" fmla="*/ 889746 h 1016771"/>
                    <a:gd name="connsiteX23" fmla="*/ 188810 w 761692"/>
                    <a:gd name="connsiteY23" fmla="*/ 893137 h 1016771"/>
                    <a:gd name="connsiteX24" fmla="*/ 195591 w 761692"/>
                    <a:gd name="connsiteY24" fmla="*/ 893137 h 1016771"/>
                    <a:gd name="connsiteX25" fmla="*/ 202372 w 761692"/>
                    <a:gd name="connsiteY25" fmla="*/ 886355 h 1016771"/>
                    <a:gd name="connsiteX26" fmla="*/ 200677 w 761692"/>
                    <a:gd name="connsiteY26" fmla="*/ 877879 h 1016771"/>
                    <a:gd name="connsiteX27" fmla="*/ 209154 w 761692"/>
                    <a:gd name="connsiteY27" fmla="*/ 874488 h 1016771"/>
                    <a:gd name="connsiteX28" fmla="*/ 210740 w 761692"/>
                    <a:gd name="connsiteY28" fmla="*/ 875083 h 1016771"/>
                    <a:gd name="connsiteX29" fmla="*/ 201937 w 761692"/>
                    <a:gd name="connsiteY29" fmla="*/ 878604 h 1016771"/>
                    <a:gd name="connsiteX30" fmla="*/ 203708 w 761692"/>
                    <a:gd name="connsiteY30" fmla="*/ 887461 h 1016771"/>
                    <a:gd name="connsiteX31" fmla="*/ 196623 w 761692"/>
                    <a:gd name="connsiteY31" fmla="*/ 894546 h 1016771"/>
                    <a:gd name="connsiteX32" fmla="*/ 189537 w 761692"/>
                    <a:gd name="connsiteY32" fmla="*/ 894546 h 1016771"/>
                    <a:gd name="connsiteX33" fmla="*/ 175366 w 761692"/>
                    <a:gd name="connsiteY33" fmla="*/ 891003 h 1016771"/>
                    <a:gd name="connsiteX34" fmla="*/ 157653 w 761692"/>
                    <a:gd name="connsiteY34" fmla="*/ 880375 h 1016771"/>
                    <a:gd name="connsiteX35" fmla="*/ 147024 w 761692"/>
                    <a:gd name="connsiteY35" fmla="*/ 867975 h 1016771"/>
                    <a:gd name="connsiteX36" fmla="*/ 138167 w 761692"/>
                    <a:gd name="connsiteY36" fmla="*/ 860890 h 1016771"/>
                    <a:gd name="connsiteX37" fmla="*/ 138167 w 761692"/>
                    <a:gd name="connsiteY37" fmla="*/ 852033 h 1016771"/>
                    <a:gd name="connsiteX38" fmla="*/ 139939 w 761692"/>
                    <a:gd name="connsiteY38" fmla="*/ 850262 h 1016771"/>
                    <a:gd name="connsiteX39" fmla="*/ 139939 w 761692"/>
                    <a:gd name="connsiteY39" fmla="*/ 848490 h 1016771"/>
                    <a:gd name="connsiteX40" fmla="*/ 145253 w 761692"/>
                    <a:gd name="connsiteY40" fmla="*/ 843176 h 1016771"/>
                    <a:gd name="connsiteX41" fmla="*/ 147024 w 761692"/>
                    <a:gd name="connsiteY41" fmla="*/ 841405 h 1016771"/>
                    <a:gd name="connsiteX42" fmla="*/ 148796 w 761692"/>
                    <a:gd name="connsiteY42" fmla="*/ 839633 h 1016771"/>
                    <a:gd name="connsiteX43" fmla="*/ 150567 w 761692"/>
                    <a:gd name="connsiteY43" fmla="*/ 837862 h 1016771"/>
                    <a:gd name="connsiteX44" fmla="*/ 159250 w 761692"/>
                    <a:gd name="connsiteY44" fmla="*/ 829179 h 1016771"/>
                    <a:gd name="connsiteX45" fmla="*/ 116476 w 761692"/>
                    <a:gd name="connsiteY45" fmla="*/ 741349 h 1016771"/>
                    <a:gd name="connsiteX46" fmla="*/ 117606 w 761692"/>
                    <a:gd name="connsiteY46" fmla="*/ 742253 h 1016771"/>
                    <a:gd name="connsiteX47" fmla="*/ 122692 w 761692"/>
                    <a:gd name="connsiteY47" fmla="*/ 759206 h 1016771"/>
                    <a:gd name="connsiteX48" fmla="*/ 126082 w 761692"/>
                    <a:gd name="connsiteY48" fmla="*/ 771073 h 1016771"/>
                    <a:gd name="connsiteX49" fmla="*/ 129473 w 761692"/>
                    <a:gd name="connsiteY49" fmla="*/ 782940 h 1016771"/>
                    <a:gd name="connsiteX50" fmla="*/ 132864 w 761692"/>
                    <a:gd name="connsiteY50" fmla="*/ 793112 h 1016771"/>
                    <a:gd name="connsiteX51" fmla="*/ 136254 w 761692"/>
                    <a:gd name="connsiteY51" fmla="*/ 810066 h 1016771"/>
                    <a:gd name="connsiteX52" fmla="*/ 139058 w 761692"/>
                    <a:gd name="connsiteY52" fmla="*/ 818476 h 1016771"/>
                    <a:gd name="connsiteX53" fmla="*/ 138167 w 761692"/>
                    <a:gd name="connsiteY53" fmla="*/ 818377 h 1016771"/>
                    <a:gd name="connsiteX54" fmla="*/ 134625 w 761692"/>
                    <a:gd name="connsiteY54" fmla="*/ 807749 h 1016771"/>
                    <a:gd name="connsiteX55" fmla="*/ 131082 w 761692"/>
                    <a:gd name="connsiteY55" fmla="*/ 790035 h 1016771"/>
                    <a:gd name="connsiteX56" fmla="*/ 127539 w 761692"/>
                    <a:gd name="connsiteY56" fmla="*/ 779407 h 1016771"/>
                    <a:gd name="connsiteX57" fmla="*/ 123996 w 761692"/>
                    <a:gd name="connsiteY57" fmla="*/ 767007 h 1016771"/>
                    <a:gd name="connsiteX58" fmla="*/ 120454 w 761692"/>
                    <a:gd name="connsiteY58" fmla="*/ 754607 h 1016771"/>
                    <a:gd name="connsiteX59" fmla="*/ 116476 w 761692"/>
                    <a:gd name="connsiteY59" fmla="*/ 741349 h 1016771"/>
                    <a:gd name="connsiteX60" fmla="*/ 554441 w 761692"/>
                    <a:gd name="connsiteY60" fmla="*/ 0 h 1016771"/>
                    <a:gd name="connsiteX61" fmla="*/ 570383 w 761692"/>
                    <a:gd name="connsiteY61" fmla="*/ 3543 h 1016771"/>
                    <a:gd name="connsiteX62" fmla="*/ 577469 w 761692"/>
                    <a:gd name="connsiteY62" fmla="*/ 8857 h 1016771"/>
                    <a:gd name="connsiteX63" fmla="*/ 582783 w 761692"/>
                    <a:gd name="connsiteY63" fmla="*/ 17714 h 1016771"/>
                    <a:gd name="connsiteX64" fmla="*/ 582783 w 761692"/>
                    <a:gd name="connsiteY64" fmla="*/ 24799 h 1016771"/>
                    <a:gd name="connsiteX65" fmla="*/ 588097 w 761692"/>
                    <a:gd name="connsiteY65" fmla="*/ 33656 h 1016771"/>
                    <a:gd name="connsiteX66" fmla="*/ 598725 w 761692"/>
                    <a:gd name="connsiteY66" fmla="*/ 31885 h 1016771"/>
                    <a:gd name="connsiteX67" fmla="*/ 612896 w 761692"/>
                    <a:gd name="connsiteY67" fmla="*/ 37199 h 1016771"/>
                    <a:gd name="connsiteX68" fmla="*/ 618211 w 761692"/>
                    <a:gd name="connsiteY68" fmla="*/ 46056 h 1016771"/>
                    <a:gd name="connsiteX69" fmla="*/ 619982 w 761692"/>
                    <a:gd name="connsiteY69" fmla="*/ 54913 h 1016771"/>
                    <a:gd name="connsiteX70" fmla="*/ 618211 w 761692"/>
                    <a:gd name="connsiteY70" fmla="*/ 74398 h 1016771"/>
                    <a:gd name="connsiteX71" fmla="*/ 616439 w 761692"/>
                    <a:gd name="connsiteY71" fmla="*/ 85026 h 1016771"/>
                    <a:gd name="connsiteX72" fmla="*/ 621753 w 761692"/>
                    <a:gd name="connsiteY72" fmla="*/ 97426 h 1016771"/>
                    <a:gd name="connsiteX73" fmla="*/ 637696 w 761692"/>
                    <a:gd name="connsiteY73" fmla="*/ 113368 h 1016771"/>
                    <a:gd name="connsiteX74" fmla="*/ 644781 w 761692"/>
                    <a:gd name="connsiteY74" fmla="*/ 120454 h 1016771"/>
                    <a:gd name="connsiteX75" fmla="*/ 650095 w 761692"/>
                    <a:gd name="connsiteY75" fmla="*/ 136396 h 1016771"/>
                    <a:gd name="connsiteX76" fmla="*/ 655409 w 761692"/>
                    <a:gd name="connsiteY76" fmla="*/ 155881 h 1016771"/>
                    <a:gd name="connsiteX77" fmla="*/ 662495 w 761692"/>
                    <a:gd name="connsiteY77" fmla="*/ 171824 h 1016771"/>
                    <a:gd name="connsiteX78" fmla="*/ 660724 w 761692"/>
                    <a:gd name="connsiteY78" fmla="*/ 185995 h 1016771"/>
                    <a:gd name="connsiteX79" fmla="*/ 635924 w 761692"/>
                    <a:gd name="connsiteY79" fmla="*/ 194852 h 1016771"/>
                    <a:gd name="connsiteX80" fmla="*/ 619982 w 761692"/>
                    <a:gd name="connsiteY80" fmla="*/ 207251 h 1016771"/>
                    <a:gd name="connsiteX81" fmla="*/ 614668 w 761692"/>
                    <a:gd name="connsiteY81" fmla="*/ 223194 h 1016771"/>
                    <a:gd name="connsiteX82" fmla="*/ 618211 w 761692"/>
                    <a:gd name="connsiteY82" fmla="*/ 242679 h 1016771"/>
                    <a:gd name="connsiteX83" fmla="*/ 612896 w 761692"/>
                    <a:gd name="connsiteY83" fmla="*/ 256850 h 1016771"/>
                    <a:gd name="connsiteX84" fmla="*/ 625296 w 761692"/>
                    <a:gd name="connsiteY84" fmla="*/ 267478 h 1016771"/>
                    <a:gd name="connsiteX85" fmla="*/ 641238 w 761692"/>
                    <a:gd name="connsiteY85" fmla="*/ 269250 h 1016771"/>
                    <a:gd name="connsiteX86" fmla="*/ 658952 w 761692"/>
                    <a:gd name="connsiteY86" fmla="*/ 286963 h 1016771"/>
                    <a:gd name="connsiteX87" fmla="*/ 653638 w 761692"/>
                    <a:gd name="connsiteY87" fmla="*/ 309991 h 1016771"/>
                    <a:gd name="connsiteX88" fmla="*/ 653638 w 761692"/>
                    <a:gd name="connsiteY88" fmla="*/ 329476 h 1016771"/>
                    <a:gd name="connsiteX89" fmla="*/ 643010 w 761692"/>
                    <a:gd name="connsiteY89" fmla="*/ 338333 h 1016771"/>
                    <a:gd name="connsiteX90" fmla="*/ 632382 w 761692"/>
                    <a:gd name="connsiteY90" fmla="*/ 338333 h 1016771"/>
                    <a:gd name="connsiteX91" fmla="*/ 618211 w 761692"/>
                    <a:gd name="connsiteY91" fmla="*/ 357819 h 1016771"/>
                    <a:gd name="connsiteX92" fmla="*/ 609354 w 761692"/>
                    <a:gd name="connsiteY92" fmla="*/ 361361 h 1016771"/>
                    <a:gd name="connsiteX93" fmla="*/ 596954 w 761692"/>
                    <a:gd name="connsiteY93" fmla="*/ 363133 h 1016771"/>
                    <a:gd name="connsiteX94" fmla="*/ 581012 w 761692"/>
                    <a:gd name="connsiteY94" fmla="*/ 379075 h 1016771"/>
                    <a:gd name="connsiteX95" fmla="*/ 589868 w 761692"/>
                    <a:gd name="connsiteY95" fmla="*/ 393246 h 1016771"/>
                    <a:gd name="connsiteX96" fmla="*/ 586326 w 761692"/>
                    <a:gd name="connsiteY96" fmla="*/ 409189 h 1016771"/>
                    <a:gd name="connsiteX97" fmla="*/ 570383 w 761692"/>
                    <a:gd name="connsiteY97" fmla="*/ 398560 h 1016771"/>
                    <a:gd name="connsiteX98" fmla="*/ 550898 w 761692"/>
                    <a:gd name="connsiteY98" fmla="*/ 405646 h 1016771"/>
                    <a:gd name="connsiteX99" fmla="*/ 531413 w 761692"/>
                    <a:gd name="connsiteY99" fmla="*/ 425131 h 1016771"/>
                    <a:gd name="connsiteX100" fmla="*/ 543813 w 761692"/>
                    <a:gd name="connsiteY100" fmla="*/ 444616 h 1016771"/>
                    <a:gd name="connsiteX101" fmla="*/ 557984 w 761692"/>
                    <a:gd name="connsiteY101" fmla="*/ 462330 h 1016771"/>
                    <a:gd name="connsiteX102" fmla="*/ 570383 w 761692"/>
                    <a:gd name="connsiteY102" fmla="*/ 478272 h 1016771"/>
                    <a:gd name="connsiteX103" fmla="*/ 579240 w 761692"/>
                    <a:gd name="connsiteY103" fmla="*/ 485358 h 1016771"/>
                    <a:gd name="connsiteX104" fmla="*/ 602268 w 761692"/>
                    <a:gd name="connsiteY104" fmla="*/ 483586 h 1016771"/>
                    <a:gd name="connsiteX105" fmla="*/ 623525 w 761692"/>
                    <a:gd name="connsiteY105" fmla="*/ 474730 h 1016771"/>
                    <a:gd name="connsiteX106" fmla="*/ 639467 w 761692"/>
                    <a:gd name="connsiteY106" fmla="*/ 464101 h 1016771"/>
                    <a:gd name="connsiteX107" fmla="*/ 662495 w 761692"/>
                    <a:gd name="connsiteY107" fmla="*/ 464101 h 1016771"/>
                    <a:gd name="connsiteX108" fmla="*/ 673123 w 761692"/>
                    <a:gd name="connsiteY108" fmla="*/ 464101 h 1016771"/>
                    <a:gd name="connsiteX109" fmla="*/ 681980 w 761692"/>
                    <a:gd name="connsiteY109" fmla="*/ 467644 h 1016771"/>
                    <a:gd name="connsiteX110" fmla="*/ 703237 w 761692"/>
                    <a:gd name="connsiteY110" fmla="*/ 471187 h 1016771"/>
                    <a:gd name="connsiteX111" fmla="*/ 708551 w 761692"/>
                    <a:gd name="connsiteY111" fmla="*/ 474730 h 1016771"/>
                    <a:gd name="connsiteX112" fmla="*/ 722722 w 761692"/>
                    <a:gd name="connsiteY112" fmla="*/ 501300 h 1016771"/>
                    <a:gd name="connsiteX113" fmla="*/ 724493 w 761692"/>
                    <a:gd name="connsiteY113" fmla="*/ 522557 h 1016771"/>
                    <a:gd name="connsiteX114" fmla="*/ 722722 w 761692"/>
                    <a:gd name="connsiteY114" fmla="*/ 540271 h 1016771"/>
                    <a:gd name="connsiteX115" fmla="*/ 735121 w 761692"/>
                    <a:gd name="connsiteY115" fmla="*/ 552670 h 1016771"/>
                    <a:gd name="connsiteX116" fmla="*/ 735121 w 761692"/>
                    <a:gd name="connsiteY116" fmla="*/ 570384 h 1016771"/>
                    <a:gd name="connsiteX117" fmla="*/ 751064 w 761692"/>
                    <a:gd name="connsiteY117" fmla="*/ 581012 h 1016771"/>
                    <a:gd name="connsiteX118" fmla="*/ 761692 w 761692"/>
                    <a:gd name="connsiteY118" fmla="*/ 604040 h 1016771"/>
                    <a:gd name="connsiteX119" fmla="*/ 747521 w 761692"/>
                    <a:gd name="connsiteY119" fmla="*/ 616440 h 1016771"/>
                    <a:gd name="connsiteX120" fmla="*/ 728036 w 761692"/>
                    <a:gd name="connsiteY120" fmla="*/ 627068 h 1016771"/>
                    <a:gd name="connsiteX121" fmla="*/ 726264 w 761692"/>
                    <a:gd name="connsiteY121" fmla="*/ 650096 h 1016771"/>
                    <a:gd name="connsiteX122" fmla="*/ 728036 w 761692"/>
                    <a:gd name="connsiteY122" fmla="*/ 673124 h 1016771"/>
                    <a:gd name="connsiteX123" fmla="*/ 742207 w 761692"/>
                    <a:gd name="connsiteY123" fmla="*/ 689066 h 1016771"/>
                    <a:gd name="connsiteX124" fmla="*/ 742207 w 761692"/>
                    <a:gd name="connsiteY124" fmla="*/ 712094 h 1016771"/>
                    <a:gd name="connsiteX125" fmla="*/ 740435 w 761692"/>
                    <a:gd name="connsiteY125" fmla="*/ 735122 h 1016771"/>
                    <a:gd name="connsiteX126" fmla="*/ 742207 w 761692"/>
                    <a:gd name="connsiteY126" fmla="*/ 751065 h 1016771"/>
                    <a:gd name="connsiteX127" fmla="*/ 747521 w 761692"/>
                    <a:gd name="connsiteY127" fmla="*/ 768778 h 1016771"/>
                    <a:gd name="connsiteX128" fmla="*/ 759921 w 761692"/>
                    <a:gd name="connsiteY128" fmla="*/ 777635 h 1016771"/>
                    <a:gd name="connsiteX129" fmla="*/ 758149 w 761692"/>
                    <a:gd name="connsiteY129" fmla="*/ 802434 h 1016771"/>
                    <a:gd name="connsiteX130" fmla="*/ 752835 w 761692"/>
                    <a:gd name="connsiteY130" fmla="*/ 814834 h 1016771"/>
                    <a:gd name="connsiteX131" fmla="*/ 743978 w 761692"/>
                    <a:gd name="connsiteY131" fmla="*/ 827234 h 1016771"/>
                    <a:gd name="connsiteX132" fmla="*/ 743978 w 761692"/>
                    <a:gd name="connsiteY132" fmla="*/ 837862 h 1016771"/>
                    <a:gd name="connsiteX133" fmla="*/ 747521 w 761692"/>
                    <a:gd name="connsiteY133" fmla="*/ 853804 h 1016771"/>
                    <a:gd name="connsiteX134" fmla="*/ 733350 w 761692"/>
                    <a:gd name="connsiteY134" fmla="*/ 867975 h 1016771"/>
                    <a:gd name="connsiteX135" fmla="*/ 724493 w 761692"/>
                    <a:gd name="connsiteY135" fmla="*/ 880375 h 1016771"/>
                    <a:gd name="connsiteX136" fmla="*/ 722722 w 761692"/>
                    <a:gd name="connsiteY136" fmla="*/ 899860 h 1016771"/>
                    <a:gd name="connsiteX137" fmla="*/ 722722 w 761692"/>
                    <a:gd name="connsiteY137" fmla="*/ 919345 h 1016771"/>
                    <a:gd name="connsiteX138" fmla="*/ 715636 w 761692"/>
                    <a:gd name="connsiteY138" fmla="*/ 940602 h 1016771"/>
                    <a:gd name="connsiteX139" fmla="*/ 708551 w 761692"/>
                    <a:gd name="connsiteY139" fmla="*/ 954773 h 1016771"/>
                    <a:gd name="connsiteX140" fmla="*/ 699694 w 761692"/>
                    <a:gd name="connsiteY140" fmla="*/ 965401 h 1016771"/>
                    <a:gd name="connsiteX141" fmla="*/ 692608 w 761692"/>
                    <a:gd name="connsiteY141" fmla="*/ 984886 h 1016771"/>
                    <a:gd name="connsiteX142" fmla="*/ 683751 w 761692"/>
                    <a:gd name="connsiteY142" fmla="*/ 997286 h 1016771"/>
                    <a:gd name="connsiteX143" fmla="*/ 673123 w 761692"/>
                    <a:gd name="connsiteY143" fmla="*/ 1002600 h 1016771"/>
                    <a:gd name="connsiteX144" fmla="*/ 662495 w 761692"/>
                    <a:gd name="connsiteY144" fmla="*/ 1013228 h 1016771"/>
                    <a:gd name="connsiteX145" fmla="*/ 644781 w 761692"/>
                    <a:gd name="connsiteY145" fmla="*/ 1016771 h 1016771"/>
                    <a:gd name="connsiteX146" fmla="*/ 635924 w 761692"/>
                    <a:gd name="connsiteY146" fmla="*/ 1004372 h 1016771"/>
                    <a:gd name="connsiteX147" fmla="*/ 623525 w 761692"/>
                    <a:gd name="connsiteY147" fmla="*/ 997286 h 1016771"/>
                    <a:gd name="connsiteX148" fmla="*/ 614668 w 761692"/>
                    <a:gd name="connsiteY148" fmla="*/ 986658 h 1016771"/>
                    <a:gd name="connsiteX149" fmla="*/ 593411 w 761692"/>
                    <a:gd name="connsiteY149" fmla="*/ 970715 h 1016771"/>
                    <a:gd name="connsiteX150" fmla="*/ 582783 w 761692"/>
                    <a:gd name="connsiteY150" fmla="*/ 965401 h 1016771"/>
                    <a:gd name="connsiteX151" fmla="*/ 531413 w 761692"/>
                    <a:gd name="connsiteY151" fmla="*/ 965401 h 1016771"/>
                    <a:gd name="connsiteX152" fmla="*/ 511928 w 761692"/>
                    <a:gd name="connsiteY152" fmla="*/ 965401 h 1016771"/>
                    <a:gd name="connsiteX153" fmla="*/ 492443 w 761692"/>
                    <a:gd name="connsiteY153" fmla="*/ 963630 h 1016771"/>
                    <a:gd name="connsiteX154" fmla="*/ 483586 w 761692"/>
                    <a:gd name="connsiteY154" fmla="*/ 958316 h 1016771"/>
                    <a:gd name="connsiteX155" fmla="*/ 469415 w 761692"/>
                    <a:gd name="connsiteY155" fmla="*/ 954773 h 1016771"/>
                    <a:gd name="connsiteX156" fmla="*/ 460558 w 761692"/>
                    <a:gd name="connsiteY156" fmla="*/ 942373 h 1016771"/>
                    <a:gd name="connsiteX157" fmla="*/ 446387 w 761692"/>
                    <a:gd name="connsiteY157" fmla="*/ 935288 h 1016771"/>
                    <a:gd name="connsiteX158" fmla="*/ 428673 w 761692"/>
                    <a:gd name="connsiteY158" fmla="*/ 928202 h 1016771"/>
                    <a:gd name="connsiteX159" fmla="*/ 418045 w 761692"/>
                    <a:gd name="connsiteY159" fmla="*/ 917574 h 1016771"/>
                    <a:gd name="connsiteX160" fmla="*/ 421588 w 761692"/>
                    <a:gd name="connsiteY160" fmla="*/ 903403 h 1016771"/>
                    <a:gd name="connsiteX161" fmla="*/ 418045 w 761692"/>
                    <a:gd name="connsiteY161" fmla="*/ 898089 h 1016771"/>
                    <a:gd name="connsiteX162" fmla="*/ 396788 w 761692"/>
                    <a:gd name="connsiteY162" fmla="*/ 898089 h 1016771"/>
                    <a:gd name="connsiteX163" fmla="*/ 382617 w 761692"/>
                    <a:gd name="connsiteY163" fmla="*/ 896318 h 1016771"/>
                    <a:gd name="connsiteX164" fmla="*/ 380846 w 761692"/>
                    <a:gd name="connsiteY164" fmla="*/ 906946 h 1016771"/>
                    <a:gd name="connsiteX165" fmla="*/ 373601 w 761692"/>
                    <a:gd name="connsiteY165" fmla="*/ 894832 h 1016771"/>
                    <a:gd name="connsiteX166" fmla="*/ 387164 w 761692"/>
                    <a:gd name="connsiteY166" fmla="*/ 896527 h 1016771"/>
                    <a:gd name="connsiteX167" fmla="*/ 383773 w 761692"/>
                    <a:gd name="connsiteY167" fmla="*/ 886355 h 1016771"/>
                    <a:gd name="connsiteX168" fmla="*/ 387164 w 761692"/>
                    <a:gd name="connsiteY168" fmla="*/ 876183 h 1016771"/>
                    <a:gd name="connsiteX169" fmla="*/ 388859 w 761692"/>
                    <a:gd name="connsiteY169" fmla="*/ 867707 h 1016771"/>
                    <a:gd name="connsiteX170" fmla="*/ 380382 w 761692"/>
                    <a:gd name="connsiteY170" fmla="*/ 859230 h 1016771"/>
                    <a:gd name="connsiteX171" fmla="*/ 373601 w 761692"/>
                    <a:gd name="connsiteY171" fmla="*/ 849058 h 1016771"/>
                    <a:gd name="connsiteX172" fmla="*/ 380382 w 761692"/>
                    <a:gd name="connsiteY172" fmla="*/ 838886 h 1016771"/>
                    <a:gd name="connsiteX173" fmla="*/ 383773 w 761692"/>
                    <a:gd name="connsiteY173" fmla="*/ 833800 h 1016771"/>
                    <a:gd name="connsiteX174" fmla="*/ 388859 w 761692"/>
                    <a:gd name="connsiteY174" fmla="*/ 825324 h 1016771"/>
                    <a:gd name="connsiteX175" fmla="*/ 387164 w 761692"/>
                    <a:gd name="connsiteY175" fmla="*/ 810066 h 1016771"/>
                    <a:gd name="connsiteX176" fmla="*/ 387164 w 761692"/>
                    <a:gd name="connsiteY176" fmla="*/ 796503 h 1016771"/>
                    <a:gd name="connsiteX177" fmla="*/ 378687 w 761692"/>
                    <a:gd name="connsiteY177" fmla="*/ 789722 h 1016771"/>
                    <a:gd name="connsiteX178" fmla="*/ 366820 w 761692"/>
                    <a:gd name="connsiteY178" fmla="*/ 782940 h 1016771"/>
                    <a:gd name="connsiteX179" fmla="*/ 356648 w 761692"/>
                    <a:gd name="connsiteY179" fmla="*/ 781245 h 1016771"/>
                    <a:gd name="connsiteX180" fmla="*/ 349866 w 761692"/>
                    <a:gd name="connsiteY180" fmla="*/ 771073 h 1016771"/>
                    <a:gd name="connsiteX181" fmla="*/ 349866 w 761692"/>
                    <a:gd name="connsiteY181" fmla="*/ 752425 h 1016771"/>
                    <a:gd name="connsiteX182" fmla="*/ 353257 w 761692"/>
                    <a:gd name="connsiteY182" fmla="*/ 743948 h 1016771"/>
                    <a:gd name="connsiteX183" fmla="*/ 354952 w 761692"/>
                    <a:gd name="connsiteY183" fmla="*/ 730385 h 1016771"/>
                    <a:gd name="connsiteX184" fmla="*/ 353257 w 761692"/>
                    <a:gd name="connsiteY184" fmla="*/ 713432 h 1016771"/>
                    <a:gd name="connsiteX185" fmla="*/ 346476 w 761692"/>
                    <a:gd name="connsiteY185" fmla="*/ 701565 h 1016771"/>
                    <a:gd name="connsiteX186" fmla="*/ 332913 w 761692"/>
                    <a:gd name="connsiteY186" fmla="*/ 689697 h 1016771"/>
                    <a:gd name="connsiteX187" fmla="*/ 324436 w 761692"/>
                    <a:gd name="connsiteY187" fmla="*/ 681221 h 1016771"/>
                    <a:gd name="connsiteX188" fmla="*/ 314264 w 761692"/>
                    <a:gd name="connsiteY188" fmla="*/ 676135 h 1016771"/>
                    <a:gd name="connsiteX189" fmla="*/ 293920 w 761692"/>
                    <a:gd name="connsiteY189" fmla="*/ 669354 h 1016771"/>
                    <a:gd name="connsiteX190" fmla="*/ 282053 w 761692"/>
                    <a:gd name="connsiteY190" fmla="*/ 667658 h 1016771"/>
                    <a:gd name="connsiteX191" fmla="*/ 266795 w 761692"/>
                    <a:gd name="connsiteY191" fmla="*/ 672744 h 1016771"/>
                    <a:gd name="connsiteX192" fmla="*/ 265100 w 761692"/>
                    <a:gd name="connsiteY192" fmla="*/ 672744 h 1016771"/>
                    <a:gd name="connsiteX193" fmla="*/ 263404 w 761692"/>
                    <a:gd name="connsiteY193" fmla="*/ 671049 h 1016771"/>
                    <a:gd name="connsiteX194" fmla="*/ 260014 w 761692"/>
                    <a:gd name="connsiteY194" fmla="*/ 671049 h 1016771"/>
                    <a:gd name="connsiteX195" fmla="*/ 258318 w 761692"/>
                    <a:gd name="connsiteY195" fmla="*/ 671049 h 1016771"/>
                    <a:gd name="connsiteX196" fmla="*/ 253232 w 761692"/>
                    <a:gd name="connsiteY196" fmla="*/ 671049 h 1016771"/>
                    <a:gd name="connsiteX197" fmla="*/ 248146 w 761692"/>
                    <a:gd name="connsiteY197" fmla="*/ 672744 h 1016771"/>
                    <a:gd name="connsiteX198" fmla="*/ 248146 w 761692"/>
                    <a:gd name="connsiteY198" fmla="*/ 674440 h 1016771"/>
                    <a:gd name="connsiteX199" fmla="*/ 246451 w 761692"/>
                    <a:gd name="connsiteY199" fmla="*/ 674440 h 1016771"/>
                    <a:gd name="connsiteX200" fmla="*/ 236279 w 761692"/>
                    <a:gd name="connsiteY200" fmla="*/ 679526 h 1016771"/>
                    <a:gd name="connsiteX201" fmla="*/ 226107 w 761692"/>
                    <a:gd name="connsiteY201" fmla="*/ 684612 h 1016771"/>
                    <a:gd name="connsiteX202" fmla="*/ 217630 w 761692"/>
                    <a:gd name="connsiteY202" fmla="*/ 684612 h 1016771"/>
                    <a:gd name="connsiteX203" fmla="*/ 207458 w 761692"/>
                    <a:gd name="connsiteY203" fmla="*/ 693088 h 1016771"/>
                    <a:gd name="connsiteX204" fmla="*/ 198982 w 761692"/>
                    <a:gd name="connsiteY204" fmla="*/ 694783 h 1016771"/>
                    <a:gd name="connsiteX205" fmla="*/ 192200 w 761692"/>
                    <a:gd name="connsiteY205" fmla="*/ 699869 h 1016771"/>
                    <a:gd name="connsiteX206" fmla="*/ 178638 w 761692"/>
                    <a:gd name="connsiteY206" fmla="*/ 706651 h 1016771"/>
                    <a:gd name="connsiteX207" fmla="*/ 163380 w 761692"/>
                    <a:gd name="connsiteY207" fmla="*/ 710041 h 1016771"/>
                    <a:gd name="connsiteX208" fmla="*/ 141340 w 761692"/>
                    <a:gd name="connsiteY208" fmla="*/ 710041 h 1016771"/>
                    <a:gd name="connsiteX209" fmla="*/ 134559 w 761692"/>
                    <a:gd name="connsiteY209" fmla="*/ 716823 h 1016771"/>
                    <a:gd name="connsiteX210" fmla="*/ 127778 w 761692"/>
                    <a:gd name="connsiteY210" fmla="*/ 718518 h 1016771"/>
                    <a:gd name="connsiteX211" fmla="*/ 120996 w 761692"/>
                    <a:gd name="connsiteY211" fmla="*/ 725299 h 1016771"/>
                    <a:gd name="connsiteX212" fmla="*/ 111172 w 761692"/>
                    <a:gd name="connsiteY212" fmla="*/ 733720 h 1016771"/>
                    <a:gd name="connsiteX213" fmla="*/ 106283 w 761692"/>
                    <a:gd name="connsiteY213" fmla="*/ 729808 h 1016771"/>
                    <a:gd name="connsiteX214" fmla="*/ 92112 w 761692"/>
                    <a:gd name="connsiteY214" fmla="*/ 724494 h 1016771"/>
                    <a:gd name="connsiteX215" fmla="*/ 77941 w 761692"/>
                    <a:gd name="connsiteY215" fmla="*/ 726265 h 1016771"/>
                    <a:gd name="connsiteX216" fmla="*/ 70855 w 761692"/>
                    <a:gd name="connsiteY216" fmla="*/ 719180 h 1016771"/>
                    <a:gd name="connsiteX217" fmla="*/ 70855 w 761692"/>
                    <a:gd name="connsiteY217" fmla="*/ 699695 h 1016771"/>
                    <a:gd name="connsiteX218" fmla="*/ 81483 w 761692"/>
                    <a:gd name="connsiteY218" fmla="*/ 685524 h 1016771"/>
                    <a:gd name="connsiteX219" fmla="*/ 85026 w 761692"/>
                    <a:gd name="connsiteY219" fmla="*/ 673124 h 1016771"/>
                    <a:gd name="connsiteX220" fmla="*/ 86797 w 761692"/>
                    <a:gd name="connsiteY220" fmla="*/ 660724 h 1016771"/>
                    <a:gd name="connsiteX221" fmla="*/ 97426 w 761692"/>
                    <a:gd name="connsiteY221" fmla="*/ 650096 h 1016771"/>
                    <a:gd name="connsiteX222" fmla="*/ 102740 w 761692"/>
                    <a:gd name="connsiteY222" fmla="*/ 635925 h 1016771"/>
                    <a:gd name="connsiteX223" fmla="*/ 113368 w 761692"/>
                    <a:gd name="connsiteY223" fmla="*/ 625297 h 1016771"/>
                    <a:gd name="connsiteX224" fmla="*/ 115139 w 761692"/>
                    <a:gd name="connsiteY224" fmla="*/ 612897 h 1016771"/>
                    <a:gd name="connsiteX225" fmla="*/ 127539 w 761692"/>
                    <a:gd name="connsiteY225" fmla="*/ 609354 h 1016771"/>
                    <a:gd name="connsiteX226" fmla="*/ 136396 w 761692"/>
                    <a:gd name="connsiteY226" fmla="*/ 604040 h 1016771"/>
                    <a:gd name="connsiteX227" fmla="*/ 132853 w 761692"/>
                    <a:gd name="connsiteY227" fmla="*/ 593412 h 1016771"/>
                    <a:gd name="connsiteX228" fmla="*/ 134625 w 761692"/>
                    <a:gd name="connsiteY228" fmla="*/ 584555 h 1016771"/>
                    <a:gd name="connsiteX229" fmla="*/ 131082 w 761692"/>
                    <a:gd name="connsiteY229" fmla="*/ 575698 h 1016771"/>
                    <a:gd name="connsiteX230" fmla="*/ 120454 w 761692"/>
                    <a:gd name="connsiteY230" fmla="*/ 568613 h 1016771"/>
                    <a:gd name="connsiteX231" fmla="*/ 125768 w 761692"/>
                    <a:gd name="connsiteY231" fmla="*/ 552670 h 1016771"/>
                    <a:gd name="connsiteX232" fmla="*/ 118682 w 761692"/>
                    <a:gd name="connsiteY232" fmla="*/ 543813 h 1016771"/>
                    <a:gd name="connsiteX233" fmla="*/ 90340 w 761692"/>
                    <a:gd name="connsiteY233" fmla="*/ 543813 h 1016771"/>
                    <a:gd name="connsiteX234" fmla="*/ 86797 w 761692"/>
                    <a:gd name="connsiteY234" fmla="*/ 542042 h 1016771"/>
                    <a:gd name="connsiteX235" fmla="*/ 83255 w 761692"/>
                    <a:gd name="connsiteY235" fmla="*/ 542042 h 1016771"/>
                    <a:gd name="connsiteX236" fmla="*/ 81483 w 761692"/>
                    <a:gd name="connsiteY236" fmla="*/ 540271 h 1016771"/>
                    <a:gd name="connsiteX237" fmla="*/ 81483 w 761692"/>
                    <a:gd name="connsiteY237" fmla="*/ 536728 h 1016771"/>
                    <a:gd name="connsiteX238" fmla="*/ 79712 w 761692"/>
                    <a:gd name="connsiteY238" fmla="*/ 531414 h 1016771"/>
                    <a:gd name="connsiteX239" fmla="*/ 77941 w 761692"/>
                    <a:gd name="connsiteY239" fmla="*/ 529642 h 1016771"/>
                    <a:gd name="connsiteX240" fmla="*/ 70855 w 761692"/>
                    <a:gd name="connsiteY240" fmla="*/ 527871 h 1016771"/>
                    <a:gd name="connsiteX241" fmla="*/ 60227 w 761692"/>
                    <a:gd name="connsiteY241" fmla="*/ 536728 h 1016771"/>
                    <a:gd name="connsiteX242" fmla="*/ 47827 w 761692"/>
                    <a:gd name="connsiteY242" fmla="*/ 526100 h 1016771"/>
                    <a:gd name="connsiteX243" fmla="*/ 42513 w 761692"/>
                    <a:gd name="connsiteY243" fmla="*/ 515471 h 1016771"/>
                    <a:gd name="connsiteX244" fmla="*/ 33656 w 761692"/>
                    <a:gd name="connsiteY244" fmla="*/ 506614 h 1016771"/>
                    <a:gd name="connsiteX245" fmla="*/ 31885 w 761692"/>
                    <a:gd name="connsiteY245" fmla="*/ 490672 h 1016771"/>
                    <a:gd name="connsiteX246" fmla="*/ 26571 w 761692"/>
                    <a:gd name="connsiteY246" fmla="*/ 476501 h 1016771"/>
                    <a:gd name="connsiteX247" fmla="*/ 24799 w 761692"/>
                    <a:gd name="connsiteY247" fmla="*/ 471187 h 1016771"/>
                    <a:gd name="connsiteX248" fmla="*/ 12400 w 761692"/>
                    <a:gd name="connsiteY248" fmla="*/ 472958 h 1016771"/>
                    <a:gd name="connsiteX249" fmla="*/ 7086 w 761692"/>
                    <a:gd name="connsiteY249" fmla="*/ 464101 h 1016771"/>
                    <a:gd name="connsiteX250" fmla="*/ 8857 w 761692"/>
                    <a:gd name="connsiteY250" fmla="*/ 446388 h 1016771"/>
                    <a:gd name="connsiteX251" fmla="*/ 3543 w 761692"/>
                    <a:gd name="connsiteY251" fmla="*/ 435759 h 1016771"/>
                    <a:gd name="connsiteX252" fmla="*/ 5314 w 761692"/>
                    <a:gd name="connsiteY252" fmla="*/ 412731 h 1016771"/>
                    <a:gd name="connsiteX253" fmla="*/ 0 w 761692"/>
                    <a:gd name="connsiteY253" fmla="*/ 396789 h 1016771"/>
                    <a:gd name="connsiteX254" fmla="*/ 3543 w 761692"/>
                    <a:gd name="connsiteY254" fmla="*/ 384389 h 1016771"/>
                    <a:gd name="connsiteX255" fmla="*/ 14171 w 761692"/>
                    <a:gd name="connsiteY255" fmla="*/ 380846 h 1016771"/>
                    <a:gd name="connsiteX256" fmla="*/ 24799 w 761692"/>
                    <a:gd name="connsiteY256" fmla="*/ 364904 h 1016771"/>
                    <a:gd name="connsiteX257" fmla="*/ 30113 w 761692"/>
                    <a:gd name="connsiteY257" fmla="*/ 350733 h 1016771"/>
                    <a:gd name="connsiteX258" fmla="*/ 35428 w 761692"/>
                    <a:gd name="connsiteY258" fmla="*/ 341876 h 1016771"/>
                    <a:gd name="connsiteX259" fmla="*/ 42513 w 761692"/>
                    <a:gd name="connsiteY259" fmla="*/ 327705 h 1016771"/>
                    <a:gd name="connsiteX260" fmla="*/ 42513 w 761692"/>
                    <a:gd name="connsiteY260" fmla="*/ 315305 h 1016771"/>
                    <a:gd name="connsiteX261" fmla="*/ 56684 w 761692"/>
                    <a:gd name="connsiteY261" fmla="*/ 309991 h 1016771"/>
                    <a:gd name="connsiteX262" fmla="*/ 60227 w 761692"/>
                    <a:gd name="connsiteY262" fmla="*/ 309991 h 1016771"/>
                    <a:gd name="connsiteX263" fmla="*/ 61998 w 761692"/>
                    <a:gd name="connsiteY263" fmla="*/ 311763 h 1016771"/>
                    <a:gd name="connsiteX264" fmla="*/ 67312 w 761692"/>
                    <a:gd name="connsiteY264" fmla="*/ 311763 h 1016771"/>
                    <a:gd name="connsiteX265" fmla="*/ 67312 w 761692"/>
                    <a:gd name="connsiteY265" fmla="*/ 309991 h 1016771"/>
                    <a:gd name="connsiteX266" fmla="*/ 67312 w 761692"/>
                    <a:gd name="connsiteY266" fmla="*/ 308220 h 1016771"/>
                    <a:gd name="connsiteX267" fmla="*/ 69084 w 761692"/>
                    <a:gd name="connsiteY267" fmla="*/ 302906 h 1016771"/>
                    <a:gd name="connsiteX268" fmla="*/ 70855 w 761692"/>
                    <a:gd name="connsiteY268" fmla="*/ 301134 h 1016771"/>
                    <a:gd name="connsiteX269" fmla="*/ 70855 w 761692"/>
                    <a:gd name="connsiteY269" fmla="*/ 299363 h 1016771"/>
                    <a:gd name="connsiteX270" fmla="*/ 77941 w 761692"/>
                    <a:gd name="connsiteY270" fmla="*/ 295820 h 1016771"/>
                    <a:gd name="connsiteX271" fmla="*/ 85026 w 761692"/>
                    <a:gd name="connsiteY271" fmla="*/ 295820 h 1016771"/>
                    <a:gd name="connsiteX272" fmla="*/ 93883 w 761692"/>
                    <a:gd name="connsiteY272" fmla="*/ 297592 h 1016771"/>
                    <a:gd name="connsiteX273" fmla="*/ 100968 w 761692"/>
                    <a:gd name="connsiteY273" fmla="*/ 288735 h 1016771"/>
                    <a:gd name="connsiteX274" fmla="*/ 97426 w 761692"/>
                    <a:gd name="connsiteY274" fmla="*/ 279878 h 1016771"/>
                    <a:gd name="connsiteX275" fmla="*/ 85026 w 761692"/>
                    <a:gd name="connsiteY275" fmla="*/ 276335 h 1016771"/>
                    <a:gd name="connsiteX276" fmla="*/ 76169 w 761692"/>
                    <a:gd name="connsiteY276" fmla="*/ 271021 h 1016771"/>
                    <a:gd name="connsiteX277" fmla="*/ 76169 w 761692"/>
                    <a:gd name="connsiteY277" fmla="*/ 262164 h 1016771"/>
                    <a:gd name="connsiteX278" fmla="*/ 81483 w 761692"/>
                    <a:gd name="connsiteY278" fmla="*/ 251536 h 1016771"/>
                    <a:gd name="connsiteX279" fmla="*/ 86797 w 761692"/>
                    <a:gd name="connsiteY279" fmla="*/ 255079 h 1016771"/>
                    <a:gd name="connsiteX280" fmla="*/ 104511 w 761692"/>
                    <a:gd name="connsiteY280" fmla="*/ 262164 h 1016771"/>
                    <a:gd name="connsiteX281" fmla="*/ 116911 w 761692"/>
                    <a:gd name="connsiteY281" fmla="*/ 265707 h 1016771"/>
                    <a:gd name="connsiteX282" fmla="*/ 132853 w 761692"/>
                    <a:gd name="connsiteY282" fmla="*/ 269250 h 1016771"/>
                    <a:gd name="connsiteX283" fmla="*/ 138167 w 761692"/>
                    <a:gd name="connsiteY283" fmla="*/ 265707 h 1016771"/>
                    <a:gd name="connsiteX284" fmla="*/ 150567 w 761692"/>
                    <a:gd name="connsiteY284" fmla="*/ 255079 h 1016771"/>
                    <a:gd name="connsiteX285" fmla="*/ 166509 w 761692"/>
                    <a:gd name="connsiteY285" fmla="*/ 255079 h 1016771"/>
                    <a:gd name="connsiteX286" fmla="*/ 166509 w 761692"/>
                    <a:gd name="connsiteY286" fmla="*/ 265707 h 1016771"/>
                    <a:gd name="connsiteX287" fmla="*/ 177138 w 761692"/>
                    <a:gd name="connsiteY287" fmla="*/ 272792 h 1016771"/>
                    <a:gd name="connsiteX288" fmla="*/ 194851 w 761692"/>
                    <a:gd name="connsiteY288" fmla="*/ 276335 h 1016771"/>
                    <a:gd name="connsiteX289" fmla="*/ 209022 w 761692"/>
                    <a:gd name="connsiteY289" fmla="*/ 279878 h 1016771"/>
                    <a:gd name="connsiteX290" fmla="*/ 221422 w 761692"/>
                    <a:gd name="connsiteY290" fmla="*/ 276335 h 1016771"/>
                    <a:gd name="connsiteX291" fmla="*/ 226736 w 761692"/>
                    <a:gd name="connsiteY291" fmla="*/ 269250 h 1016771"/>
                    <a:gd name="connsiteX292" fmla="*/ 226736 w 761692"/>
                    <a:gd name="connsiteY292" fmla="*/ 251536 h 1016771"/>
                    <a:gd name="connsiteX293" fmla="*/ 224965 w 761692"/>
                    <a:gd name="connsiteY293" fmla="*/ 239136 h 1016771"/>
                    <a:gd name="connsiteX294" fmla="*/ 214337 w 761692"/>
                    <a:gd name="connsiteY294" fmla="*/ 230279 h 1016771"/>
                    <a:gd name="connsiteX295" fmla="*/ 210794 w 761692"/>
                    <a:gd name="connsiteY295" fmla="*/ 217880 h 1016771"/>
                    <a:gd name="connsiteX296" fmla="*/ 221422 w 761692"/>
                    <a:gd name="connsiteY296" fmla="*/ 207251 h 1016771"/>
                    <a:gd name="connsiteX297" fmla="*/ 235593 w 761692"/>
                    <a:gd name="connsiteY297" fmla="*/ 214337 h 1016771"/>
                    <a:gd name="connsiteX298" fmla="*/ 246221 w 761692"/>
                    <a:gd name="connsiteY298" fmla="*/ 219651 h 1016771"/>
                    <a:gd name="connsiteX299" fmla="*/ 253307 w 761692"/>
                    <a:gd name="connsiteY299" fmla="*/ 221422 h 1016771"/>
                    <a:gd name="connsiteX300" fmla="*/ 262164 w 761692"/>
                    <a:gd name="connsiteY300" fmla="*/ 210794 h 1016771"/>
                    <a:gd name="connsiteX301" fmla="*/ 263935 w 761692"/>
                    <a:gd name="connsiteY301" fmla="*/ 201937 h 1016771"/>
                    <a:gd name="connsiteX302" fmla="*/ 274563 w 761692"/>
                    <a:gd name="connsiteY302" fmla="*/ 189538 h 1016771"/>
                    <a:gd name="connsiteX303" fmla="*/ 283420 w 761692"/>
                    <a:gd name="connsiteY303" fmla="*/ 178909 h 1016771"/>
                    <a:gd name="connsiteX304" fmla="*/ 286963 w 761692"/>
                    <a:gd name="connsiteY304" fmla="*/ 173595 h 1016771"/>
                    <a:gd name="connsiteX305" fmla="*/ 311762 w 761692"/>
                    <a:gd name="connsiteY305" fmla="*/ 168281 h 1016771"/>
                    <a:gd name="connsiteX306" fmla="*/ 325933 w 761692"/>
                    <a:gd name="connsiteY306" fmla="*/ 164738 h 1016771"/>
                    <a:gd name="connsiteX307" fmla="*/ 336562 w 761692"/>
                    <a:gd name="connsiteY307" fmla="*/ 159424 h 1016771"/>
                    <a:gd name="connsiteX308" fmla="*/ 348961 w 761692"/>
                    <a:gd name="connsiteY308" fmla="*/ 145253 h 1016771"/>
                    <a:gd name="connsiteX309" fmla="*/ 359589 w 761692"/>
                    <a:gd name="connsiteY309" fmla="*/ 143482 h 1016771"/>
                    <a:gd name="connsiteX310" fmla="*/ 371989 w 761692"/>
                    <a:gd name="connsiteY310" fmla="*/ 143482 h 1016771"/>
                    <a:gd name="connsiteX311" fmla="*/ 391474 w 761692"/>
                    <a:gd name="connsiteY311" fmla="*/ 143482 h 1016771"/>
                    <a:gd name="connsiteX312" fmla="*/ 396788 w 761692"/>
                    <a:gd name="connsiteY312" fmla="*/ 141710 h 1016771"/>
                    <a:gd name="connsiteX313" fmla="*/ 403874 w 761692"/>
                    <a:gd name="connsiteY313" fmla="*/ 134625 h 1016771"/>
                    <a:gd name="connsiteX314" fmla="*/ 409188 w 761692"/>
                    <a:gd name="connsiteY314" fmla="*/ 129311 h 1016771"/>
                    <a:gd name="connsiteX315" fmla="*/ 409188 w 761692"/>
                    <a:gd name="connsiteY315" fmla="*/ 123997 h 1016771"/>
                    <a:gd name="connsiteX316" fmla="*/ 414502 w 761692"/>
                    <a:gd name="connsiteY316" fmla="*/ 115140 h 1016771"/>
                    <a:gd name="connsiteX317" fmla="*/ 428673 w 761692"/>
                    <a:gd name="connsiteY317" fmla="*/ 115140 h 1016771"/>
                    <a:gd name="connsiteX318" fmla="*/ 432216 w 761692"/>
                    <a:gd name="connsiteY318" fmla="*/ 109826 h 1016771"/>
                    <a:gd name="connsiteX319" fmla="*/ 437530 w 761692"/>
                    <a:gd name="connsiteY319" fmla="*/ 100969 h 1016771"/>
                    <a:gd name="connsiteX320" fmla="*/ 448158 w 761692"/>
                    <a:gd name="connsiteY320" fmla="*/ 99197 h 1016771"/>
                    <a:gd name="connsiteX321" fmla="*/ 460558 w 761692"/>
                    <a:gd name="connsiteY321" fmla="*/ 97426 h 1016771"/>
                    <a:gd name="connsiteX322" fmla="*/ 472958 w 761692"/>
                    <a:gd name="connsiteY322" fmla="*/ 93883 h 1016771"/>
                    <a:gd name="connsiteX323" fmla="*/ 492443 w 761692"/>
                    <a:gd name="connsiteY323" fmla="*/ 93883 h 1016771"/>
                    <a:gd name="connsiteX324" fmla="*/ 501300 w 761692"/>
                    <a:gd name="connsiteY324" fmla="*/ 83255 h 1016771"/>
                    <a:gd name="connsiteX325" fmla="*/ 517242 w 761692"/>
                    <a:gd name="connsiteY325" fmla="*/ 81484 h 1016771"/>
                    <a:gd name="connsiteX326" fmla="*/ 522556 w 761692"/>
                    <a:gd name="connsiteY326" fmla="*/ 81484 h 1016771"/>
                    <a:gd name="connsiteX327" fmla="*/ 522556 w 761692"/>
                    <a:gd name="connsiteY327" fmla="*/ 60227 h 1016771"/>
                    <a:gd name="connsiteX328" fmla="*/ 526099 w 761692"/>
                    <a:gd name="connsiteY328" fmla="*/ 54913 h 1016771"/>
                    <a:gd name="connsiteX329" fmla="*/ 529642 w 761692"/>
                    <a:gd name="connsiteY329" fmla="*/ 46056 h 1016771"/>
                    <a:gd name="connsiteX330" fmla="*/ 538499 w 761692"/>
                    <a:gd name="connsiteY330" fmla="*/ 40742 h 1016771"/>
                    <a:gd name="connsiteX331" fmla="*/ 540270 w 761692"/>
                    <a:gd name="connsiteY331" fmla="*/ 30114 h 1016771"/>
                    <a:gd name="connsiteX332" fmla="*/ 536727 w 761692"/>
                    <a:gd name="connsiteY332" fmla="*/ 19485 h 1016771"/>
                    <a:gd name="connsiteX333" fmla="*/ 543813 w 761692"/>
                    <a:gd name="connsiteY333" fmla="*/ 5314 h 1016771"/>
                    <a:gd name="connsiteX334" fmla="*/ 554441 w 761692"/>
                    <a:gd name="connsiteY334" fmla="*/ 0 h 1016771"/>
                    <a:gd name="connsiteX0" fmla="*/ 271021 w 761692"/>
                    <a:gd name="connsiteY0" fmla="*/ 912260 h 1016771"/>
                    <a:gd name="connsiteX1" fmla="*/ 307483 w 761692"/>
                    <a:gd name="connsiteY1" fmla="*/ 901613 h 1016771"/>
                    <a:gd name="connsiteX2" fmla="*/ 288734 w 761692"/>
                    <a:gd name="connsiteY2" fmla="*/ 903403 h 1016771"/>
                    <a:gd name="connsiteX3" fmla="*/ 271021 w 761692"/>
                    <a:gd name="connsiteY3" fmla="*/ 912260 h 1016771"/>
                    <a:gd name="connsiteX4" fmla="*/ 222919 w 761692"/>
                    <a:gd name="connsiteY4" fmla="*/ 879608 h 1016771"/>
                    <a:gd name="connsiteX5" fmla="*/ 243060 w 761692"/>
                    <a:gd name="connsiteY5" fmla="*/ 882965 h 1016771"/>
                    <a:gd name="connsiteX6" fmla="*/ 243990 w 761692"/>
                    <a:gd name="connsiteY6" fmla="*/ 883546 h 1016771"/>
                    <a:gd name="connsiteX7" fmla="*/ 224965 w 761692"/>
                    <a:gd name="connsiteY7" fmla="*/ 880375 h 1016771"/>
                    <a:gd name="connsiteX8" fmla="*/ 222919 w 761692"/>
                    <a:gd name="connsiteY8" fmla="*/ 879608 h 1016771"/>
                    <a:gd name="connsiteX9" fmla="*/ 159250 w 761692"/>
                    <a:gd name="connsiteY9" fmla="*/ 829179 h 1016771"/>
                    <a:gd name="connsiteX10" fmla="*/ 159989 w 761692"/>
                    <a:gd name="connsiteY10" fmla="*/ 830410 h 1016771"/>
                    <a:gd name="connsiteX11" fmla="*/ 151512 w 761692"/>
                    <a:gd name="connsiteY11" fmla="*/ 838886 h 1016771"/>
                    <a:gd name="connsiteX12" fmla="*/ 149817 w 761692"/>
                    <a:gd name="connsiteY12" fmla="*/ 840582 h 1016771"/>
                    <a:gd name="connsiteX13" fmla="*/ 148122 w 761692"/>
                    <a:gd name="connsiteY13" fmla="*/ 842277 h 1016771"/>
                    <a:gd name="connsiteX14" fmla="*/ 146426 w 761692"/>
                    <a:gd name="connsiteY14" fmla="*/ 843972 h 1016771"/>
                    <a:gd name="connsiteX15" fmla="*/ 141340 w 761692"/>
                    <a:gd name="connsiteY15" fmla="*/ 849058 h 1016771"/>
                    <a:gd name="connsiteX16" fmla="*/ 141340 w 761692"/>
                    <a:gd name="connsiteY16" fmla="*/ 850754 h 1016771"/>
                    <a:gd name="connsiteX17" fmla="*/ 139645 w 761692"/>
                    <a:gd name="connsiteY17" fmla="*/ 852449 h 1016771"/>
                    <a:gd name="connsiteX18" fmla="*/ 139645 w 761692"/>
                    <a:gd name="connsiteY18" fmla="*/ 860925 h 1016771"/>
                    <a:gd name="connsiteX19" fmla="*/ 148122 w 761692"/>
                    <a:gd name="connsiteY19" fmla="*/ 867707 h 1016771"/>
                    <a:gd name="connsiteX20" fmla="*/ 158294 w 761692"/>
                    <a:gd name="connsiteY20" fmla="*/ 879574 h 1016771"/>
                    <a:gd name="connsiteX21" fmla="*/ 175247 w 761692"/>
                    <a:gd name="connsiteY21" fmla="*/ 889746 h 1016771"/>
                    <a:gd name="connsiteX22" fmla="*/ 188810 w 761692"/>
                    <a:gd name="connsiteY22" fmla="*/ 893137 h 1016771"/>
                    <a:gd name="connsiteX23" fmla="*/ 195591 w 761692"/>
                    <a:gd name="connsiteY23" fmla="*/ 893137 h 1016771"/>
                    <a:gd name="connsiteX24" fmla="*/ 202372 w 761692"/>
                    <a:gd name="connsiteY24" fmla="*/ 886355 h 1016771"/>
                    <a:gd name="connsiteX25" fmla="*/ 200677 w 761692"/>
                    <a:gd name="connsiteY25" fmla="*/ 877879 h 1016771"/>
                    <a:gd name="connsiteX26" fmla="*/ 209154 w 761692"/>
                    <a:gd name="connsiteY26" fmla="*/ 874488 h 1016771"/>
                    <a:gd name="connsiteX27" fmla="*/ 210740 w 761692"/>
                    <a:gd name="connsiteY27" fmla="*/ 875083 h 1016771"/>
                    <a:gd name="connsiteX28" fmla="*/ 201937 w 761692"/>
                    <a:gd name="connsiteY28" fmla="*/ 878604 h 1016771"/>
                    <a:gd name="connsiteX29" fmla="*/ 203708 w 761692"/>
                    <a:gd name="connsiteY29" fmla="*/ 887461 h 1016771"/>
                    <a:gd name="connsiteX30" fmla="*/ 196623 w 761692"/>
                    <a:gd name="connsiteY30" fmla="*/ 894546 h 1016771"/>
                    <a:gd name="connsiteX31" fmla="*/ 189537 w 761692"/>
                    <a:gd name="connsiteY31" fmla="*/ 894546 h 1016771"/>
                    <a:gd name="connsiteX32" fmla="*/ 175366 w 761692"/>
                    <a:gd name="connsiteY32" fmla="*/ 891003 h 1016771"/>
                    <a:gd name="connsiteX33" fmla="*/ 157653 w 761692"/>
                    <a:gd name="connsiteY33" fmla="*/ 880375 h 1016771"/>
                    <a:gd name="connsiteX34" fmla="*/ 147024 w 761692"/>
                    <a:gd name="connsiteY34" fmla="*/ 867975 h 1016771"/>
                    <a:gd name="connsiteX35" fmla="*/ 138167 w 761692"/>
                    <a:gd name="connsiteY35" fmla="*/ 860890 h 1016771"/>
                    <a:gd name="connsiteX36" fmla="*/ 138167 w 761692"/>
                    <a:gd name="connsiteY36" fmla="*/ 852033 h 1016771"/>
                    <a:gd name="connsiteX37" fmla="*/ 139939 w 761692"/>
                    <a:gd name="connsiteY37" fmla="*/ 850262 h 1016771"/>
                    <a:gd name="connsiteX38" fmla="*/ 139939 w 761692"/>
                    <a:gd name="connsiteY38" fmla="*/ 848490 h 1016771"/>
                    <a:gd name="connsiteX39" fmla="*/ 145253 w 761692"/>
                    <a:gd name="connsiteY39" fmla="*/ 843176 h 1016771"/>
                    <a:gd name="connsiteX40" fmla="*/ 147024 w 761692"/>
                    <a:gd name="connsiteY40" fmla="*/ 841405 h 1016771"/>
                    <a:gd name="connsiteX41" fmla="*/ 148796 w 761692"/>
                    <a:gd name="connsiteY41" fmla="*/ 839633 h 1016771"/>
                    <a:gd name="connsiteX42" fmla="*/ 150567 w 761692"/>
                    <a:gd name="connsiteY42" fmla="*/ 837862 h 1016771"/>
                    <a:gd name="connsiteX43" fmla="*/ 159250 w 761692"/>
                    <a:gd name="connsiteY43" fmla="*/ 829179 h 1016771"/>
                    <a:gd name="connsiteX44" fmla="*/ 116476 w 761692"/>
                    <a:gd name="connsiteY44" fmla="*/ 741349 h 1016771"/>
                    <a:gd name="connsiteX45" fmla="*/ 117606 w 761692"/>
                    <a:gd name="connsiteY45" fmla="*/ 742253 h 1016771"/>
                    <a:gd name="connsiteX46" fmla="*/ 122692 w 761692"/>
                    <a:gd name="connsiteY46" fmla="*/ 759206 h 1016771"/>
                    <a:gd name="connsiteX47" fmla="*/ 126082 w 761692"/>
                    <a:gd name="connsiteY47" fmla="*/ 771073 h 1016771"/>
                    <a:gd name="connsiteX48" fmla="*/ 129473 w 761692"/>
                    <a:gd name="connsiteY48" fmla="*/ 782940 h 1016771"/>
                    <a:gd name="connsiteX49" fmla="*/ 132864 w 761692"/>
                    <a:gd name="connsiteY49" fmla="*/ 793112 h 1016771"/>
                    <a:gd name="connsiteX50" fmla="*/ 136254 w 761692"/>
                    <a:gd name="connsiteY50" fmla="*/ 810066 h 1016771"/>
                    <a:gd name="connsiteX51" fmla="*/ 139058 w 761692"/>
                    <a:gd name="connsiteY51" fmla="*/ 818476 h 1016771"/>
                    <a:gd name="connsiteX52" fmla="*/ 138167 w 761692"/>
                    <a:gd name="connsiteY52" fmla="*/ 818377 h 1016771"/>
                    <a:gd name="connsiteX53" fmla="*/ 134625 w 761692"/>
                    <a:gd name="connsiteY53" fmla="*/ 807749 h 1016771"/>
                    <a:gd name="connsiteX54" fmla="*/ 131082 w 761692"/>
                    <a:gd name="connsiteY54" fmla="*/ 790035 h 1016771"/>
                    <a:gd name="connsiteX55" fmla="*/ 127539 w 761692"/>
                    <a:gd name="connsiteY55" fmla="*/ 779407 h 1016771"/>
                    <a:gd name="connsiteX56" fmla="*/ 123996 w 761692"/>
                    <a:gd name="connsiteY56" fmla="*/ 767007 h 1016771"/>
                    <a:gd name="connsiteX57" fmla="*/ 120454 w 761692"/>
                    <a:gd name="connsiteY57" fmla="*/ 754607 h 1016771"/>
                    <a:gd name="connsiteX58" fmla="*/ 116476 w 761692"/>
                    <a:gd name="connsiteY58" fmla="*/ 741349 h 1016771"/>
                    <a:gd name="connsiteX59" fmla="*/ 554441 w 761692"/>
                    <a:gd name="connsiteY59" fmla="*/ 0 h 1016771"/>
                    <a:gd name="connsiteX60" fmla="*/ 570383 w 761692"/>
                    <a:gd name="connsiteY60" fmla="*/ 3543 h 1016771"/>
                    <a:gd name="connsiteX61" fmla="*/ 577469 w 761692"/>
                    <a:gd name="connsiteY61" fmla="*/ 8857 h 1016771"/>
                    <a:gd name="connsiteX62" fmla="*/ 582783 w 761692"/>
                    <a:gd name="connsiteY62" fmla="*/ 17714 h 1016771"/>
                    <a:gd name="connsiteX63" fmla="*/ 582783 w 761692"/>
                    <a:gd name="connsiteY63" fmla="*/ 24799 h 1016771"/>
                    <a:gd name="connsiteX64" fmla="*/ 588097 w 761692"/>
                    <a:gd name="connsiteY64" fmla="*/ 33656 h 1016771"/>
                    <a:gd name="connsiteX65" fmla="*/ 598725 w 761692"/>
                    <a:gd name="connsiteY65" fmla="*/ 31885 h 1016771"/>
                    <a:gd name="connsiteX66" fmla="*/ 612896 w 761692"/>
                    <a:gd name="connsiteY66" fmla="*/ 37199 h 1016771"/>
                    <a:gd name="connsiteX67" fmla="*/ 618211 w 761692"/>
                    <a:gd name="connsiteY67" fmla="*/ 46056 h 1016771"/>
                    <a:gd name="connsiteX68" fmla="*/ 619982 w 761692"/>
                    <a:gd name="connsiteY68" fmla="*/ 54913 h 1016771"/>
                    <a:gd name="connsiteX69" fmla="*/ 618211 w 761692"/>
                    <a:gd name="connsiteY69" fmla="*/ 74398 h 1016771"/>
                    <a:gd name="connsiteX70" fmla="*/ 616439 w 761692"/>
                    <a:gd name="connsiteY70" fmla="*/ 85026 h 1016771"/>
                    <a:gd name="connsiteX71" fmla="*/ 621753 w 761692"/>
                    <a:gd name="connsiteY71" fmla="*/ 97426 h 1016771"/>
                    <a:gd name="connsiteX72" fmla="*/ 637696 w 761692"/>
                    <a:gd name="connsiteY72" fmla="*/ 113368 h 1016771"/>
                    <a:gd name="connsiteX73" fmla="*/ 644781 w 761692"/>
                    <a:gd name="connsiteY73" fmla="*/ 120454 h 1016771"/>
                    <a:gd name="connsiteX74" fmla="*/ 650095 w 761692"/>
                    <a:gd name="connsiteY74" fmla="*/ 136396 h 1016771"/>
                    <a:gd name="connsiteX75" fmla="*/ 655409 w 761692"/>
                    <a:gd name="connsiteY75" fmla="*/ 155881 h 1016771"/>
                    <a:gd name="connsiteX76" fmla="*/ 662495 w 761692"/>
                    <a:gd name="connsiteY76" fmla="*/ 171824 h 1016771"/>
                    <a:gd name="connsiteX77" fmla="*/ 660724 w 761692"/>
                    <a:gd name="connsiteY77" fmla="*/ 185995 h 1016771"/>
                    <a:gd name="connsiteX78" fmla="*/ 635924 w 761692"/>
                    <a:gd name="connsiteY78" fmla="*/ 194852 h 1016771"/>
                    <a:gd name="connsiteX79" fmla="*/ 619982 w 761692"/>
                    <a:gd name="connsiteY79" fmla="*/ 207251 h 1016771"/>
                    <a:gd name="connsiteX80" fmla="*/ 614668 w 761692"/>
                    <a:gd name="connsiteY80" fmla="*/ 223194 h 1016771"/>
                    <a:gd name="connsiteX81" fmla="*/ 618211 w 761692"/>
                    <a:gd name="connsiteY81" fmla="*/ 242679 h 1016771"/>
                    <a:gd name="connsiteX82" fmla="*/ 612896 w 761692"/>
                    <a:gd name="connsiteY82" fmla="*/ 256850 h 1016771"/>
                    <a:gd name="connsiteX83" fmla="*/ 625296 w 761692"/>
                    <a:gd name="connsiteY83" fmla="*/ 267478 h 1016771"/>
                    <a:gd name="connsiteX84" fmla="*/ 641238 w 761692"/>
                    <a:gd name="connsiteY84" fmla="*/ 269250 h 1016771"/>
                    <a:gd name="connsiteX85" fmla="*/ 658952 w 761692"/>
                    <a:gd name="connsiteY85" fmla="*/ 286963 h 1016771"/>
                    <a:gd name="connsiteX86" fmla="*/ 653638 w 761692"/>
                    <a:gd name="connsiteY86" fmla="*/ 309991 h 1016771"/>
                    <a:gd name="connsiteX87" fmla="*/ 653638 w 761692"/>
                    <a:gd name="connsiteY87" fmla="*/ 329476 h 1016771"/>
                    <a:gd name="connsiteX88" fmla="*/ 643010 w 761692"/>
                    <a:gd name="connsiteY88" fmla="*/ 338333 h 1016771"/>
                    <a:gd name="connsiteX89" fmla="*/ 632382 w 761692"/>
                    <a:gd name="connsiteY89" fmla="*/ 338333 h 1016771"/>
                    <a:gd name="connsiteX90" fmla="*/ 618211 w 761692"/>
                    <a:gd name="connsiteY90" fmla="*/ 357819 h 1016771"/>
                    <a:gd name="connsiteX91" fmla="*/ 609354 w 761692"/>
                    <a:gd name="connsiteY91" fmla="*/ 361361 h 1016771"/>
                    <a:gd name="connsiteX92" fmla="*/ 596954 w 761692"/>
                    <a:gd name="connsiteY92" fmla="*/ 363133 h 1016771"/>
                    <a:gd name="connsiteX93" fmla="*/ 581012 w 761692"/>
                    <a:gd name="connsiteY93" fmla="*/ 379075 h 1016771"/>
                    <a:gd name="connsiteX94" fmla="*/ 589868 w 761692"/>
                    <a:gd name="connsiteY94" fmla="*/ 393246 h 1016771"/>
                    <a:gd name="connsiteX95" fmla="*/ 586326 w 761692"/>
                    <a:gd name="connsiteY95" fmla="*/ 409189 h 1016771"/>
                    <a:gd name="connsiteX96" fmla="*/ 570383 w 761692"/>
                    <a:gd name="connsiteY96" fmla="*/ 398560 h 1016771"/>
                    <a:gd name="connsiteX97" fmla="*/ 550898 w 761692"/>
                    <a:gd name="connsiteY97" fmla="*/ 405646 h 1016771"/>
                    <a:gd name="connsiteX98" fmla="*/ 531413 w 761692"/>
                    <a:gd name="connsiteY98" fmla="*/ 425131 h 1016771"/>
                    <a:gd name="connsiteX99" fmla="*/ 543813 w 761692"/>
                    <a:gd name="connsiteY99" fmla="*/ 444616 h 1016771"/>
                    <a:gd name="connsiteX100" fmla="*/ 557984 w 761692"/>
                    <a:gd name="connsiteY100" fmla="*/ 462330 h 1016771"/>
                    <a:gd name="connsiteX101" fmla="*/ 570383 w 761692"/>
                    <a:gd name="connsiteY101" fmla="*/ 478272 h 1016771"/>
                    <a:gd name="connsiteX102" fmla="*/ 579240 w 761692"/>
                    <a:gd name="connsiteY102" fmla="*/ 485358 h 1016771"/>
                    <a:gd name="connsiteX103" fmla="*/ 602268 w 761692"/>
                    <a:gd name="connsiteY103" fmla="*/ 483586 h 1016771"/>
                    <a:gd name="connsiteX104" fmla="*/ 623525 w 761692"/>
                    <a:gd name="connsiteY104" fmla="*/ 474730 h 1016771"/>
                    <a:gd name="connsiteX105" fmla="*/ 639467 w 761692"/>
                    <a:gd name="connsiteY105" fmla="*/ 464101 h 1016771"/>
                    <a:gd name="connsiteX106" fmla="*/ 662495 w 761692"/>
                    <a:gd name="connsiteY106" fmla="*/ 464101 h 1016771"/>
                    <a:gd name="connsiteX107" fmla="*/ 673123 w 761692"/>
                    <a:gd name="connsiteY107" fmla="*/ 464101 h 1016771"/>
                    <a:gd name="connsiteX108" fmla="*/ 681980 w 761692"/>
                    <a:gd name="connsiteY108" fmla="*/ 467644 h 1016771"/>
                    <a:gd name="connsiteX109" fmla="*/ 703237 w 761692"/>
                    <a:gd name="connsiteY109" fmla="*/ 471187 h 1016771"/>
                    <a:gd name="connsiteX110" fmla="*/ 708551 w 761692"/>
                    <a:gd name="connsiteY110" fmla="*/ 474730 h 1016771"/>
                    <a:gd name="connsiteX111" fmla="*/ 722722 w 761692"/>
                    <a:gd name="connsiteY111" fmla="*/ 501300 h 1016771"/>
                    <a:gd name="connsiteX112" fmla="*/ 724493 w 761692"/>
                    <a:gd name="connsiteY112" fmla="*/ 522557 h 1016771"/>
                    <a:gd name="connsiteX113" fmla="*/ 722722 w 761692"/>
                    <a:gd name="connsiteY113" fmla="*/ 540271 h 1016771"/>
                    <a:gd name="connsiteX114" fmla="*/ 735121 w 761692"/>
                    <a:gd name="connsiteY114" fmla="*/ 552670 h 1016771"/>
                    <a:gd name="connsiteX115" fmla="*/ 735121 w 761692"/>
                    <a:gd name="connsiteY115" fmla="*/ 570384 h 1016771"/>
                    <a:gd name="connsiteX116" fmla="*/ 751064 w 761692"/>
                    <a:gd name="connsiteY116" fmla="*/ 581012 h 1016771"/>
                    <a:gd name="connsiteX117" fmla="*/ 761692 w 761692"/>
                    <a:gd name="connsiteY117" fmla="*/ 604040 h 1016771"/>
                    <a:gd name="connsiteX118" fmla="*/ 747521 w 761692"/>
                    <a:gd name="connsiteY118" fmla="*/ 616440 h 1016771"/>
                    <a:gd name="connsiteX119" fmla="*/ 728036 w 761692"/>
                    <a:gd name="connsiteY119" fmla="*/ 627068 h 1016771"/>
                    <a:gd name="connsiteX120" fmla="*/ 726264 w 761692"/>
                    <a:gd name="connsiteY120" fmla="*/ 650096 h 1016771"/>
                    <a:gd name="connsiteX121" fmla="*/ 728036 w 761692"/>
                    <a:gd name="connsiteY121" fmla="*/ 673124 h 1016771"/>
                    <a:gd name="connsiteX122" fmla="*/ 742207 w 761692"/>
                    <a:gd name="connsiteY122" fmla="*/ 689066 h 1016771"/>
                    <a:gd name="connsiteX123" fmla="*/ 742207 w 761692"/>
                    <a:gd name="connsiteY123" fmla="*/ 712094 h 1016771"/>
                    <a:gd name="connsiteX124" fmla="*/ 740435 w 761692"/>
                    <a:gd name="connsiteY124" fmla="*/ 735122 h 1016771"/>
                    <a:gd name="connsiteX125" fmla="*/ 742207 w 761692"/>
                    <a:gd name="connsiteY125" fmla="*/ 751065 h 1016771"/>
                    <a:gd name="connsiteX126" fmla="*/ 747521 w 761692"/>
                    <a:gd name="connsiteY126" fmla="*/ 768778 h 1016771"/>
                    <a:gd name="connsiteX127" fmla="*/ 759921 w 761692"/>
                    <a:gd name="connsiteY127" fmla="*/ 777635 h 1016771"/>
                    <a:gd name="connsiteX128" fmla="*/ 758149 w 761692"/>
                    <a:gd name="connsiteY128" fmla="*/ 802434 h 1016771"/>
                    <a:gd name="connsiteX129" fmla="*/ 752835 w 761692"/>
                    <a:gd name="connsiteY129" fmla="*/ 814834 h 1016771"/>
                    <a:gd name="connsiteX130" fmla="*/ 743978 w 761692"/>
                    <a:gd name="connsiteY130" fmla="*/ 827234 h 1016771"/>
                    <a:gd name="connsiteX131" fmla="*/ 743978 w 761692"/>
                    <a:gd name="connsiteY131" fmla="*/ 837862 h 1016771"/>
                    <a:gd name="connsiteX132" fmla="*/ 747521 w 761692"/>
                    <a:gd name="connsiteY132" fmla="*/ 853804 h 1016771"/>
                    <a:gd name="connsiteX133" fmla="*/ 733350 w 761692"/>
                    <a:gd name="connsiteY133" fmla="*/ 867975 h 1016771"/>
                    <a:gd name="connsiteX134" fmla="*/ 724493 w 761692"/>
                    <a:gd name="connsiteY134" fmla="*/ 880375 h 1016771"/>
                    <a:gd name="connsiteX135" fmla="*/ 722722 w 761692"/>
                    <a:gd name="connsiteY135" fmla="*/ 899860 h 1016771"/>
                    <a:gd name="connsiteX136" fmla="*/ 722722 w 761692"/>
                    <a:gd name="connsiteY136" fmla="*/ 919345 h 1016771"/>
                    <a:gd name="connsiteX137" fmla="*/ 715636 w 761692"/>
                    <a:gd name="connsiteY137" fmla="*/ 940602 h 1016771"/>
                    <a:gd name="connsiteX138" fmla="*/ 708551 w 761692"/>
                    <a:gd name="connsiteY138" fmla="*/ 954773 h 1016771"/>
                    <a:gd name="connsiteX139" fmla="*/ 699694 w 761692"/>
                    <a:gd name="connsiteY139" fmla="*/ 965401 h 1016771"/>
                    <a:gd name="connsiteX140" fmla="*/ 692608 w 761692"/>
                    <a:gd name="connsiteY140" fmla="*/ 984886 h 1016771"/>
                    <a:gd name="connsiteX141" fmla="*/ 683751 w 761692"/>
                    <a:gd name="connsiteY141" fmla="*/ 997286 h 1016771"/>
                    <a:gd name="connsiteX142" fmla="*/ 673123 w 761692"/>
                    <a:gd name="connsiteY142" fmla="*/ 1002600 h 1016771"/>
                    <a:gd name="connsiteX143" fmla="*/ 662495 w 761692"/>
                    <a:gd name="connsiteY143" fmla="*/ 1013228 h 1016771"/>
                    <a:gd name="connsiteX144" fmla="*/ 644781 w 761692"/>
                    <a:gd name="connsiteY144" fmla="*/ 1016771 h 1016771"/>
                    <a:gd name="connsiteX145" fmla="*/ 635924 w 761692"/>
                    <a:gd name="connsiteY145" fmla="*/ 1004372 h 1016771"/>
                    <a:gd name="connsiteX146" fmla="*/ 623525 w 761692"/>
                    <a:gd name="connsiteY146" fmla="*/ 997286 h 1016771"/>
                    <a:gd name="connsiteX147" fmla="*/ 614668 w 761692"/>
                    <a:gd name="connsiteY147" fmla="*/ 986658 h 1016771"/>
                    <a:gd name="connsiteX148" fmla="*/ 593411 w 761692"/>
                    <a:gd name="connsiteY148" fmla="*/ 970715 h 1016771"/>
                    <a:gd name="connsiteX149" fmla="*/ 582783 w 761692"/>
                    <a:gd name="connsiteY149" fmla="*/ 965401 h 1016771"/>
                    <a:gd name="connsiteX150" fmla="*/ 531413 w 761692"/>
                    <a:gd name="connsiteY150" fmla="*/ 965401 h 1016771"/>
                    <a:gd name="connsiteX151" fmla="*/ 511928 w 761692"/>
                    <a:gd name="connsiteY151" fmla="*/ 965401 h 1016771"/>
                    <a:gd name="connsiteX152" fmla="*/ 492443 w 761692"/>
                    <a:gd name="connsiteY152" fmla="*/ 963630 h 1016771"/>
                    <a:gd name="connsiteX153" fmla="*/ 483586 w 761692"/>
                    <a:gd name="connsiteY153" fmla="*/ 958316 h 1016771"/>
                    <a:gd name="connsiteX154" fmla="*/ 469415 w 761692"/>
                    <a:gd name="connsiteY154" fmla="*/ 954773 h 1016771"/>
                    <a:gd name="connsiteX155" fmla="*/ 460558 w 761692"/>
                    <a:gd name="connsiteY155" fmla="*/ 942373 h 1016771"/>
                    <a:gd name="connsiteX156" fmla="*/ 446387 w 761692"/>
                    <a:gd name="connsiteY156" fmla="*/ 935288 h 1016771"/>
                    <a:gd name="connsiteX157" fmla="*/ 428673 w 761692"/>
                    <a:gd name="connsiteY157" fmla="*/ 928202 h 1016771"/>
                    <a:gd name="connsiteX158" fmla="*/ 418045 w 761692"/>
                    <a:gd name="connsiteY158" fmla="*/ 917574 h 1016771"/>
                    <a:gd name="connsiteX159" fmla="*/ 421588 w 761692"/>
                    <a:gd name="connsiteY159" fmla="*/ 903403 h 1016771"/>
                    <a:gd name="connsiteX160" fmla="*/ 418045 w 761692"/>
                    <a:gd name="connsiteY160" fmla="*/ 898089 h 1016771"/>
                    <a:gd name="connsiteX161" fmla="*/ 396788 w 761692"/>
                    <a:gd name="connsiteY161" fmla="*/ 898089 h 1016771"/>
                    <a:gd name="connsiteX162" fmla="*/ 382617 w 761692"/>
                    <a:gd name="connsiteY162" fmla="*/ 896318 h 1016771"/>
                    <a:gd name="connsiteX163" fmla="*/ 380846 w 761692"/>
                    <a:gd name="connsiteY163" fmla="*/ 906946 h 1016771"/>
                    <a:gd name="connsiteX164" fmla="*/ 373601 w 761692"/>
                    <a:gd name="connsiteY164" fmla="*/ 894832 h 1016771"/>
                    <a:gd name="connsiteX165" fmla="*/ 387164 w 761692"/>
                    <a:gd name="connsiteY165" fmla="*/ 896527 h 1016771"/>
                    <a:gd name="connsiteX166" fmla="*/ 383773 w 761692"/>
                    <a:gd name="connsiteY166" fmla="*/ 886355 h 1016771"/>
                    <a:gd name="connsiteX167" fmla="*/ 387164 w 761692"/>
                    <a:gd name="connsiteY167" fmla="*/ 876183 h 1016771"/>
                    <a:gd name="connsiteX168" fmla="*/ 388859 w 761692"/>
                    <a:gd name="connsiteY168" fmla="*/ 867707 h 1016771"/>
                    <a:gd name="connsiteX169" fmla="*/ 380382 w 761692"/>
                    <a:gd name="connsiteY169" fmla="*/ 859230 h 1016771"/>
                    <a:gd name="connsiteX170" fmla="*/ 373601 w 761692"/>
                    <a:gd name="connsiteY170" fmla="*/ 849058 h 1016771"/>
                    <a:gd name="connsiteX171" fmla="*/ 380382 w 761692"/>
                    <a:gd name="connsiteY171" fmla="*/ 838886 h 1016771"/>
                    <a:gd name="connsiteX172" fmla="*/ 383773 w 761692"/>
                    <a:gd name="connsiteY172" fmla="*/ 833800 h 1016771"/>
                    <a:gd name="connsiteX173" fmla="*/ 388859 w 761692"/>
                    <a:gd name="connsiteY173" fmla="*/ 825324 h 1016771"/>
                    <a:gd name="connsiteX174" fmla="*/ 387164 w 761692"/>
                    <a:gd name="connsiteY174" fmla="*/ 810066 h 1016771"/>
                    <a:gd name="connsiteX175" fmla="*/ 387164 w 761692"/>
                    <a:gd name="connsiteY175" fmla="*/ 796503 h 1016771"/>
                    <a:gd name="connsiteX176" fmla="*/ 378687 w 761692"/>
                    <a:gd name="connsiteY176" fmla="*/ 789722 h 1016771"/>
                    <a:gd name="connsiteX177" fmla="*/ 366820 w 761692"/>
                    <a:gd name="connsiteY177" fmla="*/ 782940 h 1016771"/>
                    <a:gd name="connsiteX178" fmla="*/ 356648 w 761692"/>
                    <a:gd name="connsiteY178" fmla="*/ 781245 h 1016771"/>
                    <a:gd name="connsiteX179" fmla="*/ 349866 w 761692"/>
                    <a:gd name="connsiteY179" fmla="*/ 771073 h 1016771"/>
                    <a:gd name="connsiteX180" fmla="*/ 349866 w 761692"/>
                    <a:gd name="connsiteY180" fmla="*/ 752425 h 1016771"/>
                    <a:gd name="connsiteX181" fmla="*/ 353257 w 761692"/>
                    <a:gd name="connsiteY181" fmla="*/ 743948 h 1016771"/>
                    <a:gd name="connsiteX182" fmla="*/ 354952 w 761692"/>
                    <a:gd name="connsiteY182" fmla="*/ 730385 h 1016771"/>
                    <a:gd name="connsiteX183" fmla="*/ 353257 w 761692"/>
                    <a:gd name="connsiteY183" fmla="*/ 713432 h 1016771"/>
                    <a:gd name="connsiteX184" fmla="*/ 346476 w 761692"/>
                    <a:gd name="connsiteY184" fmla="*/ 701565 h 1016771"/>
                    <a:gd name="connsiteX185" fmla="*/ 332913 w 761692"/>
                    <a:gd name="connsiteY185" fmla="*/ 689697 h 1016771"/>
                    <a:gd name="connsiteX186" fmla="*/ 324436 w 761692"/>
                    <a:gd name="connsiteY186" fmla="*/ 681221 h 1016771"/>
                    <a:gd name="connsiteX187" fmla="*/ 314264 w 761692"/>
                    <a:gd name="connsiteY187" fmla="*/ 676135 h 1016771"/>
                    <a:gd name="connsiteX188" fmla="*/ 293920 w 761692"/>
                    <a:gd name="connsiteY188" fmla="*/ 669354 h 1016771"/>
                    <a:gd name="connsiteX189" fmla="*/ 282053 w 761692"/>
                    <a:gd name="connsiteY189" fmla="*/ 667658 h 1016771"/>
                    <a:gd name="connsiteX190" fmla="*/ 266795 w 761692"/>
                    <a:gd name="connsiteY190" fmla="*/ 672744 h 1016771"/>
                    <a:gd name="connsiteX191" fmla="*/ 265100 w 761692"/>
                    <a:gd name="connsiteY191" fmla="*/ 672744 h 1016771"/>
                    <a:gd name="connsiteX192" fmla="*/ 263404 w 761692"/>
                    <a:gd name="connsiteY192" fmla="*/ 671049 h 1016771"/>
                    <a:gd name="connsiteX193" fmla="*/ 260014 w 761692"/>
                    <a:gd name="connsiteY193" fmla="*/ 671049 h 1016771"/>
                    <a:gd name="connsiteX194" fmla="*/ 258318 w 761692"/>
                    <a:gd name="connsiteY194" fmla="*/ 671049 h 1016771"/>
                    <a:gd name="connsiteX195" fmla="*/ 253232 w 761692"/>
                    <a:gd name="connsiteY195" fmla="*/ 671049 h 1016771"/>
                    <a:gd name="connsiteX196" fmla="*/ 248146 w 761692"/>
                    <a:gd name="connsiteY196" fmla="*/ 672744 h 1016771"/>
                    <a:gd name="connsiteX197" fmla="*/ 248146 w 761692"/>
                    <a:gd name="connsiteY197" fmla="*/ 674440 h 1016771"/>
                    <a:gd name="connsiteX198" fmla="*/ 246451 w 761692"/>
                    <a:gd name="connsiteY198" fmla="*/ 674440 h 1016771"/>
                    <a:gd name="connsiteX199" fmla="*/ 236279 w 761692"/>
                    <a:gd name="connsiteY199" fmla="*/ 679526 h 1016771"/>
                    <a:gd name="connsiteX200" fmla="*/ 226107 w 761692"/>
                    <a:gd name="connsiteY200" fmla="*/ 684612 h 1016771"/>
                    <a:gd name="connsiteX201" fmla="*/ 217630 w 761692"/>
                    <a:gd name="connsiteY201" fmla="*/ 684612 h 1016771"/>
                    <a:gd name="connsiteX202" fmla="*/ 207458 w 761692"/>
                    <a:gd name="connsiteY202" fmla="*/ 693088 h 1016771"/>
                    <a:gd name="connsiteX203" fmla="*/ 198982 w 761692"/>
                    <a:gd name="connsiteY203" fmla="*/ 694783 h 1016771"/>
                    <a:gd name="connsiteX204" fmla="*/ 192200 w 761692"/>
                    <a:gd name="connsiteY204" fmla="*/ 699869 h 1016771"/>
                    <a:gd name="connsiteX205" fmla="*/ 178638 w 761692"/>
                    <a:gd name="connsiteY205" fmla="*/ 706651 h 1016771"/>
                    <a:gd name="connsiteX206" fmla="*/ 163380 w 761692"/>
                    <a:gd name="connsiteY206" fmla="*/ 710041 h 1016771"/>
                    <a:gd name="connsiteX207" fmla="*/ 141340 w 761692"/>
                    <a:gd name="connsiteY207" fmla="*/ 710041 h 1016771"/>
                    <a:gd name="connsiteX208" fmla="*/ 134559 w 761692"/>
                    <a:gd name="connsiteY208" fmla="*/ 716823 h 1016771"/>
                    <a:gd name="connsiteX209" fmla="*/ 127778 w 761692"/>
                    <a:gd name="connsiteY209" fmla="*/ 718518 h 1016771"/>
                    <a:gd name="connsiteX210" fmla="*/ 120996 w 761692"/>
                    <a:gd name="connsiteY210" fmla="*/ 725299 h 1016771"/>
                    <a:gd name="connsiteX211" fmla="*/ 111172 w 761692"/>
                    <a:gd name="connsiteY211" fmla="*/ 733720 h 1016771"/>
                    <a:gd name="connsiteX212" fmla="*/ 106283 w 761692"/>
                    <a:gd name="connsiteY212" fmla="*/ 729808 h 1016771"/>
                    <a:gd name="connsiteX213" fmla="*/ 92112 w 761692"/>
                    <a:gd name="connsiteY213" fmla="*/ 724494 h 1016771"/>
                    <a:gd name="connsiteX214" fmla="*/ 77941 w 761692"/>
                    <a:gd name="connsiteY214" fmla="*/ 726265 h 1016771"/>
                    <a:gd name="connsiteX215" fmla="*/ 70855 w 761692"/>
                    <a:gd name="connsiteY215" fmla="*/ 719180 h 1016771"/>
                    <a:gd name="connsiteX216" fmla="*/ 70855 w 761692"/>
                    <a:gd name="connsiteY216" fmla="*/ 699695 h 1016771"/>
                    <a:gd name="connsiteX217" fmla="*/ 81483 w 761692"/>
                    <a:gd name="connsiteY217" fmla="*/ 685524 h 1016771"/>
                    <a:gd name="connsiteX218" fmla="*/ 85026 w 761692"/>
                    <a:gd name="connsiteY218" fmla="*/ 673124 h 1016771"/>
                    <a:gd name="connsiteX219" fmla="*/ 86797 w 761692"/>
                    <a:gd name="connsiteY219" fmla="*/ 660724 h 1016771"/>
                    <a:gd name="connsiteX220" fmla="*/ 97426 w 761692"/>
                    <a:gd name="connsiteY220" fmla="*/ 650096 h 1016771"/>
                    <a:gd name="connsiteX221" fmla="*/ 102740 w 761692"/>
                    <a:gd name="connsiteY221" fmla="*/ 635925 h 1016771"/>
                    <a:gd name="connsiteX222" fmla="*/ 113368 w 761692"/>
                    <a:gd name="connsiteY222" fmla="*/ 625297 h 1016771"/>
                    <a:gd name="connsiteX223" fmla="*/ 115139 w 761692"/>
                    <a:gd name="connsiteY223" fmla="*/ 612897 h 1016771"/>
                    <a:gd name="connsiteX224" fmla="*/ 127539 w 761692"/>
                    <a:gd name="connsiteY224" fmla="*/ 609354 h 1016771"/>
                    <a:gd name="connsiteX225" fmla="*/ 136396 w 761692"/>
                    <a:gd name="connsiteY225" fmla="*/ 604040 h 1016771"/>
                    <a:gd name="connsiteX226" fmla="*/ 132853 w 761692"/>
                    <a:gd name="connsiteY226" fmla="*/ 593412 h 1016771"/>
                    <a:gd name="connsiteX227" fmla="*/ 134625 w 761692"/>
                    <a:gd name="connsiteY227" fmla="*/ 584555 h 1016771"/>
                    <a:gd name="connsiteX228" fmla="*/ 131082 w 761692"/>
                    <a:gd name="connsiteY228" fmla="*/ 575698 h 1016771"/>
                    <a:gd name="connsiteX229" fmla="*/ 120454 w 761692"/>
                    <a:gd name="connsiteY229" fmla="*/ 568613 h 1016771"/>
                    <a:gd name="connsiteX230" fmla="*/ 125768 w 761692"/>
                    <a:gd name="connsiteY230" fmla="*/ 552670 h 1016771"/>
                    <a:gd name="connsiteX231" fmla="*/ 118682 w 761692"/>
                    <a:gd name="connsiteY231" fmla="*/ 543813 h 1016771"/>
                    <a:gd name="connsiteX232" fmla="*/ 90340 w 761692"/>
                    <a:gd name="connsiteY232" fmla="*/ 543813 h 1016771"/>
                    <a:gd name="connsiteX233" fmla="*/ 86797 w 761692"/>
                    <a:gd name="connsiteY233" fmla="*/ 542042 h 1016771"/>
                    <a:gd name="connsiteX234" fmla="*/ 83255 w 761692"/>
                    <a:gd name="connsiteY234" fmla="*/ 542042 h 1016771"/>
                    <a:gd name="connsiteX235" fmla="*/ 81483 w 761692"/>
                    <a:gd name="connsiteY235" fmla="*/ 540271 h 1016771"/>
                    <a:gd name="connsiteX236" fmla="*/ 81483 w 761692"/>
                    <a:gd name="connsiteY236" fmla="*/ 536728 h 1016771"/>
                    <a:gd name="connsiteX237" fmla="*/ 79712 w 761692"/>
                    <a:gd name="connsiteY237" fmla="*/ 531414 h 1016771"/>
                    <a:gd name="connsiteX238" fmla="*/ 77941 w 761692"/>
                    <a:gd name="connsiteY238" fmla="*/ 529642 h 1016771"/>
                    <a:gd name="connsiteX239" fmla="*/ 70855 w 761692"/>
                    <a:gd name="connsiteY239" fmla="*/ 527871 h 1016771"/>
                    <a:gd name="connsiteX240" fmla="*/ 60227 w 761692"/>
                    <a:gd name="connsiteY240" fmla="*/ 536728 h 1016771"/>
                    <a:gd name="connsiteX241" fmla="*/ 47827 w 761692"/>
                    <a:gd name="connsiteY241" fmla="*/ 526100 h 1016771"/>
                    <a:gd name="connsiteX242" fmla="*/ 42513 w 761692"/>
                    <a:gd name="connsiteY242" fmla="*/ 515471 h 1016771"/>
                    <a:gd name="connsiteX243" fmla="*/ 33656 w 761692"/>
                    <a:gd name="connsiteY243" fmla="*/ 506614 h 1016771"/>
                    <a:gd name="connsiteX244" fmla="*/ 31885 w 761692"/>
                    <a:gd name="connsiteY244" fmla="*/ 490672 h 1016771"/>
                    <a:gd name="connsiteX245" fmla="*/ 26571 w 761692"/>
                    <a:gd name="connsiteY245" fmla="*/ 476501 h 1016771"/>
                    <a:gd name="connsiteX246" fmla="*/ 24799 w 761692"/>
                    <a:gd name="connsiteY246" fmla="*/ 471187 h 1016771"/>
                    <a:gd name="connsiteX247" fmla="*/ 12400 w 761692"/>
                    <a:gd name="connsiteY247" fmla="*/ 472958 h 1016771"/>
                    <a:gd name="connsiteX248" fmla="*/ 7086 w 761692"/>
                    <a:gd name="connsiteY248" fmla="*/ 464101 h 1016771"/>
                    <a:gd name="connsiteX249" fmla="*/ 8857 w 761692"/>
                    <a:gd name="connsiteY249" fmla="*/ 446388 h 1016771"/>
                    <a:gd name="connsiteX250" fmla="*/ 3543 w 761692"/>
                    <a:gd name="connsiteY250" fmla="*/ 435759 h 1016771"/>
                    <a:gd name="connsiteX251" fmla="*/ 5314 w 761692"/>
                    <a:gd name="connsiteY251" fmla="*/ 412731 h 1016771"/>
                    <a:gd name="connsiteX252" fmla="*/ 0 w 761692"/>
                    <a:gd name="connsiteY252" fmla="*/ 396789 h 1016771"/>
                    <a:gd name="connsiteX253" fmla="*/ 3543 w 761692"/>
                    <a:gd name="connsiteY253" fmla="*/ 384389 h 1016771"/>
                    <a:gd name="connsiteX254" fmla="*/ 14171 w 761692"/>
                    <a:gd name="connsiteY254" fmla="*/ 380846 h 1016771"/>
                    <a:gd name="connsiteX255" fmla="*/ 24799 w 761692"/>
                    <a:gd name="connsiteY255" fmla="*/ 364904 h 1016771"/>
                    <a:gd name="connsiteX256" fmla="*/ 30113 w 761692"/>
                    <a:gd name="connsiteY256" fmla="*/ 350733 h 1016771"/>
                    <a:gd name="connsiteX257" fmla="*/ 35428 w 761692"/>
                    <a:gd name="connsiteY257" fmla="*/ 341876 h 1016771"/>
                    <a:gd name="connsiteX258" fmla="*/ 42513 w 761692"/>
                    <a:gd name="connsiteY258" fmla="*/ 327705 h 1016771"/>
                    <a:gd name="connsiteX259" fmla="*/ 42513 w 761692"/>
                    <a:gd name="connsiteY259" fmla="*/ 315305 h 1016771"/>
                    <a:gd name="connsiteX260" fmla="*/ 56684 w 761692"/>
                    <a:gd name="connsiteY260" fmla="*/ 309991 h 1016771"/>
                    <a:gd name="connsiteX261" fmla="*/ 60227 w 761692"/>
                    <a:gd name="connsiteY261" fmla="*/ 309991 h 1016771"/>
                    <a:gd name="connsiteX262" fmla="*/ 61998 w 761692"/>
                    <a:gd name="connsiteY262" fmla="*/ 311763 h 1016771"/>
                    <a:gd name="connsiteX263" fmla="*/ 67312 w 761692"/>
                    <a:gd name="connsiteY263" fmla="*/ 311763 h 1016771"/>
                    <a:gd name="connsiteX264" fmla="*/ 67312 w 761692"/>
                    <a:gd name="connsiteY264" fmla="*/ 309991 h 1016771"/>
                    <a:gd name="connsiteX265" fmla="*/ 67312 w 761692"/>
                    <a:gd name="connsiteY265" fmla="*/ 308220 h 1016771"/>
                    <a:gd name="connsiteX266" fmla="*/ 69084 w 761692"/>
                    <a:gd name="connsiteY266" fmla="*/ 302906 h 1016771"/>
                    <a:gd name="connsiteX267" fmla="*/ 70855 w 761692"/>
                    <a:gd name="connsiteY267" fmla="*/ 301134 h 1016771"/>
                    <a:gd name="connsiteX268" fmla="*/ 70855 w 761692"/>
                    <a:gd name="connsiteY268" fmla="*/ 299363 h 1016771"/>
                    <a:gd name="connsiteX269" fmla="*/ 77941 w 761692"/>
                    <a:gd name="connsiteY269" fmla="*/ 295820 h 1016771"/>
                    <a:gd name="connsiteX270" fmla="*/ 85026 w 761692"/>
                    <a:gd name="connsiteY270" fmla="*/ 295820 h 1016771"/>
                    <a:gd name="connsiteX271" fmla="*/ 93883 w 761692"/>
                    <a:gd name="connsiteY271" fmla="*/ 297592 h 1016771"/>
                    <a:gd name="connsiteX272" fmla="*/ 100968 w 761692"/>
                    <a:gd name="connsiteY272" fmla="*/ 288735 h 1016771"/>
                    <a:gd name="connsiteX273" fmla="*/ 97426 w 761692"/>
                    <a:gd name="connsiteY273" fmla="*/ 279878 h 1016771"/>
                    <a:gd name="connsiteX274" fmla="*/ 85026 w 761692"/>
                    <a:gd name="connsiteY274" fmla="*/ 276335 h 1016771"/>
                    <a:gd name="connsiteX275" fmla="*/ 76169 w 761692"/>
                    <a:gd name="connsiteY275" fmla="*/ 271021 h 1016771"/>
                    <a:gd name="connsiteX276" fmla="*/ 76169 w 761692"/>
                    <a:gd name="connsiteY276" fmla="*/ 262164 h 1016771"/>
                    <a:gd name="connsiteX277" fmla="*/ 81483 w 761692"/>
                    <a:gd name="connsiteY277" fmla="*/ 251536 h 1016771"/>
                    <a:gd name="connsiteX278" fmla="*/ 86797 w 761692"/>
                    <a:gd name="connsiteY278" fmla="*/ 255079 h 1016771"/>
                    <a:gd name="connsiteX279" fmla="*/ 104511 w 761692"/>
                    <a:gd name="connsiteY279" fmla="*/ 262164 h 1016771"/>
                    <a:gd name="connsiteX280" fmla="*/ 116911 w 761692"/>
                    <a:gd name="connsiteY280" fmla="*/ 265707 h 1016771"/>
                    <a:gd name="connsiteX281" fmla="*/ 132853 w 761692"/>
                    <a:gd name="connsiteY281" fmla="*/ 269250 h 1016771"/>
                    <a:gd name="connsiteX282" fmla="*/ 138167 w 761692"/>
                    <a:gd name="connsiteY282" fmla="*/ 265707 h 1016771"/>
                    <a:gd name="connsiteX283" fmla="*/ 150567 w 761692"/>
                    <a:gd name="connsiteY283" fmla="*/ 255079 h 1016771"/>
                    <a:gd name="connsiteX284" fmla="*/ 166509 w 761692"/>
                    <a:gd name="connsiteY284" fmla="*/ 255079 h 1016771"/>
                    <a:gd name="connsiteX285" fmla="*/ 166509 w 761692"/>
                    <a:gd name="connsiteY285" fmla="*/ 265707 h 1016771"/>
                    <a:gd name="connsiteX286" fmla="*/ 177138 w 761692"/>
                    <a:gd name="connsiteY286" fmla="*/ 272792 h 1016771"/>
                    <a:gd name="connsiteX287" fmla="*/ 194851 w 761692"/>
                    <a:gd name="connsiteY287" fmla="*/ 276335 h 1016771"/>
                    <a:gd name="connsiteX288" fmla="*/ 209022 w 761692"/>
                    <a:gd name="connsiteY288" fmla="*/ 279878 h 1016771"/>
                    <a:gd name="connsiteX289" fmla="*/ 221422 w 761692"/>
                    <a:gd name="connsiteY289" fmla="*/ 276335 h 1016771"/>
                    <a:gd name="connsiteX290" fmla="*/ 226736 w 761692"/>
                    <a:gd name="connsiteY290" fmla="*/ 269250 h 1016771"/>
                    <a:gd name="connsiteX291" fmla="*/ 226736 w 761692"/>
                    <a:gd name="connsiteY291" fmla="*/ 251536 h 1016771"/>
                    <a:gd name="connsiteX292" fmla="*/ 224965 w 761692"/>
                    <a:gd name="connsiteY292" fmla="*/ 239136 h 1016771"/>
                    <a:gd name="connsiteX293" fmla="*/ 214337 w 761692"/>
                    <a:gd name="connsiteY293" fmla="*/ 230279 h 1016771"/>
                    <a:gd name="connsiteX294" fmla="*/ 210794 w 761692"/>
                    <a:gd name="connsiteY294" fmla="*/ 217880 h 1016771"/>
                    <a:gd name="connsiteX295" fmla="*/ 221422 w 761692"/>
                    <a:gd name="connsiteY295" fmla="*/ 207251 h 1016771"/>
                    <a:gd name="connsiteX296" fmla="*/ 235593 w 761692"/>
                    <a:gd name="connsiteY296" fmla="*/ 214337 h 1016771"/>
                    <a:gd name="connsiteX297" fmla="*/ 246221 w 761692"/>
                    <a:gd name="connsiteY297" fmla="*/ 219651 h 1016771"/>
                    <a:gd name="connsiteX298" fmla="*/ 253307 w 761692"/>
                    <a:gd name="connsiteY298" fmla="*/ 221422 h 1016771"/>
                    <a:gd name="connsiteX299" fmla="*/ 262164 w 761692"/>
                    <a:gd name="connsiteY299" fmla="*/ 210794 h 1016771"/>
                    <a:gd name="connsiteX300" fmla="*/ 263935 w 761692"/>
                    <a:gd name="connsiteY300" fmla="*/ 201937 h 1016771"/>
                    <a:gd name="connsiteX301" fmla="*/ 274563 w 761692"/>
                    <a:gd name="connsiteY301" fmla="*/ 189538 h 1016771"/>
                    <a:gd name="connsiteX302" fmla="*/ 283420 w 761692"/>
                    <a:gd name="connsiteY302" fmla="*/ 178909 h 1016771"/>
                    <a:gd name="connsiteX303" fmla="*/ 286963 w 761692"/>
                    <a:gd name="connsiteY303" fmla="*/ 173595 h 1016771"/>
                    <a:gd name="connsiteX304" fmla="*/ 311762 w 761692"/>
                    <a:gd name="connsiteY304" fmla="*/ 168281 h 1016771"/>
                    <a:gd name="connsiteX305" fmla="*/ 325933 w 761692"/>
                    <a:gd name="connsiteY305" fmla="*/ 164738 h 1016771"/>
                    <a:gd name="connsiteX306" fmla="*/ 336562 w 761692"/>
                    <a:gd name="connsiteY306" fmla="*/ 159424 h 1016771"/>
                    <a:gd name="connsiteX307" fmla="*/ 348961 w 761692"/>
                    <a:gd name="connsiteY307" fmla="*/ 145253 h 1016771"/>
                    <a:gd name="connsiteX308" fmla="*/ 359589 w 761692"/>
                    <a:gd name="connsiteY308" fmla="*/ 143482 h 1016771"/>
                    <a:gd name="connsiteX309" fmla="*/ 371989 w 761692"/>
                    <a:gd name="connsiteY309" fmla="*/ 143482 h 1016771"/>
                    <a:gd name="connsiteX310" fmla="*/ 391474 w 761692"/>
                    <a:gd name="connsiteY310" fmla="*/ 143482 h 1016771"/>
                    <a:gd name="connsiteX311" fmla="*/ 396788 w 761692"/>
                    <a:gd name="connsiteY311" fmla="*/ 141710 h 1016771"/>
                    <a:gd name="connsiteX312" fmla="*/ 403874 w 761692"/>
                    <a:gd name="connsiteY312" fmla="*/ 134625 h 1016771"/>
                    <a:gd name="connsiteX313" fmla="*/ 409188 w 761692"/>
                    <a:gd name="connsiteY313" fmla="*/ 129311 h 1016771"/>
                    <a:gd name="connsiteX314" fmla="*/ 409188 w 761692"/>
                    <a:gd name="connsiteY314" fmla="*/ 123997 h 1016771"/>
                    <a:gd name="connsiteX315" fmla="*/ 414502 w 761692"/>
                    <a:gd name="connsiteY315" fmla="*/ 115140 h 1016771"/>
                    <a:gd name="connsiteX316" fmla="*/ 428673 w 761692"/>
                    <a:gd name="connsiteY316" fmla="*/ 115140 h 1016771"/>
                    <a:gd name="connsiteX317" fmla="*/ 432216 w 761692"/>
                    <a:gd name="connsiteY317" fmla="*/ 109826 h 1016771"/>
                    <a:gd name="connsiteX318" fmla="*/ 437530 w 761692"/>
                    <a:gd name="connsiteY318" fmla="*/ 100969 h 1016771"/>
                    <a:gd name="connsiteX319" fmla="*/ 448158 w 761692"/>
                    <a:gd name="connsiteY319" fmla="*/ 99197 h 1016771"/>
                    <a:gd name="connsiteX320" fmla="*/ 460558 w 761692"/>
                    <a:gd name="connsiteY320" fmla="*/ 97426 h 1016771"/>
                    <a:gd name="connsiteX321" fmla="*/ 472958 w 761692"/>
                    <a:gd name="connsiteY321" fmla="*/ 93883 h 1016771"/>
                    <a:gd name="connsiteX322" fmla="*/ 492443 w 761692"/>
                    <a:gd name="connsiteY322" fmla="*/ 93883 h 1016771"/>
                    <a:gd name="connsiteX323" fmla="*/ 501300 w 761692"/>
                    <a:gd name="connsiteY323" fmla="*/ 83255 h 1016771"/>
                    <a:gd name="connsiteX324" fmla="*/ 517242 w 761692"/>
                    <a:gd name="connsiteY324" fmla="*/ 81484 h 1016771"/>
                    <a:gd name="connsiteX325" fmla="*/ 522556 w 761692"/>
                    <a:gd name="connsiteY325" fmla="*/ 81484 h 1016771"/>
                    <a:gd name="connsiteX326" fmla="*/ 522556 w 761692"/>
                    <a:gd name="connsiteY326" fmla="*/ 60227 h 1016771"/>
                    <a:gd name="connsiteX327" fmla="*/ 526099 w 761692"/>
                    <a:gd name="connsiteY327" fmla="*/ 54913 h 1016771"/>
                    <a:gd name="connsiteX328" fmla="*/ 529642 w 761692"/>
                    <a:gd name="connsiteY328" fmla="*/ 46056 h 1016771"/>
                    <a:gd name="connsiteX329" fmla="*/ 538499 w 761692"/>
                    <a:gd name="connsiteY329" fmla="*/ 40742 h 1016771"/>
                    <a:gd name="connsiteX330" fmla="*/ 540270 w 761692"/>
                    <a:gd name="connsiteY330" fmla="*/ 30114 h 1016771"/>
                    <a:gd name="connsiteX331" fmla="*/ 536727 w 761692"/>
                    <a:gd name="connsiteY331" fmla="*/ 19485 h 1016771"/>
                    <a:gd name="connsiteX332" fmla="*/ 543813 w 761692"/>
                    <a:gd name="connsiteY332" fmla="*/ 5314 h 1016771"/>
                    <a:gd name="connsiteX333" fmla="*/ 554441 w 761692"/>
                    <a:gd name="connsiteY333" fmla="*/ 0 h 1016771"/>
                    <a:gd name="connsiteX0" fmla="*/ 288734 w 761692"/>
                    <a:gd name="connsiteY0" fmla="*/ 903403 h 1016771"/>
                    <a:gd name="connsiteX1" fmla="*/ 307483 w 761692"/>
                    <a:gd name="connsiteY1" fmla="*/ 901613 h 1016771"/>
                    <a:gd name="connsiteX2" fmla="*/ 288734 w 761692"/>
                    <a:gd name="connsiteY2" fmla="*/ 903403 h 1016771"/>
                    <a:gd name="connsiteX3" fmla="*/ 222919 w 761692"/>
                    <a:gd name="connsiteY3" fmla="*/ 879608 h 1016771"/>
                    <a:gd name="connsiteX4" fmla="*/ 243060 w 761692"/>
                    <a:gd name="connsiteY4" fmla="*/ 882965 h 1016771"/>
                    <a:gd name="connsiteX5" fmla="*/ 243990 w 761692"/>
                    <a:gd name="connsiteY5" fmla="*/ 883546 h 1016771"/>
                    <a:gd name="connsiteX6" fmla="*/ 224965 w 761692"/>
                    <a:gd name="connsiteY6" fmla="*/ 880375 h 1016771"/>
                    <a:gd name="connsiteX7" fmla="*/ 222919 w 761692"/>
                    <a:gd name="connsiteY7" fmla="*/ 879608 h 1016771"/>
                    <a:gd name="connsiteX8" fmla="*/ 159250 w 761692"/>
                    <a:gd name="connsiteY8" fmla="*/ 829179 h 1016771"/>
                    <a:gd name="connsiteX9" fmla="*/ 159989 w 761692"/>
                    <a:gd name="connsiteY9" fmla="*/ 830410 h 1016771"/>
                    <a:gd name="connsiteX10" fmla="*/ 151512 w 761692"/>
                    <a:gd name="connsiteY10" fmla="*/ 838886 h 1016771"/>
                    <a:gd name="connsiteX11" fmla="*/ 149817 w 761692"/>
                    <a:gd name="connsiteY11" fmla="*/ 840582 h 1016771"/>
                    <a:gd name="connsiteX12" fmla="*/ 148122 w 761692"/>
                    <a:gd name="connsiteY12" fmla="*/ 842277 h 1016771"/>
                    <a:gd name="connsiteX13" fmla="*/ 146426 w 761692"/>
                    <a:gd name="connsiteY13" fmla="*/ 843972 h 1016771"/>
                    <a:gd name="connsiteX14" fmla="*/ 141340 w 761692"/>
                    <a:gd name="connsiteY14" fmla="*/ 849058 h 1016771"/>
                    <a:gd name="connsiteX15" fmla="*/ 141340 w 761692"/>
                    <a:gd name="connsiteY15" fmla="*/ 850754 h 1016771"/>
                    <a:gd name="connsiteX16" fmla="*/ 139645 w 761692"/>
                    <a:gd name="connsiteY16" fmla="*/ 852449 h 1016771"/>
                    <a:gd name="connsiteX17" fmla="*/ 139645 w 761692"/>
                    <a:gd name="connsiteY17" fmla="*/ 860925 h 1016771"/>
                    <a:gd name="connsiteX18" fmla="*/ 148122 w 761692"/>
                    <a:gd name="connsiteY18" fmla="*/ 867707 h 1016771"/>
                    <a:gd name="connsiteX19" fmla="*/ 158294 w 761692"/>
                    <a:gd name="connsiteY19" fmla="*/ 879574 h 1016771"/>
                    <a:gd name="connsiteX20" fmla="*/ 175247 w 761692"/>
                    <a:gd name="connsiteY20" fmla="*/ 889746 h 1016771"/>
                    <a:gd name="connsiteX21" fmla="*/ 188810 w 761692"/>
                    <a:gd name="connsiteY21" fmla="*/ 893137 h 1016771"/>
                    <a:gd name="connsiteX22" fmla="*/ 195591 w 761692"/>
                    <a:gd name="connsiteY22" fmla="*/ 893137 h 1016771"/>
                    <a:gd name="connsiteX23" fmla="*/ 202372 w 761692"/>
                    <a:gd name="connsiteY23" fmla="*/ 886355 h 1016771"/>
                    <a:gd name="connsiteX24" fmla="*/ 200677 w 761692"/>
                    <a:gd name="connsiteY24" fmla="*/ 877879 h 1016771"/>
                    <a:gd name="connsiteX25" fmla="*/ 209154 w 761692"/>
                    <a:gd name="connsiteY25" fmla="*/ 874488 h 1016771"/>
                    <a:gd name="connsiteX26" fmla="*/ 210740 w 761692"/>
                    <a:gd name="connsiteY26" fmla="*/ 875083 h 1016771"/>
                    <a:gd name="connsiteX27" fmla="*/ 201937 w 761692"/>
                    <a:gd name="connsiteY27" fmla="*/ 878604 h 1016771"/>
                    <a:gd name="connsiteX28" fmla="*/ 203708 w 761692"/>
                    <a:gd name="connsiteY28" fmla="*/ 887461 h 1016771"/>
                    <a:gd name="connsiteX29" fmla="*/ 196623 w 761692"/>
                    <a:gd name="connsiteY29" fmla="*/ 894546 h 1016771"/>
                    <a:gd name="connsiteX30" fmla="*/ 189537 w 761692"/>
                    <a:gd name="connsiteY30" fmla="*/ 894546 h 1016771"/>
                    <a:gd name="connsiteX31" fmla="*/ 175366 w 761692"/>
                    <a:gd name="connsiteY31" fmla="*/ 891003 h 1016771"/>
                    <a:gd name="connsiteX32" fmla="*/ 157653 w 761692"/>
                    <a:gd name="connsiteY32" fmla="*/ 880375 h 1016771"/>
                    <a:gd name="connsiteX33" fmla="*/ 147024 w 761692"/>
                    <a:gd name="connsiteY33" fmla="*/ 867975 h 1016771"/>
                    <a:gd name="connsiteX34" fmla="*/ 138167 w 761692"/>
                    <a:gd name="connsiteY34" fmla="*/ 860890 h 1016771"/>
                    <a:gd name="connsiteX35" fmla="*/ 138167 w 761692"/>
                    <a:gd name="connsiteY35" fmla="*/ 852033 h 1016771"/>
                    <a:gd name="connsiteX36" fmla="*/ 139939 w 761692"/>
                    <a:gd name="connsiteY36" fmla="*/ 850262 h 1016771"/>
                    <a:gd name="connsiteX37" fmla="*/ 139939 w 761692"/>
                    <a:gd name="connsiteY37" fmla="*/ 848490 h 1016771"/>
                    <a:gd name="connsiteX38" fmla="*/ 145253 w 761692"/>
                    <a:gd name="connsiteY38" fmla="*/ 843176 h 1016771"/>
                    <a:gd name="connsiteX39" fmla="*/ 147024 w 761692"/>
                    <a:gd name="connsiteY39" fmla="*/ 841405 h 1016771"/>
                    <a:gd name="connsiteX40" fmla="*/ 148796 w 761692"/>
                    <a:gd name="connsiteY40" fmla="*/ 839633 h 1016771"/>
                    <a:gd name="connsiteX41" fmla="*/ 150567 w 761692"/>
                    <a:gd name="connsiteY41" fmla="*/ 837862 h 1016771"/>
                    <a:gd name="connsiteX42" fmla="*/ 159250 w 761692"/>
                    <a:gd name="connsiteY42" fmla="*/ 829179 h 1016771"/>
                    <a:gd name="connsiteX43" fmla="*/ 116476 w 761692"/>
                    <a:gd name="connsiteY43" fmla="*/ 741349 h 1016771"/>
                    <a:gd name="connsiteX44" fmla="*/ 117606 w 761692"/>
                    <a:gd name="connsiteY44" fmla="*/ 742253 h 1016771"/>
                    <a:gd name="connsiteX45" fmla="*/ 122692 w 761692"/>
                    <a:gd name="connsiteY45" fmla="*/ 759206 h 1016771"/>
                    <a:gd name="connsiteX46" fmla="*/ 126082 w 761692"/>
                    <a:gd name="connsiteY46" fmla="*/ 771073 h 1016771"/>
                    <a:gd name="connsiteX47" fmla="*/ 129473 w 761692"/>
                    <a:gd name="connsiteY47" fmla="*/ 782940 h 1016771"/>
                    <a:gd name="connsiteX48" fmla="*/ 132864 w 761692"/>
                    <a:gd name="connsiteY48" fmla="*/ 793112 h 1016771"/>
                    <a:gd name="connsiteX49" fmla="*/ 136254 w 761692"/>
                    <a:gd name="connsiteY49" fmla="*/ 810066 h 1016771"/>
                    <a:gd name="connsiteX50" fmla="*/ 139058 w 761692"/>
                    <a:gd name="connsiteY50" fmla="*/ 818476 h 1016771"/>
                    <a:gd name="connsiteX51" fmla="*/ 138167 w 761692"/>
                    <a:gd name="connsiteY51" fmla="*/ 818377 h 1016771"/>
                    <a:gd name="connsiteX52" fmla="*/ 134625 w 761692"/>
                    <a:gd name="connsiteY52" fmla="*/ 807749 h 1016771"/>
                    <a:gd name="connsiteX53" fmla="*/ 131082 w 761692"/>
                    <a:gd name="connsiteY53" fmla="*/ 790035 h 1016771"/>
                    <a:gd name="connsiteX54" fmla="*/ 127539 w 761692"/>
                    <a:gd name="connsiteY54" fmla="*/ 779407 h 1016771"/>
                    <a:gd name="connsiteX55" fmla="*/ 123996 w 761692"/>
                    <a:gd name="connsiteY55" fmla="*/ 767007 h 1016771"/>
                    <a:gd name="connsiteX56" fmla="*/ 120454 w 761692"/>
                    <a:gd name="connsiteY56" fmla="*/ 754607 h 1016771"/>
                    <a:gd name="connsiteX57" fmla="*/ 116476 w 761692"/>
                    <a:gd name="connsiteY57" fmla="*/ 741349 h 1016771"/>
                    <a:gd name="connsiteX58" fmla="*/ 554441 w 761692"/>
                    <a:gd name="connsiteY58" fmla="*/ 0 h 1016771"/>
                    <a:gd name="connsiteX59" fmla="*/ 570383 w 761692"/>
                    <a:gd name="connsiteY59" fmla="*/ 3543 h 1016771"/>
                    <a:gd name="connsiteX60" fmla="*/ 577469 w 761692"/>
                    <a:gd name="connsiteY60" fmla="*/ 8857 h 1016771"/>
                    <a:gd name="connsiteX61" fmla="*/ 582783 w 761692"/>
                    <a:gd name="connsiteY61" fmla="*/ 17714 h 1016771"/>
                    <a:gd name="connsiteX62" fmla="*/ 582783 w 761692"/>
                    <a:gd name="connsiteY62" fmla="*/ 24799 h 1016771"/>
                    <a:gd name="connsiteX63" fmla="*/ 588097 w 761692"/>
                    <a:gd name="connsiteY63" fmla="*/ 33656 h 1016771"/>
                    <a:gd name="connsiteX64" fmla="*/ 598725 w 761692"/>
                    <a:gd name="connsiteY64" fmla="*/ 31885 h 1016771"/>
                    <a:gd name="connsiteX65" fmla="*/ 612896 w 761692"/>
                    <a:gd name="connsiteY65" fmla="*/ 37199 h 1016771"/>
                    <a:gd name="connsiteX66" fmla="*/ 618211 w 761692"/>
                    <a:gd name="connsiteY66" fmla="*/ 46056 h 1016771"/>
                    <a:gd name="connsiteX67" fmla="*/ 619982 w 761692"/>
                    <a:gd name="connsiteY67" fmla="*/ 54913 h 1016771"/>
                    <a:gd name="connsiteX68" fmla="*/ 618211 w 761692"/>
                    <a:gd name="connsiteY68" fmla="*/ 74398 h 1016771"/>
                    <a:gd name="connsiteX69" fmla="*/ 616439 w 761692"/>
                    <a:gd name="connsiteY69" fmla="*/ 85026 h 1016771"/>
                    <a:gd name="connsiteX70" fmla="*/ 621753 w 761692"/>
                    <a:gd name="connsiteY70" fmla="*/ 97426 h 1016771"/>
                    <a:gd name="connsiteX71" fmla="*/ 637696 w 761692"/>
                    <a:gd name="connsiteY71" fmla="*/ 113368 h 1016771"/>
                    <a:gd name="connsiteX72" fmla="*/ 644781 w 761692"/>
                    <a:gd name="connsiteY72" fmla="*/ 120454 h 1016771"/>
                    <a:gd name="connsiteX73" fmla="*/ 650095 w 761692"/>
                    <a:gd name="connsiteY73" fmla="*/ 136396 h 1016771"/>
                    <a:gd name="connsiteX74" fmla="*/ 655409 w 761692"/>
                    <a:gd name="connsiteY74" fmla="*/ 155881 h 1016771"/>
                    <a:gd name="connsiteX75" fmla="*/ 662495 w 761692"/>
                    <a:gd name="connsiteY75" fmla="*/ 171824 h 1016771"/>
                    <a:gd name="connsiteX76" fmla="*/ 660724 w 761692"/>
                    <a:gd name="connsiteY76" fmla="*/ 185995 h 1016771"/>
                    <a:gd name="connsiteX77" fmla="*/ 635924 w 761692"/>
                    <a:gd name="connsiteY77" fmla="*/ 194852 h 1016771"/>
                    <a:gd name="connsiteX78" fmla="*/ 619982 w 761692"/>
                    <a:gd name="connsiteY78" fmla="*/ 207251 h 1016771"/>
                    <a:gd name="connsiteX79" fmla="*/ 614668 w 761692"/>
                    <a:gd name="connsiteY79" fmla="*/ 223194 h 1016771"/>
                    <a:gd name="connsiteX80" fmla="*/ 618211 w 761692"/>
                    <a:gd name="connsiteY80" fmla="*/ 242679 h 1016771"/>
                    <a:gd name="connsiteX81" fmla="*/ 612896 w 761692"/>
                    <a:gd name="connsiteY81" fmla="*/ 256850 h 1016771"/>
                    <a:gd name="connsiteX82" fmla="*/ 625296 w 761692"/>
                    <a:gd name="connsiteY82" fmla="*/ 267478 h 1016771"/>
                    <a:gd name="connsiteX83" fmla="*/ 641238 w 761692"/>
                    <a:gd name="connsiteY83" fmla="*/ 269250 h 1016771"/>
                    <a:gd name="connsiteX84" fmla="*/ 658952 w 761692"/>
                    <a:gd name="connsiteY84" fmla="*/ 286963 h 1016771"/>
                    <a:gd name="connsiteX85" fmla="*/ 653638 w 761692"/>
                    <a:gd name="connsiteY85" fmla="*/ 309991 h 1016771"/>
                    <a:gd name="connsiteX86" fmla="*/ 653638 w 761692"/>
                    <a:gd name="connsiteY86" fmla="*/ 329476 h 1016771"/>
                    <a:gd name="connsiteX87" fmla="*/ 643010 w 761692"/>
                    <a:gd name="connsiteY87" fmla="*/ 338333 h 1016771"/>
                    <a:gd name="connsiteX88" fmla="*/ 632382 w 761692"/>
                    <a:gd name="connsiteY88" fmla="*/ 338333 h 1016771"/>
                    <a:gd name="connsiteX89" fmla="*/ 618211 w 761692"/>
                    <a:gd name="connsiteY89" fmla="*/ 357819 h 1016771"/>
                    <a:gd name="connsiteX90" fmla="*/ 609354 w 761692"/>
                    <a:gd name="connsiteY90" fmla="*/ 361361 h 1016771"/>
                    <a:gd name="connsiteX91" fmla="*/ 596954 w 761692"/>
                    <a:gd name="connsiteY91" fmla="*/ 363133 h 1016771"/>
                    <a:gd name="connsiteX92" fmla="*/ 581012 w 761692"/>
                    <a:gd name="connsiteY92" fmla="*/ 379075 h 1016771"/>
                    <a:gd name="connsiteX93" fmla="*/ 589868 w 761692"/>
                    <a:gd name="connsiteY93" fmla="*/ 393246 h 1016771"/>
                    <a:gd name="connsiteX94" fmla="*/ 586326 w 761692"/>
                    <a:gd name="connsiteY94" fmla="*/ 409189 h 1016771"/>
                    <a:gd name="connsiteX95" fmla="*/ 570383 w 761692"/>
                    <a:gd name="connsiteY95" fmla="*/ 398560 h 1016771"/>
                    <a:gd name="connsiteX96" fmla="*/ 550898 w 761692"/>
                    <a:gd name="connsiteY96" fmla="*/ 405646 h 1016771"/>
                    <a:gd name="connsiteX97" fmla="*/ 531413 w 761692"/>
                    <a:gd name="connsiteY97" fmla="*/ 425131 h 1016771"/>
                    <a:gd name="connsiteX98" fmla="*/ 543813 w 761692"/>
                    <a:gd name="connsiteY98" fmla="*/ 444616 h 1016771"/>
                    <a:gd name="connsiteX99" fmla="*/ 557984 w 761692"/>
                    <a:gd name="connsiteY99" fmla="*/ 462330 h 1016771"/>
                    <a:gd name="connsiteX100" fmla="*/ 570383 w 761692"/>
                    <a:gd name="connsiteY100" fmla="*/ 478272 h 1016771"/>
                    <a:gd name="connsiteX101" fmla="*/ 579240 w 761692"/>
                    <a:gd name="connsiteY101" fmla="*/ 485358 h 1016771"/>
                    <a:gd name="connsiteX102" fmla="*/ 602268 w 761692"/>
                    <a:gd name="connsiteY102" fmla="*/ 483586 h 1016771"/>
                    <a:gd name="connsiteX103" fmla="*/ 623525 w 761692"/>
                    <a:gd name="connsiteY103" fmla="*/ 474730 h 1016771"/>
                    <a:gd name="connsiteX104" fmla="*/ 639467 w 761692"/>
                    <a:gd name="connsiteY104" fmla="*/ 464101 h 1016771"/>
                    <a:gd name="connsiteX105" fmla="*/ 662495 w 761692"/>
                    <a:gd name="connsiteY105" fmla="*/ 464101 h 1016771"/>
                    <a:gd name="connsiteX106" fmla="*/ 673123 w 761692"/>
                    <a:gd name="connsiteY106" fmla="*/ 464101 h 1016771"/>
                    <a:gd name="connsiteX107" fmla="*/ 681980 w 761692"/>
                    <a:gd name="connsiteY107" fmla="*/ 467644 h 1016771"/>
                    <a:gd name="connsiteX108" fmla="*/ 703237 w 761692"/>
                    <a:gd name="connsiteY108" fmla="*/ 471187 h 1016771"/>
                    <a:gd name="connsiteX109" fmla="*/ 708551 w 761692"/>
                    <a:gd name="connsiteY109" fmla="*/ 474730 h 1016771"/>
                    <a:gd name="connsiteX110" fmla="*/ 722722 w 761692"/>
                    <a:gd name="connsiteY110" fmla="*/ 501300 h 1016771"/>
                    <a:gd name="connsiteX111" fmla="*/ 724493 w 761692"/>
                    <a:gd name="connsiteY111" fmla="*/ 522557 h 1016771"/>
                    <a:gd name="connsiteX112" fmla="*/ 722722 w 761692"/>
                    <a:gd name="connsiteY112" fmla="*/ 540271 h 1016771"/>
                    <a:gd name="connsiteX113" fmla="*/ 735121 w 761692"/>
                    <a:gd name="connsiteY113" fmla="*/ 552670 h 1016771"/>
                    <a:gd name="connsiteX114" fmla="*/ 735121 w 761692"/>
                    <a:gd name="connsiteY114" fmla="*/ 570384 h 1016771"/>
                    <a:gd name="connsiteX115" fmla="*/ 751064 w 761692"/>
                    <a:gd name="connsiteY115" fmla="*/ 581012 h 1016771"/>
                    <a:gd name="connsiteX116" fmla="*/ 761692 w 761692"/>
                    <a:gd name="connsiteY116" fmla="*/ 604040 h 1016771"/>
                    <a:gd name="connsiteX117" fmla="*/ 747521 w 761692"/>
                    <a:gd name="connsiteY117" fmla="*/ 616440 h 1016771"/>
                    <a:gd name="connsiteX118" fmla="*/ 728036 w 761692"/>
                    <a:gd name="connsiteY118" fmla="*/ 627068 h 1016771"/>
                    <a:gd name="connsiteX119" fmla="*/ 726264 w 761692"/>
                    <a:gd name="connsiteY119" fmla="*/ 650096 h 1016771"/>
                    <a:gd name="connsiteX120" fmla="*/ 728036 w 761692"/>
                    <a:gd name="connsiteY120" fmla="*/ 673124 h 1016771"/>
                    <a:gd name="connsiteX121" fmla="*/ 742207 w 761692"/>
                    <a:gd name="connsiteY121" fmla="*/ 689066 h 1016771"/>
                    <a:gd name="connsiteX122" fmla="*/ 742207 w 761692"/>
                    <a:gd name="connsiteY122" fmla="*/ 712094 h 1016771"/>
                    <a:gd name="connsiteX123" fmla="*/ 740435 w 761692"/>
                    <a:gd name="connsiteY123" fmla="*/ 735122 h 1016771"/>
                    <a:gd name="connsiteX124" fmla="*/ 742207 w 761692"/>
                    <a:gd name="connsiteY124" fmla="*/ 751065 h 1016771"/>
                    <a:gd name="connsiteX125" fmla="*/ 747521 w 761692"/>
                    <a:gd name="connsiteY125" fmla="*/ 768778 h 1016771"/>
                    <a:gd name="connsiteX126" fmla="*/ 759921 w 761692"/>
                    <a:gd name="connsiteY126" fmla="*/ 777635 h 1016771"/>
                    <a:gd name="connsiteX127" fmla="*/ 758149 w 761692"/>
                    <a:gd name="connsiteY127" fmla="*/ 802434 h 1016771"/>
                    <a:gd name="connsiteX128" fmla="*/ 752835 w 761692"/>
                    <a:gd name="connsiteY128" fmla="*/ 814834 h 1016771"/>
                    <a:gd name="connsiteX129" fmla="*/ 743978 w 761692"/>
                    <a:gd name="connsiteY129" fmla="*/ 827234 h 1016771"/>
                    <a:gd name="connsiteX130" fmla="*/ 743978 w 761692"/>
                    <a:gd name="connsiteY130" fmla="*/ 837862 h 1016771"/>
                    <a:gd name="connsiteX131" fmla="*/ 747521 w 761692"/>
                    <a:gd name="connsiteY131" fmla="*/ 853804 h 1016771"/>
                    <a:gd name="connsiteX132" fmla="*/ 733350 w 761692"/>
                    <a:gd name="connsiteY132" fmla="*/ 867975 h 1016771"/>
                    <a:gd name="connsiteX133" fmla="*/ 724493 w 761692"/>
                    <a:gd name="connsiteY133" fmla="*/ 880375 h 1016771"/>
                    <a:gd name="connsiteX134" fmla="*/ 722722 w 761692"/>
                    <a:gd name="connsiteY134" fmla="*/ 899860 h 1016771"/>
                    <a:gd name="connsiteX135" fmla="*/ 722722 w 761692"/>
                    <a:gd name="connsiteY135" fmla="*/ 919345 h 1016771"/>
                    <a:gd name="connsiteX136" fmla="*/ 715636 w 761692"/>
                    <a:gd name="connsiteY136" fmla="*/ 940602 h 1016771"/>
                    <a:gd name="connsiteX137" fmla="*/ 708551 w 761692"/>
                    <a:gd name="connsiteY137" fmla="*/ 954773 h 1016771"/>
                    <a:gd name="connsiteX138" fmla="*/ 699694 w 761692"/>
                    <a:gd name="connsiteY138" fmla="*/ 965401 h 1016771"/>
                    <a:gd name="connsiteX139" fmla="*/ 692608 w 761692"/>
                    <a:gd name="connsiteY139" fmla="*/ 984886 h 1016771"/>
                    <a:gd name="connsiteX140" fmla="*/ 683751 w 761692"/>
                    <a:gd name="connsiteY140" fmla="*/ 997286 h 1016771"/>
                    <a:gd name="connsiteX141" fmla="*/ 673123 w 761692"/>
                    <a:gd name="connsiteY141" fmla="*/ 1002600 h 1016771"/>
                    <a:gd name="connsiteX142" fmla="*/ 662495 w 761692"/>
                    <a:gd name="connsiteY142" fmla="*/ 1013228 h 1016771"/>
                    <a:gd name="connsiteX143" fmla="*/ 644781 w 761692"/>
                    <a:gd name="connsiteY143" fmla="*/ 1016771 h 1016771"/>
                    <a:gd name="connsiteX144" fmla="*/ 635924 w 761692"/>
                    <a:gd name="connsiteY144" fmla="*/ 1004372 h 1016771"/>
                    <a:gd name="connsiteX145" fmla="*/ 623525 w 761692"/>
                    <a:gd name="connsiteY145" fmla="*/ 997286 h 1016771"/>
                    <a:gd name="connsiteX146" fmla="*/ 614668 w 761692"/>
                    <a:gd name="connsiteY146" fmla="*/ 986658 h 1016771"/>
                    <a:gd name="connsiteX147" fmla="*/ 593411 w 761692"/>
                    <a:gd name="connsiteY147" fmla="*/ 970715 h 1016771"/>
                    <a:gd name="connsiteX148" fmla="*/ 582783 w 761692"/>
                    <a:gd name="connsiteY148" fmla="*/ 965401 h 1016771"/>
                    <a:gd name="connsiteX149" fmla="*/ 531413 w 761692"/>
                    <a:gd name="connsiteY149" fmla="*/ 965401 h 1016771"/>
                    <a:gd name="connsiteX150" fmla="*/ 511928 w 761692"/>
                    <a:gd name="connsiteY150" fmla="*/ 965401 h 1016771"/>
                    <a:gd name="connsiteX151" fmla="*/ 492443 w 761692"/>
                    <a:gd name="connsiteY151" fmla="*/ 963630 h 1016771"/>
                    <a:gd name="connsiteX152" fmla="*/ 483586 w 761692"/>
                    <a:gd name="connsiteY152" fmla="*/ 958316 h 1016771"/>
                    <a:gd name="connsiteX153" fmla="*/ 469415 w 761692"/>
                    <a:gd name="connsiteY153" fmla="*/ 954773 h 1016771"/>
                    <a:gd name="connsiteX154" fmla="*/ 460558 w 761692"/>
                    <a:gd name="connsiteY154" fmla="*/ 942373 h 1016771"/>
                    <a:gd name="connsiteX155" fmla="*/ 446387 w 761692"/>
                    <a:gd name="connsiteY155" fmla="*/ 935288 h 1016771"/>
                    <a:gd name="connsiteX156" fmla="*/ 428673 w 761692"/>
                    <a:gd name="connsiteY156" fmla="*/ 928202 h 1016771"/>
                    <a:gd name="connsiteX157" fmla="*/ 418045 w 761692"/>
                    <a:gd name="connsiteY157" fmla="*/ 917574 h 1016771"/>
                    <a:gd name="connsiteX158" fmla="*/ 421588 w 761692"/>
                    <a:gd name="connsiteY158" fmla="*/ 903403 h 1016771"/>
                    <a:gd name="connsiteX159" fmla="*/ 418045 w 761692"/>
                    <a:gd name="connsiteY159" fmla="*/ 898089 h 1016771"/>
                    <a:gd name="connsiteX160" fmla="*/ 396788 w 761692"/>
                    <a:gd name="connsiteY160" fmla="*/ 898089 h 1016771"/>
                    <a:gd name="connsiteX161" fmla="*/ 382617 w 761692"/>
                    <a:gd name="connsiteY161" fmla="*/ 896318 h 1016771"/>
                    <a:gd name="connsiteX162" fmla="*/ 380846 w 761692"/>
                    <a:gd name="connsiteY162" fmla="*/ 906946 h 1016771"/>
                    <a:gd name="connsiteX163" fmla="*/ 373601 w 761692"/>
                    <a:gd name="connsiteY163" fmla="*/ 894832 h 1016771"/>
                    <a:gd name="connsiteX164" fmla="*/ 387164 w 761692"/>
                    <a:gd name="connsiteY164" fmla="*/ 896527 h 1016771"/>
                    <a:gd name="connsiteX165" fmla="*/ 383773 w 761692"/>
                    <a:gd name="connsiteY165" fmla="*/ 886355 h 1016771"/>
                    <a:gd name="connsiteX166" fmla="*/ 387164 w 761692"/>
                    <a:gd name="connsiteY166" fmla="*/ 876183 h 1016771"/>
                    <a:gd name="connsiteX167" fmla="*/ 388859 w 761692"/>
                    <a:gd name="connsiteY167" fmla="*/ 867707 h 1016771"/>
                    <a:gd name="connsiteX168" fmla="*/ 380382 w 761692"/>
                    <a:gd name="connsiteY168" fmla="*/ 859230 h 1016771"/>
                    <a:gd name="connsiteX169" fmla="*/ 373601 w 761692"/>
                    <a:gd name="connsiteY169" fmla="*/ 849058 h 1016771"/>
                    <a:gd name="connsiteX170" fmla="*/ 380382 w 761692"/>
                    <a:gd name="connsiteY170" fmla="*/ 838886 h 1016771"/>
                    <a:gd name="connsiteX171" fmla="*/ 383773 w 761692"/>
                    <a:gd name="connsiteY171" fmla="*/ 833800 h 1016771"/>
                    <a:gd name="connsiteX172" fmla="*/ 388859 w 761692"/>
                    <a:gd name="connsiteY172" fmla="*/ 825324 h 1016771"/>
                    <a:gd name="connsiteX173" fmla="*/ 387164 w 761692"/>
                    <a:gd name="connsiteY173" fmla="*/ 810066 h 1016771"/>
                    <a:gd name="connsiteX174" fmla="*/ 387164 w 761692"/>
                    <a:gd name="connsiteY174" fmla="*/ 796503 h 1016771"/>
                    <a:gd name="connsiteX175" fmla="*/ 378687 w 761692"/>
                    <a:gd name="connsiteY175" fmla="*/ 789722 h 1016771"/>
                    <a:gd name="connsiteX176" fmla="*/ 366820 w 761692"/>
                    <a:gd name="connsiteY176" fmla="*/ 782940 h 1016771"/>
                    <a:gd name="connsiteX177" fmla="*/ 356648 w 761692"/>
                    <a:gd name="connsiteY177" fmla="*/ 781245 h 1016771"/>
                    <a:gd name="connsiteX178" fmla="*/ 349866 w 761692"/>
                    <a:gd name="connsiteY178" fmla="*/ 771073 h 1016771"/>
                    <a:gd name="connsiteX179" fmla="*/ 349866 w 761692"/>
                    <a:gd name="connsiteY179" fmla="*/ 752425 h 1016771"/>
                    <a:gd name="connsiteX180" fmla="*/ 353257 w 761692"/>
                    <a:gd name="connsiteY180" fmla="*/ 743948 h 1016771"/>
                    <a:gd name="connsiteX181" fmla="*/ 354952 w 761692"/>
                    <a:gd name="connsiteY181" fmla="*/ 730385 h 1016771"/>
                    <a:gd name="connsiteX182" fmla="*/ 353257 w 761692"/>
                    <a:gd name="connsiteY182" fmla="*/ 713432 h 1016771"/>
                    <a:gd name="connsiteX183" fmla="*/ 346476 w 761692"/>
                    <a:gd name="connsiteY183" fmla="*/ 701565 h 1016771"/>
                    <a:gd name="connsiteX184" fmla="*/ 332913 w 761692"/>
                    <a:gd name="connsiteY184" fmla="*/ 689697 h 1016771"/>
                    <a:gd name="connsiteX185" fmla="*/ 324436 w 761692"/>
                    <a:gd name="connsiteY185" fmla="*/ 681221 h 1016771"/>
                    <a:gd name="connsiteX186" fmla="*/ 314264 w 761692"/>
                    <a:gd name="connsiteY186" fmla="*/ 676135 h 1016771"/>
                    <a:gd name="connsiteX187" fmla="*/ 293920 w 761692"/>
                    <a:gd name="connsiteY187" fmla="*/ 669354 h 1016771"/>
                    <a:gd name="connsiteX188" fmla="*/ 282053 w 761692"/>
                    <a:gd name="connsiteY188" fmla="*/ 667658 h 1016771"/>
                    <a:gd name="connsiteX189" fmla="*/ 266795 w 761692"/>
                    <a:gd name="connsiteY189" fmla="*/ 672744 h 1016771"/>
                    <a:gd name="connsiteX190" fmla="*/ 265100 w 761692"/>
                    <a:gd name="connsiteY190" fmla="*/ 672744 h 1016771"/>
                    <a:gd name="connsiteX191" fmla="*/ 263404 w 761692"/>
                    <a:gd name="connsiteY191" fmla="*/ 671049 h 1016771"/>
                    <a:gd name="connsiteX192" fmla="*/ 260014 w 761692"/>
                    <a:gd name="connsiteY192" fmla="*/ 671049 h 1016771"/>
                    <a:gd name="connsiteX193" fmla="*/ 258318 w 761692"/>
                    <a:gd name="connsiteY193" fmla="*/ 671049 h 1016771"/>
                    <a:gd name="connsiteX194" fmla="*/ 253232 w 761692"/>
                    <a:gd name="connsiteY194" fmla="*/ 671049 h 1016771"/>
                    <a:gd name="connsiteX195" fmla="*/ 248146 w 761692"/>
                    <a:gd name="connsiteY195" fmla="*/ 672744 h 1016771"/>
                    <a:gd name="connsiteX196" fmla="*/ 248146 w 761692"/>
                    <a:gd name="connsiteY196" fmla="*/ 674440 h 1016771"/>
                    <a:gd name="connsiteX197" fmla="*/ 246451 w 761692"/>
                    <a:gd name="connsiteY197" fmla="*/ 674440 h 1016771"/>
                    <a:gd name="connsiteX198" fmla="*/ 236279 w 761692"/>
                    <a:gd name="connsiteY198" fmla="*/ 679526 h 1016771"/>
                    <a:gd name="connsiteX199" fmla="*/ 226107 w 761692"/>
                    <a:gd name="connsiteY199" fmla="*/ 684612 h 1016771"/>
                    <a:gd name="connsiteX200" fmla="*/ 217630 w 761692"/>
                    <a:gd name="connsiteY200" fmla="*/ 684612 h 1016771"/>
                    <a:gd name="connsiteX201" fmla="*/ 207458 w 761692"/>
                    <a:gd name="connsiteY201" fmla="*/ 693088 h 1016771"/>
                    <a:gd name="connsiteX202" fmla="*/ 198982 w 761692"/>
                    <a:gd name="connsiteY202" fmla="*/ 694783 h 1016771"/>
                    <a:gd name="connsiteX203" fmla="*/ 192200 w 761692"/>
                    <a:gd name="connsiteY203" fmla="*/ 699869 h 1016771"/>
                    <a:gd name="connsiteX204" fmla="*/ 178638 w 761692"/>
                    <a:gd name="connsiteY204" fmla="*/ 706651 h 1016771"/>
                    <a:gd name="connsiteX205" fmla="*/ 163380 w 761692"/>
                    <a:gd name="connsiteY205" fmla="*/ 710041 h 1016771"/>
                    <a:gd name="connsiteX206" fmla="*/ 141340 w 761692"/>
                    <a:gd name="connsiteY206" fmla="*/ 710041 h 1016771"/>
                    <a:gd name="connsiteX207" fmla="*/ 134559 w 761692"/>
                    <a:gd name="connsiteY207" fmla="*/ 716823 h 1016771"/>
                    <a:gd name="connsiteX208" fmla="*/ 127778 w 761692"/>
                    <a:gd name="connsiteY208" fmla="*/ 718518 h 1016771"/>
                    <a:gd name="connsiteX209" fmla="*/ 120996 w 761692"/>
                    <a:gd name="connsiteY209" fmla="*/ 725299 h 1016771"/>
                    <a:gd name="connsiteX210" fmla="*/ 111172 w 761692"/>
                    <a:gd name="connsiteY210" fmla="*/ 733720 h 1016771"/>
                    <a:gd name="connsiteX211" fmla="*/ 106283 w 761692"/>
                    <a:gd name="connsiteY211" fmla="*/ 729808 h 1016771"/>
                    <a:gd name="connsiteX212" fmla="*/ 92112 w 761692"/>
                    <a:gd name="connsiteY212" fmla="*/ 724494 h 1016771"/>
                    <a:gd name="connsiteX213" fmla="*/ 77941 w 761692"/>
                    <a:gd name="connsiteY213" fmla="*/ 726265 h 1016771"/>
                    <a:gd name="connsiteX214" fmla="*/ 70855 w 761692"/>
                    <a:gd name="connsiteY214" fmla="*/ 719180 h 1016771"/>
                    <a:gd name="connsiteX215" fmla="*/ 70855 w 761692"/>
                    <a:gd name="connsiteY215" fmla="*/ 699695 h 1016771"/>
                    <a:gd name="connsiteX216" fmla="*/ 81483 w 761692"/>
                    <a:gd name="connsiteY216" fmla="*/ 685524 h 1016771"/>
                    <a:gd name="connsiteX217" fmla="*/ 85026 w 761692"/>
                    <a:gd name="connsiteY217" fmla="*/ 673124 h 1016771"/>
                    <a:gd name="connsiteX218" fmla="*/ 86797 w 761692"/>
                    <a:gd name="connsiteY218" fmla="*/ 660724 h 1016771"/>
                    <a:gd name="connsiteX219" fmla="*/ 97426 w 761692"/>
                    <a:gd name="connsiteY219" fmla="*/ 650096 h 1016771"/>
                    <a:gd name="connsiteX220" fmla="*/ 102740 w 761692"/>
                    <a:gd name="connsiteY220" fmla="*/ 635925 h 1016771"/>
                    <a:gd name="connsiteX221" fmla="*/ 113368 w 761692"/>
                    <a:gd name="connsiteY221" fmla="*/ 625297 h 1016771"/>
                    <a:gd name="connsiteX222" fmla="*/ 115139 w 761692"/>
                    <a:gd name="connsiteY222" fmla="*/ 612897 h 1016771"/>
                    <a:gd name="connsiteX223" fmla="*/ 127539 w 761692"/>
                    <a:gd name="connsiteY223" fmla="*/ 609354 h 1016771"/>
                    <a:gd name="connsiteX224" fmla="*/ 136396 w 761692"/>
                    <a:gd name="connsiteY224" fmla="*/ 604040 h 1016771"/>
                    <a:gd name="connsiteX225" fmla="*/ 132853 w 761692"/>
                    <a:gd name="connsiteY225" fmla="*/ 593412 h 1016771"/>
                    <a:gd name="connsiteX226" fmla="*/ 134625 w 761692"/>
                    <a:gd name="connsiteY226" fmla="*/ 584555 h 1016771"/>
                    <a:gd name="connsiteX227" fmla="*/ 131082 w 761692"/>
                    <a:gd name="connsiteY227" fmla="*/ 575698 h 1016771"/>
                    <a:gd name="connsiteX228" fmla="*/ 120454 w 761692"/>
                    <a:gd name="connsiteY228" fmla="*/ 568613 h 1016771"/>
                    <a:gd name="connsiteX229" fmla="*/ 125768 w 761692"/>
                    <a:gd name="connsiteY229" fmla="*/ 552670 h 1016771"/>
                    <a:gd name="connsiteX230" fmla="*/ 118682 w 761692"/>
                    <a:gd name="connsiteY230" fmla="*/ 543813 h 1016771"/>
                    <a:gd name="connsiteX231" fmla="*/ 90340 w 761692"/>
                    <a:gd name="connsiteY231" fmla="*/ 543813 h 1016771"/>
                    <a:gd name="connsiteX232" fmla="*/ 86797 w 761692"/>
                    <a:gd name="connsiteY232" fmla="*/ 542042 h 1016771"/>
                    <a:gd name="connsiteX233" fmla="*/ 83255 w 761692"/>
                    <a:gd name="connsiteY233" fmla="*/ 542042 h 1016771"/>
                    <a:gd name="connsiteX234" fmla="*/ 81483 w 761692"/>
                    <a:gd name="connsiteY234" fmla="*/ 540271 h 1016771"/>
                    <a:gd name="connsiteX235" fmla="*/ 81483 w 761692"/>
                    <a:gd name="connsiteY235" fmla="*/ 536728 h 1016771"/>
                    <a:gd name="connsiteX236" fmla="*/ 79712 w 761692"/>
                    <a:gd name="connsiteY236" fmla="*/ 531414 h 1016771"/>
                    <a:gd name="connsiteX237" fmla="*/ 77941 w 761692"/>
                    <a:gd name="connsiteY237" fmla="*/ 529642 h 1016771"/>
                    <a:gd name="connsiteX238" fmla="*/ 70855 w 761692"/>
                    <a:gd name="connsiteY238" fmla="*/ 527871 h 1016771"/>
                    <a:gd name="connsiteX239" fmla="*/ 60227 w 761692"/>
                    <a:gd name="connsiteY239" fmla="*/ 536728 h 1016771"/>
                    <a:gd name="connsiteX240" fmla="*/ 47827 w 761692"/>
                    <a:gd name="connsiteY240" fmla="*/ 526100 h 1016771"/>
                    <a:gd name="connsiteX241" fmla="*/ 42513 w 761692"/>
                    <a:gd name="connsiteY241" fmla="*/ 515471 h 1016771"/>
                    <a:gd name="connsiteX242" fmla="*/ 33656 w 761692"/>
                    <a:gd name="connsiteY242" fmla="*/ 506614 h 1016771"/>
                    <a:gd name="connsiteX243" fmla="*/ 31885 w 761692"/>
                    <a:gd name="connsiteY243" fmla="*/ 490672 h 1016771"/>
                    <a:gd name="connsiteX244" fmla="*/ 26571 w 761692"/>
                    <a:gd name="connsiteY244" fmla="*/ 476501 h 1016771"/>
                    <a:gd name="connsiteX245" fmla="*/ 24799 w 761692"/>
                    <a:gd name="connsiteY245" fmla="*/ 471187 h 1016771"/>
                    <a:gd name="connsiteX246" fmla="*/ 12400 w 761692"/>
                    <a:gd name="connsiteY246" fmla="*/ 472958 h 1016771"/>
                    <a:gd name="connsiteX247" fmla="*/ 7086 w 761692"/>
                    <a:gd name="connsiteY247" fmla="*/ 464101 h 1016771"/>
                    <a:gd name="connsiteX248" fmla="*/ 8857 w 761692"/>
                    <a:gd name="connsiteY248" fmla="*/ 446388 h 1016771"/>
                    <a:gd name="connsiteX249" fmla="*/ 3543 w 761692"/>
                    <a:gd name="connsiteY249" fmla="*/ 435759 h 1016771"/>
                    <a:gd name="connsiteX250" fmla="*/ 5314 w 761692"/>
                    <a:gd name="connsiteY250" fmla="*/ 412731 h 1016771"/>
                    <a:gd name="connsiteX251" fmla="*/ 0 w 761692"/>
                    <a:gd name="connsiteY251" fmla="*/ 396789 h 1016771"/>
                    <a:gd name="connsiteX252" fmla="*/ 3543 w 761692"/>
                    <a:gd name="connsiteY252" fmla="*/ 384389 h 1016771"/>
                    <a:gd name="connsiteX253" fmla="*/ 14171 w 761692"/>
                    <a:gd name="connsiteY253" fmla="*/ 380846 h 1016771"/>
                    <a:gd name="connsiteX254" fmla="*/ 24799 w 761692"/>
                    <a:gd name="connsiteY254" fmla="*/ 364904 h 1016771"/>
                    <a:gd name="connsiteX255" fmla="*/ 30113 w 761692"/>
                    <a:gd name="connsiteY255" fmla="*/ 350733 h 1016771"/>
                    <a:gd name="connsiteX256" fmla="*/ 35428 w 761692"/>
                    <a:gd name="connsiteY256" fmla="*/ 341876 h 1016771"/>
                    <a:gd name="connsiteX257" fmla="*/ 42513 w 761692"/>
                    <a:gd name="connsiteY257" fmla="*/ 327705 h 1016771"/>
                    <a:gd name="connsiteX258" fmla="*/ 42513 w 761692"/>
                    <a:gd name="connsiteY258" fmla="*/ 315305 h 1016771"/>
                    <a:gd name="connsiteX259" fmla="*/ 56684 w 761692"/>
                    <a:gd name="connsiteY259" fmla="*/ 309991 h 1016771"/>
                    <a:gd name="connsiteX260" fmla="*/ 60227 w 761692"/>
                    <a:gd name="connsiteY260" fmla="*/ 309991 h 1016771"/>
                    <a:gd name="connsiteX261" fmla="*/ 61998 w 761692"/>
                    <a:gd name="connsiteY261" fmla="*/ 311763 h 1016771"/>
                    <a:gd name="connsiteX262" fmla="*/ 67312 w 761692"/>
                    <a:gd name="connsiteY262" fmla="*/ 311763 h 1016771"/>
                    <a:gd name="connsiteX263" fmla="*/ 67312 w 761692"/>
                    <a:gd name="connsiteY263" fmla="*/ 309991 h 1016771"/>
                    <a:gd name="connsiteX264" fmla="*/ 67312 w 761692"/>
                    <a:gd name="connsiteY264" fmla="*/ 308220 h 1016771"/>
                    <a:gd name="connsiteX265" fmla="*/ 69084 w 761692"/>
                    <a:gd name="connsiteY265" fmla="*/ 302906 h 1016771"/>
                    <a:gd name="connsiteX266" fmla="*/ 70855 w 761692"/>
                    <a:gd name="connsiteY266" fmla="*/ 301134 h 1016771"/>
                    <a:gd name="connsiteX267" fmla="*/ 70855 w 761692"/>
                    <a:gd name="connsiteY267" fmla="*/ 299363 h 1016771"/>
                    <a:gd name="connsiteX268" fmla="*/ 77941 w 761692"/>
                    <a:gd name="connsiteY268" fmla="*/ 295820 h 1016771"/>
                    <a:gd name="connsiteX269" fmla="*/ 85026 w 761692"/>
                    <a:gd name="connsiteY269" fmla="*/ 295820 h 1016771"/>
                    <a:gd name="connsiteX270" fmla="*/ 93883 w 761692"/>
                    <a:gd name="connsiteY270" fmla="*/ 297592 h 1016771"/>
                    <a:gd name="connsiteX271" fmla="*/ 100968 w 761692"/>
                    <a:gd name="connsiteY271" fmla="*/ 288735 h 1016771"/>
                    <a:gd name="connsiteX272" fmla="*/ 97426 w 761692"/>
                    <a:gd name="connsiteY272" fmla="*/ 279878 h 1016771"/>
                    <a:gd name="connsiteX273" fmla="*/ 85026 w 761692"/>
                    <a:gd name="connsiteY273" fmla="*/ 276335 h 1016771"/>
                    <a:gd name="connsiteX274" fmla="*/ 76169 w 761692"/>
                    <a:gd name="connsiteY274" fmla="*/ 271021 h 1016771"/>
                    <a:gd name="connsiteX275" fmla="*/ 76169 w 761692"/>
                    <a:gd name="connsiteY275" fmla="*/ 262164 h 1016771"/>
                    <a:gd name="connsiteX276" fmla="*/ 81483 w 761692"/>
                    <a:gd name="connsiteY276" fmla="*/ 251536 h 1016771"/>
                    <a:gd name="connsiteX277" fmla="*/ 86797 w 761692"/>
                    <a:gd name="connsiteY277" fmla="*/ 255079 h 1016771"/>
                    <a:gd name="connsiteX278" fmla="*/ 104511 w 761692"/>
                    <a:gd name="connsiteY278" fmla="*/ 262164 h 1016771"/>
                    <a:gd name="connsiteX279" fmla="*/ 116911 w 761692"/>
                    <a:gd name="connsiteY279" fmla="*/ 265707 h 1016771"/>
                    <a:gd name="connsiteX280" fmla="*/ 132853 w 761692"/>
                    <a:gd name="connsiteY280" fmla="*/ 269250 h 1016771"/>
                    <a:gd name="connsiteX281" fmla="*/ 138167 w 761692"/>
                    <a:gd name="connsiteY281" fmla="*/ 265707 h 1016771"/>
                    <a:gd name="connsiteX282" fmla="*/ 150567 w 761692"/>
                    <a:gd name="connsiteY282" fmla="*/ 255079 h 1016771"/>
                    <a:gd name="connsiteX283" fmla="*/ 166509 w 761692"/>
                    <a:gd name="connsiteY283" fmla="*/ 255079 h 1016771"/>
                    <a:gd name="connsiteX284" fmla="*/ 166509 w 761692"/>
                    <a:gd name="connsiteY284" fmla="*/ 265707 h 1016771"/>
                    <a:gd name="connsiteX285" fmla="*/ 177138 w 761692"/>
                    <a:gd name="connsiteY285" fmla="*/ 272792 h 1016771"/>
                    <a:gd name="connsiteX286" fmla="*/ 194851 w 761692"/>
                    <a:gd name="connsiteY286" fmla="*/ 276335 h 1016771"/>
                    <a:gd name="connsiteX287" fmla="*/ 209022 w 761692"/>
                    <a:gd name="connsiteY287" fmla="*/ 279878 h 1016771"/>
                    <a:gd name="connsiteX288" fmla="*/ 221422 w 761692"/>
                    <a:gd name="connsiteY288" fmla="*/ 276335 h 1016771"/>
                    <a:gd name="connsiteX289" fmla="*/ 226736 w 761692"/>
                    <a:gd name="connsiteY289" fmla="*/ 269250 h 1016771"/>
                    <a:gd name="connsiteX290" fmla="*/ 226736 w 761692"/>
                    <a:gd name="connsiteY290" fmla="*/ 251536 h 1016771"/>
                    <a:gd name="connsiteX291" fmla="*/ 224965 w 761692"/>
                    <a:gd name="connsiteY291" fmla="*/ 239136 h 1016771"/>
                    <a:gd name="connsiteX292" fmla="*/ 214337 w 761692"/>
                    <a:gd name="connsiteY292" fmla="*/ 230279 h 1016771"/>
                    <a:gd name="connsiteX293" fmla="*/ 210794 w 761692"/>
                    <a:gd name="connsiteY293" fmla="*/ 217880 h 1016771"/>
                    <a:gd name="connsiteX294" fmla="*/ 221422 w 761692"/>
                    <a:gd name="connsiteY294" fmla="*/ 207251 h 1016771"/>
                    <a:gd name="connsiteX295" fmla="*/ 235593 w 761692"/>
                    <a:gd name="connsiteY295" fmla="*/ 214337 h 1016771"/>
                    <a:gd name="connsiteX296" fmla="*/ 246221 w 761692"/>
                    <a:gd name="connsiteY296" fmla="*/ 219651 h 1016771"/>
                    <a:gd name="connsiteX297" fmla="*/ 253307 w 761692"/>
                    <a:gd name="connsiteY297" fmla="*/ 221422 h 1016771"/>
                    <a:gd name="connsiteX298" fmla="*/ 262164 w 761692"/>
                    <a:gd name="connsiteY298" fmla="*/ 210794 h 1016771"/>
                    <a:gd name="connsiteX299" fmla="*/ 263935 w 761692"/>
                    <a:gd name="connsiteY299" fmla="*/ 201937 h 1016771"/>
                    <a:gd name="connsiteX300" fmla="*/ 274563 w 761692"/>
                    <a:gd name="connsiteY300" fmla="*/ 189538 h 1016771"/>
                    <a:gd name="connsiteX301" fmla="*/ 283420 w 761692"/>
                    <a:gd name="connsiteY301" fmla="*/ 178909 h 1016771"/>
                    <a:gd name="connsiteX302" fmla="*/ 286963 w 761692"/>
                    <a:gd name="connsiteY302" fmla="*/ 173595 h 1016771"/>
                    <a:gd name="connsiteX303" fmla="*/ 311762 w 761692"/>
                    <a:gd name="connsiteY303" fmla="*/ 168281 h 1016771"/>
                    <a:gd name="connsiteX304" fmla="*/ 325933 w 761692"/>
                    <a:gd name="connsiteY304" fmla="*/ 164738 h 1016771"/>
                    <a:gd name="connsiteX305" fmla="*/ 336562 w 761692"/>
                    <a:gd name="connsiteY305" fmla="*/ 159424 h 1016771"/>
                    <a:gd name="connsiteX306" fmla="*/ 348961 w 761692"/>
                    <a:gd name="connsiteY306" fmla="*/ 145253 h 1016771"/>
                    <a:gd name="connsiteX307" fmla="*/ 359589 w 761692"/>
                    <a:gd name="connsiteY307" fmla="*/ 143482 h 1016771"/>
                    <a:gd name="connsiteX308" fmla="*/ 371989 w 761692"/>
                    <a:gd name="connsiteY308" fmla="*/ 143482 h 1016771"/>
                    <a:gd name="connsiteX309" fmla="*/ 391474 w 761692"/>
                    <a:gd name="connsiteY309" fmla="*/ 143482 h 1016771"/>
                    <a:gd name="connsiteX310" fmla="*/ 396788 w 761692"/>
                    <a:gd name="connsiteY310" fmla="*/ 141710 h 1016771"/>
                    <a:gd name="connsiteX311" fmla="*/ 403874 w 761692"/>
                    <a:gd name="connsiteY311" fmla="*/ 134625 h 1016771"/>
                    <a:gd name="connsiteX312" fmla="*/ 409188 w 761692"/>
                    <a:gd name="connsiteY312" fmla="*/ 129311 h 1016771"/>
                    <a:gd name="connsiteX313" fmla="*/ 409188 w 761692"/>
                    <a:gd name="connsiteY313" fmla="*/ 123997 h 1016771"/>
                    <a:gd name="connsiteX314" fmla="*/ 414502 w 761692"/>
                    <a:gd name="connsiteY314" fmla="*/ 115140 h 1016771"/>
                    <a:gd name="connsiteX315" fmla="*/ 428673 w 761692"/>
                    <a:gd name="connsiteY315" fmla="*/ 115140 h 1016771"/>
                    <a:gd name="connsiteX316" fmla="*/ 432216 w 761692"/>
                    <a:gd name="connsiteY316" fmla="*/ 109826 h 1016771"/>
                    <a:gd name="connsiteX317" fmla="*/ 437530 w 761692"/>
                    <a:gd name="connsiteY317" fmla="*/ 100969 h 1016771"/>
                    <a:gd name="connsiteX318" fmla="*/ 448158 w 761692"/>
                    <a:gd name="connsiteY318" fmla="*/ 99197 h 1016771"/>
                    <a:gd name="connsiteX319" fmla="*/ 460558 w 761692"/>
                    <a:gd name="connsiteY319" fmla="*/ 97426 h 1016771"/>
                    <a:gd name="connsiteX320" fmla="*/ 472958 w 761692"/>
                    <a:gd name="connsiteY320" fmla="*/ 93883 h 1016771"/>
                    <a:gd name="connsiteX321" fmla="*/ 492443 w 761692"/>
                    <a:gd name="connsiteY321" fmla="*/ 93883 h 1016771"/>
                    <a:gd name="connsiteX322" fmla="*/ 501300 w 761692"/>
                    <a:gd name="connsiteY322" fmla="*/ 83255 h 1016771"/>
                    <a:gd name="connsiteX323" fmla="*/ 517242 w 761692"/>
                    <a:gd name="connsiteY323" fmla="*/ 81484 h 1016771"/>
                    <a:gd name="connsiteX324" fmla="*/ 522556 w 761692"/>
                    <a:gd name="connsiteY324" fmla="*/ 81484 h 1016771"/>
                    <a:gd name="connsiteX325" fmla="*/ 522556 w 761692"/>
                    <a:gd name="connsiteY325" fmla="*/ 60227 h 1016771"/>
                    <a:gd name="connsiteX326" fmla="*/ 526099 w 761692"/>
                    <a:gd name="connsiteY326" fmla="*/ 54913 h 1016771"/>
                    <a:gd name="connsiteX327" fmla="*/ 529642 w 761692"/>
                    <a:gd name="connsiteY327" fmla="*/ 46056 h 1016771"/>
                    <a:gd name="connsiteX328" fmla="*/ 538499 w 761692"/>
                    <a:gd name="connsiteY328" fmla="*/ 40742 h 1016771"/>
                    <a:gd name="connsiteX329" fmla="*/ 540270 w 761692"/>
                    <a:gd name="connsiteY329" fmla="*/ 30114 h 1016771"/>
                    <a:gd name="connsiteX330" fmla="*/ 536727 w 761692"/>
                    <a:gd name="connsiteY330" fmla="*/ 19485 h 1016771"/>
                    <a:gd name="connsiteX331" fmla="*/ 543813 w 761692"/>
                    <a:gd name="connsiteY331" fmla="*/ 5314 h 1016771"/>
                    <a:gd name="connsiteX332" fmla="*/ 554441 w 761692"/>
                    <a:gd name="connsiteY332" fmla="*/ 0 h 1016771"/>
                    <a:gd name="connsiteX0" fmla="*/ 222919 w 761692"/>
                    <a:gd name="connsiteY0" fmla="*/ 879608 h 1016771"/>
                    <a:gd name="connsiteX1" fmla="*/ 243060 w 761692"/>
                    <a:gd name="connsiteY1" fmla="*/ 882965 h 1016771"/>
                    <a:gd name="connsiteX2" fmla="*/ 243990 w 761692"/>
                    <a:gd name="connsiteY2" fmla="*/ 883546 h 1016771"/>
                    <a:gd name="connsiteX3" fmla="*/ 224965 w 761692"/>
                    <a:gd name="connsiteY3" fmla="*/ 880375 h 1016771"/>
                    <a:gd name="connsiteX4" fmla="*/ 222919 w 761692"/>
                    <a:gd name="connsiteY4" fmla="*/ 879608 h 1016771"/>
                    <a:gd name="connsiteX5" fmla="*/ 159250 w 761692"/>
                    <a:gd name="connsiteY5" fmla="*/ 829179 h 1016771"/>
                    <a:gd name="connsiteX6" fmla="*/ 159989 w 761692"/>
                    <a:gd name="connsiteY6" fmla="*/ 830410 h 1016771"/>
                    <a:gd name="connsiteX7" fmla="*/ 151512 w 761692"/>
                    <a:gd name="connsiteY7" fmla="*/ 838886 h 1016771"/>
                    <a:gd name="connsiteX8" fmla="*/ 149817 w 761692"/>
                    <a:gd name="connsiteY8" fmla="*/ 840582 h 1016771"/>
                    <a:gd name="connsiteX9" fmla="*/ 148122 w 761692"/>
                    <a:gd name="connsiteY9" fmla="*/ 842277 h 1016771"/>
                    <a:gd name="connsiteX10" fmla="*/ 146426 w 761692"/>
                    <a:gd name="connsiteY10" fmla="*/ 843972 h 1016771"/>
                    <a:gd name="connsiteX11" fmla="*/ 141340 w 761692"/>
                    <a:gd name="connsiteY11" fmla="*/ 849058 h 1016771"/>
                    <a:gd name="connsiteX12" fmla="*/ 141340 w 761692"/>
                    <a:gd name="connsiteY12" fmla="*/ 850754 h 1016771"/>
                    <a:gd name="connsiteX13" fmla="*/ 139645 w 761692"/>
                    <a:gd name="connsiteY13" fmla="*/ 852449 h 1016771"/>
                    <a:gd name="connsiteX14" fmla="*/ 139645 w 761692"/>
                    <a:gd name="connsiteY14" fmla="*/ 860925 h 1016771"/>
                    <a:gd name="connsiteX15" fmla="*/ 148122 w 761692"/>
                    <a:gd name="connsiteY15" fmla="*/ 867707 h 1016771"/>
                    <a:gd name="connsiteX16" fmla="*/ 158294 w 761692"/>
                    <a:gd name="connsiteY16" fmla="*/ 879574 h 1016771"/>
                    <a:gd name="connsiteX17" fmla="*/ 175247 w 761692"/>
                    <a:gd name="connsiteY17" fmla="*/ 889746 h 1016771"/>
                    <a:gd name="connsiteX18" fmla="*/ 188810 w 761692"/>
                    <a:gd name="connsiteY18" fmla="*/ 893137 h 1016771"/>
                    <a:gd name="connsiteX19" fmla="*/ 195591 w 761692"/>
                    <a:gd name="connsiteY19" fmla="*/ 893137 h 1016771"/>
                    <a:gd name="connsiteX20" fmla="*/ 202372 w 761692"/>
                    <a:gd name="connsiteY20" fmla="*/ 886355 h 1016771"/>
                    <a:gd name="connsiteX21" fmla="*/ 200677 w 761692"/>
                    <a:gd name="connsiteY21" fmla="*/ 877879 h 1016771"/>
                    <a:gd name="connsiteX22" fmla="*/ 209154 w 761692"/>
                    <a:gd name="connsiteY22" fmla="*/ 874488 h 1016771"/>
                    <a:gd name="connsiteX23" fmla="*/ 210740 w 761692"/>
                    <a:gd name="connsiteY23" fmla="*/ 875083 h 1016771"/>
                    <a:gd name="connsiteX24" fmla="*/ 201937 w 761692"/>
                    <a:gd name="connsiteY24" fmla="*/ 878604 h 1016771"/>
                    <a:gd name="connsiteX25" fmla="*/ 203708 w 761692"/>
                    <a:gd name="connsiteY25" fmla="*/ 887461 h 1016771"/>
                    <a:gd name="connsiteX26" fmla="*/ 196623 w 761692"/>
                    <a:gd name="connsiteY26" fmla="*/ 894546 h 1016771"/>
                    <a:gd name="connsiteX27" fmla="*/ 189537 w 761692"/>
                    <a:gd name="connsiteY27" fmla="*/ 894546 h 1016771"/>
                    <a:gd name="connsiteX28" fmla="*/ 175366 w 761692"/>
                    <a:gd name="connsiteY28" fmla="*/ 891003 h 1016771"/>
                    <a:gd name="connsiteX29" fmla="*/ 157653 w 761692"/>
                    <a:gd name="connsiteY29" fmla="*/ 880375 h 1016771"/>
                    <a:gd name="connsiteX30" fmla="*/ 147024 w 761692"/>
                    <a:gd name="connsiteY30" fmla="*/ 867975 h 1016771"/>
                    <a:gd name="connsiteX31" fmla="*/ 138167 w 761692"/>
                    <a:gd name="connsiteY31" fmla="*/ 860890 h 1016771"/>
                    <a:gd name="connsiteX32" fmla="*/ 138167 w 761692"/>
                    <a:gd name="connsiteY32" fmla="*/ 852033 h 1016771"/>
                    <a:gd name="connsiteX33" fmla="*/ 139939 w 761692"/>
                    <a:gd name="connsiteY33" fmla="*/ 850262 h 1016771"/>
                    <a:gd name="connsiteX34" fmla="*/ 139939 w 761692"/>
                    <a:gd name="connsiteY34" fmla="*/ 848490 h 1016771"/>
                    <a:gd name="connsiteX35" fmla="*/ 145253 w 761692"/>
                    <a:gd name="connsiteY35" fmla="*/ 843176 h 1016771"/>
                    <a:gd name="connsiteX36" fmla="*/ 147024 w 761692"/>
                    <a:gd name="connsiteY36" fmla="*/ 841405 h 1016771"/>
                    <a:gd name="connsiteX37" fmla="*/ 148796 w 761692"/>
                    <a:gd name="connsiteY37" fmla="*/ 839633 h 1016771"/>
                    <a:gd name="connsiteX38" fmla="*/ 150567 w 761692"/>
                    <a:gd name="connsiteY38" fmla="*/ 837862 h 1016771"/>
                    <a:gd name="connsiteX39" fmla="*/ 159250 w 761692"/>
                    <a:gd name="connsiteY39" fmla="*/ 829179 h 1016771"/>
                    <a:gd name="connsiteX40" fmla="*/ 116476 w 761692"/>
                    <a:gd name="connsiteY40" fmla="*/ 741349 h 1016771"/>
                    <a:gd name="connsiteX41" fmla="*/ 117606 w 761692"/>
                    <a:gd name="connsiteY41" fmla="*/ 742253 h 1016771"/>
                    <a:gd name="connsiteX42" fmla="*/ 122692 w 761692"/>
                    <a:gd name="connsiteY42" fmla="*/ 759206 h 1016771"/>
                    <a:gd name="connsiteX43" fmla="*/ 126082 w 761692"/>
                    <a:gd name="connsiteY43" fmla="*/ 771073 h 1016771"/>
                    <a:gd name="connsiteX44" fmla="*/ 129473 w 761692"/>
                    <a:gd name="connsiteY44" fmla="*/ 782940 h 1016771"/>
                    <a:gd name="connsiteX45" fmla="*/ 132864 w 761692"/>
                    <a:gd name="connsiteY45" fmla="*/ 793112 h 1016771"/>
                    <a:gd name="connsiteX46" fmla="*/ 136254 w 761692"/>
                    <a:gd name="connsiteY46" fmla="*/ 810066 h 1016771"/>
                    <a:gd name="connsiteX47" fmla="*/ 139058 w 761692"/>
                    <a:gd name="connsiteY47" fmla="*/ 818476 h 1016771"/>
                    <a:gd name="connsiteX48" fmla="*/ 138167 w 761692"/>
                    <a:gd name="connsiteY48" fmla="*/ 818377 h 1016771"/>
                    <a:gd name="connsiteX49" fmla="*/ 134625 w 761692"/>
                    <a:gd name="connsiteY49" fmla="*/ 807749 h 1016771"/>
                    <a:gd name="connsiteX50" fmla="*/ 131082 w 761692"/>
                    <a:gd name="connsiteY50" fmla="*/ 790035 h 1016771"/>
                    <a:gd name="connsiteX51" fmla="*/ 127539 w 761692"/>
                    <a:gd name="connsiteY51" fmla="*/ 779407 h 1016771"/>
                    <a:gd name="connsiteX52" fmla="*/ 123996 w 761692"/>
                    <a:gd name="connsiteY52" fmla="*/ 767007 h 1016771"/>
                    <a:gd name="connsiteX53" fmla="*/ 120454 w 761692"/>
                    <a:gd name="connsiteY53" fmla="*/ 754607 h 1016771"/>
                    <a:gd name="connsiteX54" fmla="*/ 116476 w 761692"/>
                    <a:gd name="connsiteY54" fmla="*/ 741349 h 1016771"/>
                    <a:gd name="connsiteX55" fmla="*/ 554441 w 761692"/>
                    <a:gd name="connsiteY55" fmla="*/ 0 h 1016771"/>
                    <a:gd name="connsiteX56" fmla="*/ 570383 w 761692"/>
                    <a:gd name="connsiteY56" fmla="*/ 3543 h 1016771"/>
                    <a:gd name="connsiteX57" fmla="*/ 577469 w 761692"/>
                    <a:gd name="connsiteY57" fmla="*/ 8857 h 1016771"/>
                    <a:gd name="connsiteX58" fmla="*/ 582783 w 761692"/>
                    <a:gd name="connsiteY58" fmla="*/ 17714 h 1016771"/>
                    <a:gd name="connsiteX59" fmla="*/ 582783 w 761692"/>
                    <a:gd name="connsiteY59" fmla="*/ 24799 h 1016771"/>
                    <a:gd name="connsiteX60" fmla="*/ 588097 w 761692"/>
                    <a:gd name="connsiteY60" fmla="*/ 33656 h 1016771"/>
                    <a:gd name="connsiteX61" fmla="*/ 598725 w 761692"/>
                    <a:gd name="connsiteY61" fmla="*/ 31885 h 1016771"/>
                    <a:gd name="connsiteX62" fmla="*/ 612896 w 761692"/>
                    <a:gd name="connsiteY62" fmla="*/ 37199 h 1016771"/>
                    <a:gd name="connsiteX63" fmla="*/ 618211 w 761692"/>
                    <a:gd name="connsiteY63" fmla="*/ 46056 h 1016771"/>
                    <a:gd name="connsiteX64" fmla="*/ 619982 w 761692"/>
                    <a:gd name="connsiteY64" fmla="*/ 54913 h 1016771"/>
                    <a:gd name="connsiteX65" fmla="*/ 618211 w 761692"/>
                    <a:gd name="connsiteY65" fmla="*/ 74398 h 1016771"/>
                    <a:gd name="connsiteX66" fmla="*/ 616439 w 761692"/>
                    <a:gd name="connsiteY66" fmla="*/ 85026 h 1016771"/>
                    <a:gd name="connsiteX67" fmla="*/ 621753 w 761692"/>
                    <a:gd name="connsiteY67" fmla="*/ 97426 h 1016771"/>
                    <a:gd name="connsiteX68" fmla="*/ 637696 w 761692"/>
                    <a:gd name="connsiteY68" fmla="*/ 113368 h 1016771"/>
                    <a:gd name="connsiteX69" fmla="*/ 644781 w 761692"/>
                    <a:gd name="connsiteY69" fmla="*/ 120454 h 1016771"/>
                    <a:gd name="connsiteX70" fmla="*/ 650095 w 761692"/>
                    <a:gd name="connsiteY70" fmla="*/ 136396 h 1016771"/>
                    <a:gd name="connsiteX71" fmla="*/ 655409 w 761692"/>
                    <a:gd name="connsiteY71" fmla="*/ 155881 h 1016771"/>
                    <a:gd name="connsiteX72" fmla="*/ 662495 w 761692"/>
                    <a:gd name="connsiteY72" fmla="*/ 171824 h 1016771"/>
                    <a:gd name="connsiteX73" fmla="*/ 660724 w 761692"/>
                    <a:gd name="connsiteY73" fmla="*/ 185995 h 1016771"/>
                    <a:gd name="connsiteX74" fmla="*/ 635924 w 761692"/>
                    <a:gd name="connsiteY74" fmla="*/ 194852 h 1016771"/>
                    <a:gd name="connsiteX75" fmla="*/ 619982 w 761692"/>
                    <a:gd name="connsiteY75" fmla="*/ 207251 h 1016771"/>
                    <a:gd name="connsiteX76" fmla="*/ 614668 w 761692"/>
                    <a:gd name="connsiteY76" fmla="*/ 223194 h 1016771"/>
                    <a:gd name="connsiteX77" fmla="*/ 618211 w 761692"/>
                    <a:gd name="connsiteY77" fmla="*/ 242679 h 1016771"/>
                    <a:gd name="connsiteX78" fmla="*/ 612896 w 761692"/>
                    <a:gd name="connsiteY78" fmla="*/ 256850 h 1016771"/>
                    <a:gd name="connsiteX79" fmla="*/ 625296 w 761692"/>
                    <a:gd name="connsiteY79" fmla="*/ 267478 h 1016771"/>
                    <a:gd name="connsiteX80" fmla="*/ 641238 w 761692"/>
                    <a:gd name="connsiteY80" fmla="*/ 269250 h 1016771"/>
                    <a:gd name="connsiteX81" fmla="*/ 658952 w 761692"/>
                    <a:gd name="connsiteY81" fmla="*/ 286963 h 1016771"/>
                    <a:gd name="connsiteX82" fmla="*/ 653638 w 761692"/>
                    <a:gd name="connsiteY82" fmla="*/ 309991 h 1016771"/>
                    <a:gd name="connsiteX83" fmla="*/ 653638 w 761692"/>
                    <a:gd name="connsiteY83" fmla="*/ 329476 h 1016771"/>
                    <a:gd name="connsiteX84" fmla="*/ 643010 w 761692"/>
                    <a:gd name="connsiteY84" fmla="*/ 338333 h 1016771"/>
                    <a:gd name="connsiteX85" fmla="*/ 632382 w 761692"/>
                    <a:gd name="connsiteY85" fmla="*/ 338333 h 1016771"/>
                    <a:gd name="connsiteX86" fmla="*/ 618211 w 761692"/>
                    <a:gd name="connsiteY86" fmla="*/ 357819 h 1016771"/>
                    <a:gd name="connsiteX87" fmla="*/ 609354 w 761692"/>
                    <a:gd name="connsiteY87" fmla="*/ 361361 h 1016771"/>
                    <a:gd name="connsiteX88" fmla="*/ 596954 w 761692"/>
                    <a:gd name="connsiteY88" fmla="*/ 363133 h 1016771"/>
                    <a:gd name="connsiteX89" fmla="*/ 581012 w 761692"/>
                    <a:gd name="connsiteY89" fmla="*/ 379075 h 1016771"/>
                    <a:gd name="connsiteX90" fmla="*/ 589868 w 761692"/>
                    <a:gd name="connsiteY90" fmla="*/ 393246 h 1016771"/>
                    <a:gd name="connsiteX91" fmla="*/ 586326 w 761692"/>
                    <a:gd name="connsiteY91" fmla="*/ 409189 h 1016771"/>
                    <a:gd name="connsiteX92" fmla="*/ 570383 w 761692"/>
                    <a:gd name="connsiteY92" fmla="*/ 398560 h 1016771"/>
                    <a:gd name="connsiteX93" fmla="*/ 550898 w 761692"/>
                    <a:gd name="connsiteY93" fmla="*/ 405646 h 1016771"/>
                    <a:gd name="connsiteX94" fmla="*/ 531413 w 761692"/>
                    <a:gd name="connsiteY94" fmla="*/ 425131 h 1016771"/>
                    <a:gd name="connsiteX95" fmla="*/ 543813 w 761692"/>
                    <a:gd name="connsiteY95" fmla="*/ 444616 h 1016771"/>
                    <a:gd name="connsiteX96" fmla="*/ 557984 w 761692"/>
                    <a:gd name="connsiteY96" fmla="*/ 462330 h 1016771"/>
                    <a:gd name="connsiteX97" fmla="*/ 570383 w 761692"/>
                    <a:gd name="connsiteY97" fmla="*/ 478272 h 1016771"/>
                    <a:gd name="connsiteX98" fmla="*/ 579240 w 761692"/>
                    <a:gd name="connsiteY98" fmla="*/ 485358 h 1016771"/>
                    <a:gd name="connsiteX99" fmla="*/ 602268 w 761692"/>
                    <a:gd name="connsiteY99" fmla="*/ 483586 h 1016771"/>
                    <a:gd name="connsiteX100" fmla="*/ 623525 w 761692"/>
                    <a:gd name="connsiteY100" fmla="*/ 474730 h 1016771"/>
                    <a:gd name="connsiteX101" fmla="*/ 639467 w 761692"/>
                    <a:gd name="connsiteY101" fmla="*/ 464101 h 1016771"/>
                    <a:gd name="connsiteX102" fmla="*/ 662495 w 761692"/>
                    <a:gd name="connsiteY102" fmla="*/ 464101 h 1016771"/>
                    <a:gd name="connsiteX103" fmla="*/ 673123 w 761692"/>
                    <a:gd name="connsiteY103" fmla="*/ 464101 h 1016771"/>
                    <a:gd name="connsiteX104" fmla="*/ 681980 w 761692"/>
                    <a:gd name="connsiteY104" fmla="*/ 467644 h 1016771"/>
                    <a:gd name="connsiteX105" fmla="*/ 703237 w 761692"/>
                    <a:gd name="connsiteY105" fmla="*/ 471187 h 1016771"/>
                    <a:gd name="connsiteX106" fmla="*/ 708551 w 761692"/>
                    <a:gd name="connsiteY106" fmla="*/ 474730 h 1016771"/>
                    <a:gd name="connsiteX107" fmla="*/ 722722 w 761692"/>
                    <a:gd name="connsiteY107" fmla="*/ 501300 h 1016771"/>
                    <a:gd name="connsiteX108" fmla="*/ 724493 w 761692"/>
                    <a:gd name="connsiteY108" fmla="*/ 522557 h 1016771"/>
                    <a:gd name="connsiteX109" fmla="*/ 722722 w 761692"/>
                    <a:gd name="connsiteY109" fmla="*/ 540271 h 1016771"/>
                    <a:gd name="connsiteX110" fmla="*/ 735121 w 761692"/>
                    <a:gd name="connsiteY110" fmla="*/ 552670 h 1016771"/>
                    <a:gd name="connsiteX111" fmla="*/ 735121 w 761692"/>
                    <a:gd name="connsiteY111" fmla="*/ 570384 h 1016771"/>
                    <a:gd name="connsiteX112" fmla="*/ 751064 w 761692"/>
                    <a:gd name="connsiteY112" fmla="*/ 581012 h 1016771"/>
                    <a:gd name="connsiteX113" fmla="*/ 761692 w 761692"/>
                    <a:gd name="connsiteY113" fmla="*/ 604040 h 1016771"/>
                    <a:gd name="connsiteX114" fmla="*/ 747521 w 761692"/>
                    <a:gd name="connsiteY114" fmla="*/ 616440 h 1016771"/>
                    <a:gd name="connsiteX115" fmla="*/ 728036 w 761692"/>
                    <a:gd name="connsiteY115" fmla="*/ 627068 h 1016771"/>
                    <a:gd name="connsiteX116" fmla="*/ 726264 w 761692"/>
                    <a:gd name="connsiteY116" fmla="*/ 650096 h 1016771"/>
                    <a:gd name="connsiteX117" fmla="*/ 728036 w 761692"/>
                    <a:gd name="connsiteY117" fmla="*/ 673124 h 1016771"/>
                    <a:gd name="connsiteX118" fmla="*/ 742207 w 761692"/>
                    <a:gd name="connsiteY118" fmla="*/ 689066 h 1016771"/>
                    <a:gd name="connsiteX119" fmla="*/ 742207 w 761692"/>
                    <a:gd name="connsiteY119" fmla="*/ 712094 h 1016771"/>
                    <a:gd name="connsiteX120" fmla="*/ 740435 w 761692"/>
                    <a:gd name="connsiteY120" fmla="*/ 735122 h 1016771"/>
                    <a:gd name="connsiteX121" fmla="*/ 742207 w 761692"/>
                    <a:gd name="connsiteY121" fmla="*/ 751065 h 1016771"/>
                    <a:gd name="connsiteX122" fmla="*/ 747521 w 761692"/>
                    <a:gd name="connsiteY122" fmla="*/ 768778 h 1016771"/>
                    <a:gd name="connsiteX123" fmla="*/ 759921 w 761692"/>
                    <a:gd name="connsiteY123" fmla="*/ 777635 h 1016771"/>
                    <a:gd name="connsiteX124" fmla="*/ 758149 w 761692"/>
                    <a:gd name="connsiteY124" fmla="*/ 802434 h 1016771"/>
                    <a:gd name="connsiteX125" fmla="*/ 752835 w 761692"/>
                    <a:gd name="connsiteY125" fmla="*/ 814834 h 1016771"/>
                    <a:gd name="connsiteX126" fmla="*/ 743978 w 761692"/>
                    <a:gd name="connsiteY126" fmla="*/ 827234 h 1016771"/>
                    <a:gd name="connsiteX127" fmla="*/ 743978 w 761692"/>
                    <a:gd name="connsiteY127" fmla="*/ 837862 h 1016771"/>
                    <a:gd name="connsiteX128" fmla="*/ 747521 w 761692"/>
                    <a:gd name="connsiteY128" fmla="*/ 853804 h 1016771"/>
                    <a:gd name="connsiteX129" fmla="*/ 733350 w 761692"/>
                    <a:gd name="connsiteY129" fmla="*/ 867975 h 1016771"/>
                    <a:gd name="connsiteX130" fmla="*/ 724493 w 761692"/>
                    <a:gd name="connsiteY130" fmla="*/ 880375 h 1016771"/>
                    <a:gd name="connsiteX131" fmla="*/ 722722 w 761692"/>
                    <a:gd name="connsiteY131" fmla="*/ 899860 h 1016771"/>
                    <a:gd name="connsiteX132" fmla="*/ 722722 w 761692"/>
                    <a:gd name="connsiteY132" fmla="*/ 919345 h 1016771"/>
                    <a:gd name="connsiteX133" fmla="*/ 715636 w 761692"/>
                    <a:gd name="connsiteY133" fmla="*/ 940602 h 1016771"/>
                    <a:gd name="connsiteX134" fmla="*/ 708551 w 761692"/>
                    <a:gd name="connsiteY134" fmla="*/ 954773 h 1016771"/>
                    <a:gd name="connsiteX135" fmla="*/ 699694 w 761692"/>
                    <a:gd name="connsiteY135" fmla="*/ 965401 h 1016771"/>
                    <a:gd name="connsiteX136" fmla="*/ 692608 w 761692"/>
                    <a:gd name="connsiteY136" fmla="*/ 984886 h 1016771"/>
                    <a:gd name="connsiteX137" fmla="*/ 683751 w 761692"/>
                    <a:gd name="connsiteY137" fmla="*/ 997286 h 1016771"/>
                    <a:gd name="connsiteX138" fmla="*/ 673123 w 761692"/>
                    <a:gd name="connsiteY138" fmla="*/ 1002600 h 1016771"/>
                    <a:gd name="connsiteX139" fmla="*/ 662495 w 761692"/>
                    <a:gd name="connsiteY139" fmla="*/ 1013228 h 1016771"/>
                    <a:gd name="connsiteX140" fmla="*/ 644781 w 761692"/>
                    <a:gd name="connsiteY140" fmla="*/ 1016771 h 1016771"/>
                    <a:gd name="connsiteX141" fmla="*/ 635924 w 761692"/>
                    <a:gd name="connsiteY141" fmla="*/ 1004372 h 1016771"/>
                    <a:gd name="connsiteX142" fmla="*/ 623525 w 761692"/>
                    <a:gd name="connsiteY142" fmla="*/ 997286 h 1016771"/>
                    <a:gd name="connsiteX143" fmla="*/ 614668 w 761692"/>
                    <a:gd name="connsiteY143" fmla="*/ 986658 h 1016771"/>
                    <a:gd name="connsiteX144" fmla="*/ 593411 w 761692"/>
                    <a:gd name="connsiteY144" fmla="*/ 970715 h 1016771"/>
                    <a:gd name="connsiteX145" fmla="*/ 582783 w 761692"/>
                    <a:gd name="connsiteY145" fmla="*/ 965401 h 1016771"/>
                    <a:gd name="connsiteX146" fmla="*/ 531413 w 761692"/>
                    <a:gd name="connsiteY146" fmla="*/ 965401 h 1016771"/>
                    <a:gd name="connsiteX147" fmla="*/ 511928 w 761692"/>
                    <a:gd name="connsiteY147" fmla="*/ 965401 h 1016771"/>
                    <a:gd name="connsiteX148" fmla="*/ 492443 w 761692"/>
                    <a:gd name="connsiteY148" fmla="*/ 963630 h 1016771"/>
                    <a:gd name="connsiteX149" fmla="*/ 483586 w 761692"/>
                    <a:gd name="connsiteY149" fmla="*/ 958316 h 1016771"/>
                    <a:gd name="connsiteX150" fmla="*/ 469415 w 761692"/>
                    <a:gd name="connsiteY150" fmla="*/ 954773 h 1016771"/>
                    <a:gd name="connsiteX151" fmla="*/ 460558 w 761692"/>
                    <a:gd name="connsiteY151" fmla="*/ 942373 h 1016771"/>
                    <a:gd name="connsiteX152" fmla="*/ 446387 w 761692"/>
                    <a:gd name="connsiteY152" fmla="*/ 935288 h 1016771"/>
                    <a:gd name="connsiteX153" fmla="*/ 428673 w 761692"/>
                    <a:gd name="connsiteY153" fmla="*/ 928202 h 1016771"/>
                    <a:gd name="connsiteX154" fmla="*/ 418045 w 761692"/>
                    <a:gd name="connsiteY154" fmla="*/ 917574 h 1016771"/>
                    <a:gd name="connsiteX155" fmla="*/ 421588 w 761692"/>
                    <a:gd name="connsiteY155" fmla="*/ 903403 h 1016771"/>
                    <a:gd name="connsiteX156" fmla="*/ 418045 w 761692"/>
                    <a:gd name="connsiteY156" fmla="*/ 898089 h 1016771"/>
                    <a:gd name="connsiteX157" fmla="*/ 396788 w 761692"/>
                    <a:gd name="connsiteY157" fmla="*/ 898089 h 1016771"/>
                    <a:gd name="connsiteX158" fmla="*/ 382617 w 761692"/>
                    <a:gd name="connsiteY158" fmla="*/ 896318 h 1016771"/>
                    <a:gd name="connsiteX159" fmla="*/ 380846 w 761692"/>
                    <a:gd name="connsiteY159" fmla="*/ 906946 h 1016771"/>
                    <a:gd name="connsiteX160" fmla="*/ 373601 w 761692"/>
                    <a:gd name="connsiteY160" fmla="*/ 894832 h 1016771"/>
                    <a:gd name="connsiteX161" fmla="*/ 387164 w 761692"/>
                    <a:gd name="connsiteY161" fmla="*/ 896527 h 1016771"/>
                    <a:gd name="connsiteX162" fmla="*/ 383773 w 761692"/>
                    <a:gd name="connsiteY162" fmla="*/ 886355 h 1016771"/>
                    <a:gd name="connsiteX163" fmla="*/ 387164 w 761692"/>
                    <a:gd name="connsiteY163" fmla="*/ 876183 h 1016771"/>
                    <a:gd name="connsiteX164" fmla="*/ 388859 w 761692"/>
                    <a:gd name="connsiteY164" fmla="*/ 867707 h 1016771"/>
                    <a:gd name="connsiteX165" fmla="*/ 380382 w 761692"/>
                    <a:gd name="connsiteY165" fmla="*/ 859230 h 1016771"/>
                    <a:gd name="connsiteX166" fmla="*/ 373601 w 761692"/>
                    <a:gd name="connsiteY166" fmla="*/ 849058 h 1016771"/>
                    <a:gd name="connsiteX167" fmla="*/ 380382 w 761692"/>
                    <a:gd name="connsiteY167" fmla="*/ 838886 h 1016771"/>
                    <a:gd name="connsiteX168" fmla="*/ 383773 w 761692"/>
                    <a:gd name="connsiteY168" fmla="*/ 833800 h 1016771"/>
                    <a:gd name="connsiteX169" fmla="*/ 388859 w 761692"/>
                    <a:gd name="connsiteY169" fmla="*/ 825324 h 1016771"/>
                    <a:gd name="connsiteX170" fmla="*/ 387164 w 761692"/>
                    <a:gd name="connsiteY170" fmla="*/ 810066 h 1016771"/>
                    <a:gd name="connsiteX171" fmla="*/ 387164 w 761692"/>
                    <a:gd name="connsiteY171" fmla="*/ 796503 h 1016771"/>
                    <a:gd name="connsiteX172" fmla="*/ 378687 w 761692"/>
                    <a:gd name="connsiteY172" fmla="*/ 789722 h 1016771"/>
                    <a:gd name="connsiteX173" fmla="*/ 366820 w 761692"/>
                    <a:gd name="connsiteY173" fmla="*/ 782940 h 1016771"/>
                    <a:gd name="connsiteX174" fmla="*/ 356648 w 761692"/>
                    <a:gd name="connsiteY174" fmla="*/ 781245 h 1016771"/>
                    <a:gd name="connsiteX175" fmla="*/ 349866 w 761692"/>
                    <a:gd name="connsiteY175" fmla="*/ 771073 h 1016771"/>
                    <a:gd name="connsiteX176" fmla="*/ 349866 w 761692"/>
                    <a:gd name="connsiteY176" fmla="*/ 752425 h 1016771"/>
                    <a:gd name="connsiteX177" fmla="*/ 353257 w 761692"/>
                    <a:gd name="connsiteY177" fmla="*/ 743948 h 1016771"/>
                    <a:gd name="connsiteX178" fmla="*/ 354952 w 761692"/>
                    <a:gd name="connsiteY178" fmla="*/ 730385 h 1016771"/>
                    <a:gd name="connsiteX179" fmla="*/ 353257 w 761692"/>
                    <a:gd name="connsiteY179" fmla="*/ 713432 h 1016771"/>
                    <a:gd name="connsiteX180" fmla="*/ 346476 w 761692"/>
                    <a:gd name="connsiteY180" fmla="*/ 701565 h 1016771"/>
                    <a:gd name="connsiteX181" fmla="*/ 332913 w 761692"/>
                    <a:gd name="connsiteY181" fmla="*/ 689697 h 1016771"/>
                    <a:gd name="connsiteX182" fmla="*/ 324436 w 761692"/>
                    <a:gd name="connsiteY182" fmla="*/ 681221 h 1016771"/>
                    <a:gd name="connsiteX183" fmla="*/ 314264 w 761692"/>
                    <a:gd name="connsiteY183" fmla="*/ 676135 h 1016771"/>
                    <a:gd name="connsiteX184" fmla="*/ 293920 w 761692"/>
                    <a:gd name="connsiteY184" fmla="*/ 669354 h 1016771"/>
                    <a:gd name="connsiteX185" fmla="*/ 282053 w 761692"/>
                    <a:gd name="connsiteY185" fmla="*/ 667658 h 1016771"/>
                    <a:gd name="connsiteX186" fmla="*/ 266795 w 761692"/>
                    <a:gd name="connsiteY186" fmla="*/ 672744 h 1016771"/>
                    <a:gd name="connsiteX187" fmla="*/ 265100 w 761692"/>
                    <a:gd name="connsiteY187" fmla="*/ 672744 h 1016771"/>
                    <a:gd name="connsiteX188" fmla="*/ 263404 w 761692"/>
                    <a:gd name="connsiteY188" fmla="*/ 671049 h 1016771"/>
                    <a:gd name="connsiteX189" fmla="*/ 260014 w 761692"/>
                    <a:gd name="connsiteY189" fmla="*/ 671049 h 1016771"/>
                    <a:gd name="connsiteX190" fmla="*/ 258318 w 761692"/>
                    <a:gd name="connsiteY190" fmla="*/ 671049 h 1016771"/>
                    <a:gd name="connsiteX191" fmla="*/ 253232 w 761692"/>
                    <a:gd name="connsiteY191" fmla="*/ 671049 h 1016771"/>
                    <a:gd name="connsiteX192" fmla="*/ 248146 w 761692"/>
                    <a:gd name="connsiteY192" fmla="*/ 672744 h 1016771"/>
                    <a:gd name="connsiteX193" fmla="*/ 248146 w 761692"/>
                    <a:gd name="connsiteY193" fmla="*/ 674440 h 1016771"/>
                    <a:gd name="connsiteX194" fmla="*/ 246451 w 761692"/>
                    <a:gd name="connsiteY194" fmla="*/ 674440 h 1016771"/>
                    <a:gd name="connsiteX195" fmla="*/ 236279 w 761692"/>
                    <a:gd name="connsiteY195" fmla="*/ 679526 h 1016771"/>
                    <a:gd name="connsiteX196" fmla="*/ 226107 w 761692"/>
                    <a:gd name="connsiteY196" fmla="*/ 684612 h 1016771"/>
                    <a:gd name="connsiteX197" fmla="*/ 217630 w 761692"/>
                    <a:gd name="connsiteY197" fmla="*/ 684612 h 1016771"/>
                    <a:gd name="connsiteX198" fmla="*/ 207458 w 761692"/>
                    <a:gd name="connsiteY198" fmla="*/ 693088 h 1016771"/>
                    <a:gd name="connsiteX199" fmla="*/ 198982 w 761692"/>
                    <a:gd name="connsiteY199" fmla="*/ 694783 h 1016771"/>
                    <a:gd name="connsiteX200" fmla="*/ 192200 w 761692"/>
                    <a:gd name="connsiteY200" fmla="*/ 699869 h 1016771"/>
                    <a:gd name="connsiteX201" fmla="*/ 178638 w 761692"/>
                    <a:gd name="connsiteY201" fmla="*/ 706651 h 1016771"/>
                    <a:gd name="connsiteX202" fmla="*/ 163380 w 761692"/>
                    <a:gd name="connsiteY202" fmla="*/ 710041 h 1016771"/>
                    <a:gd name="connsiteX203" fmla="*/ 141340 w 761692"/>
                    <a:gd name="connsiteY203" fmla="*/ 710041 h 1016771"/>
                    <a:gd name="connsiteX204" fmla="*/ 134559 w 761692"/>
                    <a:gd name="connsiteY204" fmla="*/ 716823 h 1016771"/>
                    <a:gd name="connsiteX205" fmla="*/ 127778 w 761692"/>
                    <a:gd name="connsiteY205" fmla="*/ 718518 h 1016771"/>
                    <a:gd name="connsiteX206" fmla="*/ 120996 w 761692"/>
                    <a:gd name="connsiteY206" fmla="*/ 725299 h 1016771"/>
                    <a:gd name="connsiteX207" fmla="*/ 111172 w 761692"/>
                    <a:gd name="connsiteY207" fmla="*/ 733720 h 1016771"/>
                    <a:gd name="connsiteX208" fmla="*/ 106283 w 761692"/>
                    <a:gd name="connsiteY208" fmla="*/ 729808 h 1016771"/>
                    <a:gd name="connsiteX209" fmla="*/ 92112 w 761692"/>
                    <a:gd name="connsiteY209" fmla="*/ 724494 h 1016771"/>
                    <a:gd name="connsiteX210" fmla="*/ 77941 w 761692"/>
                    <a:gd name="connsiteY210" fmla="*/ 726265 h 1016771"/>
                    <a:gd name="connsiteX211" fmla="*/ 70855 w 761692"/>
                    <a:gd name="connsiteY211" fmla="*/ 719180 h 1016771"/>
                    <a:gd name="connsiteX212" fmla="*/ 70855 w 761692"/>
                    <a:gd name="connsiteY212" fmla="*/ 699695 h 1016771"/>
                    <a:gd name="connsiteX213" fmla="*/ 81483 w 761692"/>
                    <a:gd name="connsiteY213" fmla="*/ 685524 h 1016771"/>
                    <a:gd name="connsiteX214" fmla="*/ 85026 w 761692"/>
                    <a:gd name="connsiteY214" fmla="*/ 673124 h 1016771"/>
                    <a:gd name="connsiteX215" fmla="*/ 86797 w 761692"/>
                    <a:gd name="connsiteY215" fmla="*/ 660724 h 1016771"/>
                    <a:gd name="connsiteX216" fmla="*/ 97426 w 761692"/>
                    <a:gd name="connsiteY216" fmla="*/ 650096 h 1016771"/>
                    <a:gd name="connsiteX217" fmla="*/ 102740 w 761692"/>
                    <a:gd name="connsiteY217" fmla="*/ 635925 h 1016771"/>
                    <a:gd name="connsiteX218" fmla="*/ 113368 w 761692"/>
                    <a:gd name="connsiteY218" fmla="*/ 625297 h 1016771"/>
                    <a:gd name="connsiteX219" fmla="*/ 115139 w 761692"/>
                    <a:gd name="connsiteY219" fmla="*/ 612897 h 1016771"/>
                    <a:gd name="connsiteX220" fmla="*/ 127539 w 761692"/>
                    <a:gd name="connsiteY220" fmla="*/ 609354 h 1016771"/>
                    <a:gd name="connsiteX221" fmla="*/ 136396 w 761692"/>
                    <a:gd name="connsiteY221" fmla="*/ 604040 h 1016771"/>
                    <a:gd name="connsiteX222" fmla="*/ 132853 w 761692"/>
                    <a:gd name="connsiteY222" fmla="*/ 593412 h 1016771"/>
                    <a:gd name="connsiteX223" fmla="*/ 134625 w 761692"/>
                    <a:gd name="connsiteY223" fmla="*/ 584555 h 1016771"/>
                    <a:gd name="connsiteX224" fmla="*/ 131082 w 761692"/>
                    <a:gd name="connsiteY224" fmla="*/ 575698 h 1016771"/>
                    <a:gd name="connsiteX225" fmla="*/ 120454 w 761692"/>
                    <a:gd name="connsiteY225" fmla="*/ 568613 h 1016771"/>
                    <a:gd name="connsiteX226" fmla="*/ 125768 w 761692"/>
                    <a:gd name="connsiteY226" fmla="*/ 552670 h 1016771"/>
                    <a:gd name="connsiteX227" fmla="*/ 118682 w 761692"/>
                    <a:gd name="connsiteY227" fmla="*/ 543813 h 1016771"/>
                    <a:gd name="connsiteX228" fmla="*/ 90340 w 761692"/>
                    <a:gd name="connsiteY228" fmla="*/ 543813 h 1016771"/>
                    <a:gd name="connsiteX229" fmla="*/ 86797 w 761692"/>
                    <a:gd name="connsiteY229" fmla="*/ 542042 h 1016771"/>
                    <a:gd name="connsiteX230" fmla="*/ 83255 w 761692"/>
                    <a:gd name="connsiteY230" fmla="*/ 542042 h 1016771"/>
                    <a:gd name="connsiteX231" fmla="*/ 81483 w 761692"/>
                    <a:gd name="connsiteY231" fmla="*/ 540271 h 1016771"/>
                    <a:gd name="connsiteX232" fmla="*/ 81483 w 761692"/>
                    <a:gd name="connsiteY232" fmla="*/ 536728 h 1016771"/>
                    <a:gd name="connsiteX233" fmla="*/ 79712 w 761692"/>
                    <a:gd name="connsiteY233" fmla="*/ 531414 h 1016771"/>
                    <a:gd name="connsiteX234" fmla="*/ 77941 w 761692"/>
                    <a:gd name="connsiteY234" fmla="*/ 529642 h 1016771"/>
                    <a:gd name="connsiteX235" fmla="*/ 70855 w 761692"/>
                    <a:gd name="connsiteY235" fmla="*/ 527871 h 1016771"/>
                    <a:gd name="connsiteX236" fmla="*/ 60227 w 761692"/>
                    <a:gd name="connsiteY236" fmla="*/ 536728 h 1016771"/>
                    <a:gd name="connsiteX237" fmla="*/ 47827 w 761692"/>
                    <a:gd name="connsiteY237" fmla="*/ 526100 h 1016771"/>
                    <a:gd name="connsiteX238" fmla="*/ 42513 w 761692"/>
                    <a:gd name="connsiteY238" fmla="*/ 515471 h 1016771"/>
                    <a:gd name="connsiteX239" fmla="*/ 33656 w 761692"/>
                    <a:gd name="connsiteY239" fmla="*/ 506614 h 1016771"/>
                    <a:gd name="connsiteX240" fmla="*/ 31885 w 761692"/>
                    <a:gd name="connsiteY240" fmla="*/ 490672 h 1016771"/>
                    <a:gd name="connsiteX241" fmla="*/ 26571 w 761692"/>
                    <a:gd name="connsiteY241" fmla="*/ 476501 h 1016771"/>
                    <a:gd name="connsiteX242" fmla="*/ 24799 w 761692"/>
                    <a:gd name="connsiteY242" fmla="*/ 471187 h 1016771"/>
                    <a:gd name="connsiteX243" fmla="*/ 12400 w 761692"/>
                    <a:gd name="connsiteY243" fmla="*/ 472958 h 1016771"/>
                    <a:gd name="connsiteX244" fmla="*/ 7086 w 761692"/>
                    <a:gd name="connsiteY244" fmla="*/ 464101 h 1016771"/>
                    <a:gd name="connsiteX245" fmla="*/ 8857 w 761692"/>
                    <a:gd name="connsiteY245" fmla="*/ 446388 h 1016771"/>
                    <a:gd name="connsiteX246" fmla="*/ 3543 w 761692"/>
                    <a:gd name="connsiteY246" fmla="*/ 435759 h 1016771"/>
                    <a:gd name="connsiteX247" fmla="*/ 5314 w 761692"/>
                    <a:gd name="connsiteY247" fmla="*/ 412731 h 1016771"/>
                    <a:gd name="connsiteX248" fmla="*/ 0 w 761692"/>
                    <a:gd name="connsiteY248" fmla="*/ 396789 h 1016771"/>
                    <a:gd name="connsiteX249" fmla="*/ 3543 w 761692"/>
                    <a:gd name="connsiteY249" fmla="*/ 384389 h 1016771"/>
                    <a:gd name="connsiteX250" fmla="*/ 14171 w 761692"/>
                    <a:gd name="connsiteY250" fmla="*/ 380846 h 1016771"/>
                    <a:gd name="connsiteX251" fmla="*/ 24799 w 761692"/>
                    <a:gd name="connsiteY251" fmla="*/ 364904 h 1016771"/>
                    <a:gd name="connsiteX252" fmla="*/ 30113 w 761692"/>
                    <a:gd name="connsiteY252" fmla="*/ 350733 h 1016771"/>
                    <a:gd name="connsiteX253" fmla="*/ 35428 w 761692"/>
                    <a:gd name="connsiteY253" fmla="*/ 341876 h 1016771"/>
                    <a:gd name="connsiteX254" fmla="*/ 42513 w 761692"/>
                    <a:gd name="connsiteY254" fmla="*/ 327705 h 1016771"/>
                    <a:gd name="connsiteX255" fmla="*/ 42513 w 761692"/>
                    <a:gd name="connsiteY255" fmla="*/ 315305 h 1016771"/>
                    <a:gd name="connsiteX256" fmla="*/ 56684 w 761692"/>
                    <a:gd name="connsiteY256" fmla="*/ 309991 h 1016771"/>
                    <a:gd name="connsiteX257" fmla="*/ 60227 w 761692"/>
                    <a:gd name="connsiteY257" fmla="*/ 309991 h 1016771"/>
                    <a:gd name="connsiteX258" fmla="*/ 61998 w 761692"/>
                    <a:gd name="connsiteY258" fmla="*/ 311763 h 1016771"/>
                    <a:gd name="connsiteX259" fmla="*/ 67312 w 761692"/>
                    <a:gd name="connsiteY259" fmla="*/ 311763 h 1016771"/>
                    <a:gd name="connsiteX260" fmla="*/ 67312 w 761692"/>
                    <a:gd name="connsiteY260" fmla="*/ 309991 h 1016771"/>
                    <a:gd name="connsiteX261" fmla="*/ 67312 w 761692"/>
                    <a:gd name="connsiteY261" fmla="*/ 308220 h 1016771"/>
                    <a:gd name="connsiteX262" fmla="*/ 69084 w 761692"/>
                    <a:gd name="connsiteY262" fmla="*/ 302906 h 1016771"/>
                    <a:gd name="connsiteX263" fmla="*/ 70855 w 761692"/>
                    <a:gd name="connsiteY263" fmla="*/ 301134 h 1016771"/>
                    <a:gd name="connsiteX264" fmla="*/ 70855 w 761692"/>
                    <a:gd name="connsiteY264" fmla="*/ 299363 h 1016771"/>
                    <a:gd name="connsiteX265" fmla="*/ 77941 w 761692"/>
                    <a:gd name="connsiteY265" fmla="*/ 295820 h 1016771"/>
                    <a:gd name="connsiteX266" fmla="*/ 85026 w 761692"/>
                    <a:gd name="connsiteY266" fmla="*/ 295820 h 1016771"/>
                    <a:gd name="connsiteX267" fmla="*/ 93883 w 761692"/>
                    <a:gd name="connsiteY267" fmla="*/ 297592 h 1016771"/>
                    <a:gd name="connsiteX268" fmla="*/ 100968 w 761692"/>
                    <a:gd name="connsiteY268" fmla="*/ 288735 h 1016771"/>
                    <a:gd name="connsiteX269" fmla="*/ 97426 w 761692"/>
                    <a:gd name="connsiteY269" fmla="*/ 279878 h 1016771"/>
                    <a:gd name="connsiteX270" fmla="*/ 85026 w 761692"/>
                    <a:gd name="connsiteY270" fmla="*/ 276335 h 1016771"/>
                    <a:gd name="connsiteX271" fmla="*/ 76169 w 761692"/>
                    <a:gd name="connsiteY271" fmla="*/ 271021 h 1016771"/>
                    <a:gd name="connsiteX272" fmla="*/ 76169 w 761692"/>
                    <a:gd name="connsiteY272" fmla="*/ 262164 h 1016771"/>
                    <a:gd name="connsiteX273" fmla="*/ 81483 w 761692"/>
                    <a:gd name="connsiteY273" fmla="*/ 251536 h 1016771"/>
                    <a:gd name="connsiteX274" fmla="*/ 86797 w 761692"/>
                    <a:gd name="connsiteY274" fmla="*/ 255079 h 1016771"/>
                    <a:gd name="connsiteX275" fmla="*/ 104511 w 761692"/>
                    <a:gd name="connsiteY275" fmla="*/ 262164 h 1016771"/>
                    <a:gd name="connsiteX276" fmla="*/ 116911 w 761692"/>
                    <a:gd name="connsiteY276" fmla="*/ 265707 h 1016771"/>
                    <a:gd name="connsiteX277" fmla="*/ 132853 w 761692"/>
                    <a:gd name="connsiteY277" fmla="*/ 269250 h 1016771"/>
                    <a:gd name="connsiteX278" fmla="*/ 138167 w 761692"/>
                    <a:gd name="connsiteY278" fmla="*/ 265707 h 1016771"/>
                    <a:gd name="connsiteX279" fmla="*/ 150567 w 761692"/>
                    <a:gd name="connsiteY279" fmla="*/ 255079 h 1016771"/>
                    <a:gd name="connsiteX280" fmla="*/ 166509 w 761692"/>
                    <a:gd name="connsiteY280" fmla="*/ 255079 h 1016771"/>
                    <a:gd name="connsiteX281" fmla="*/ 166509 w 761692"/>
                    <a:gd name="connsiteY281" fmla="*/ 265707 h 1016771"/>
                    <a:gd name="connsiteX282" fmla="*/ 177138 w 761692"/>
                    <a:gd name="connsiteY282" fmla="*/ 272792 h 1016771"/>
                    <a:gd name="connsiteX283" fmla="*/ 194851 w 761692"/>
                    <a:gd name="connsiteY283" fmla="*/ 276335 h 1016771"/>
                    <a:gd name="connsiteX284" fmla="*/ 209022 w 761692"/>
                    <a:gd name="connsiteY284" fmla="*/ 279878 h 1016771"/>
                    <a:gd name="connsiteX285" fmla="*/ 221422 w 761692"/>
                    <a:gd name="connsiteY285" fmla="*/ 276335 h 1016771"/>
                    <a:gd name="connsiteX286" fmla="*/ 226736 w 761692"/>
                    <a:gd name="connsiteY286" fmla="*/ 269250 h 1016771"/>
                    <a:gd name="connsiteX287" fmla="*/ 226736 w 761692"/>
                    <a:gd name="connsiteY287" fmla="*/ 251536 h 1016771"/>
                    <a:gd name="connsiteX288" fmla="*/ 224965 w 761692"/>
                    <a:gd name="connsiteY288" fmla="*/ 239136 h 1016771"/>
                    <a:gd name="connsiteX289" fmla="*/ 214337 w 761692"/>
                    <a:gd name="connsiteY289" fmla="*/ 230279 h 1016771"/>
                    <a:gd name="connsiteX290" fmla="*/ 210794 w 761692"/>
                    <a:gd name="connsiteY290" fmla="*/ 217880 h 1016771"/>
                    <a:gd name="connsiteX291" fmla="*/ 221422 w 761692"/>
                    <a:gd name="connsiteY291" fmla="*/ 207251 h 1016771"/>
                    <a:gd name="connsiteX292" fmla="*/ 235593 w 761692"/>
                    <a:gd name="connsiteY292" fmla="*/ 214337 h 1016771"/>
                    <a:gd name="connsiteX293" fmla="*/ 246221 w 761692"/>
                    <a:gd name="connsiteY293" fmla="*/ 219651 h 1016771"/>
                    <a:gd name="connsiteX294" fmla="*/ 253307 w 761692"/>
                    <a:gd name="connsiteY294" fmla="*/ 221422 h 1016771"/>
                    <a:gd name="connsiteX295" fmla="*/ 262164 w 761692"/>
                    <a:gd name="connsiteY295" fmla="*/ 210794 h 1016771"/>
                    <a:gd name="connsiteX296" fmla="*/ 263935 w 761692"/>
                    <a:gd name="connsiteY296" fmla="*/ 201937 h 1016771"/>
                    <a:gd name="connsiteX297" fmla="*/ 274563 w 761692"/>
                    <a:gd name="connsiteY297" fmla="*/ 189538 h 1016771"/>
                    <a:gd name="connsiteX298" fmla="*/ 283420 w 761692"/>
                    <a:gd name="connsiteY298" fmla="*/ 178909 h 1016771"/>
                    <a:gd name="connsiteX299" fmla="*/ 286963 w 761692"/>
                    <a:gd name="connsiteY299" fmla="*/ 173595 h 1016771"/>
                    <a:gd name="connsiteX300" fmla="*/ 311762 w 761692"/>
                    <a:gd name="connsiteY300" fmla="*/ 168281 h 1016771"/>
                    <a:gd name="connsiteX301" fmla="*/ 325933 w 761692"/>
                    <a:gd name="connsiteY301" fmla="*/ 164738 h 1016771"/>
                    <a:gd name="connsiteX302" fmla="*/ 336562 w 761692"/>
                    <a:gd name="connsiteY302" fmla="*/ 159424 h 1016771"/>
                    <a:gd name="connsiteX303" fmla="*/ 348961 w 761692"/>
                    <a:gd name="connsiteY303" fmla="*/ 145253 h 1016771"/>
                    <a:gd name="connsiteX304" fmla="*/ 359589 w 761692"/>
                    <a:gd name="connsiteY304" fmla="*/ 143482 h 1016771"/>
                    <a:gd name="connsiteX305" fmla="*/ 371989 w 761692"/>
                    <a:gd name="connsiteY305" fmla="*/ 143482 h 1016771"/>
                    <a:gd name="connsiteX306" fmla="*/ 391474 w 761692"/>
                    <a:gd name="connsiteY306" fmla="*/ 143482 h 1016771"/>
                    <a:gd name="connsiteX307" fmla="*/ 396788 w 761692"/>
                    <a:gd name="connsiteY307" fmla="*/ 141710 h 1016771"/>
                    <a:gd name="connsiteX308" fmla="*/ 403874 w 761692"/>
                    <a:gd name="connsiteY308" fmla="*/ 134625 h 1016771"/>
                    <a:gd name="connsiteX309" fmla="*/ 409188 w 761692"/>
                    <a:gd name="connsiteY309" fmla="*/ 129311 h 1016771"/>
                    <a:gd name="connsiteX310" fmla="*/ 409188 w 761692"/>
                    <a:gd name="connsiteY310" fmla="*/ 123997 h 1016771"/>
                    <a:gd name="connsiteX311" fmla="*/ 414502 w 761692"/>
                    <a:gd name="connsiteY311" fmla="*/ 115140 h 1016771"/>
                    <a:gd name="connsiteX312" fmla="*/ 428673 w 761692"/>
                    <a:gd name="connsiteY312" fmla="*/ 115140 h 1016771"/>
                    <a:gd name="connsiteX313" fmla="*/ 432216 w 761692"/>
                    <a:gd name="connsiteY313" fmla="*/ 109826 h 1016771"/>
                    <a:gd name="connsiteX314" fmla="*/ 437530 w 761692"/>
                    <a:gd name="connsiteY314" fmla="*/ 100969 h 1016771"/>
                    <a:gd name="connsiteX315" fmla="*/ 448158 w 761692"/>
                    <a:gd name="connsiteY315" fmla="*/ 99197 h 1016771"/>
                    <a:gd name="connsiteX316" fmla="*/ 460558 w 761692"/>
                    <a:gd name="connsiteY316" fmla="*/ 97426 h 1016771"/>
                    <a:gd name="connsiteX317" fmla="*/ 472958 w 761692"/>
                    <a:gd name="connsiteY317" fmla="*/ 93883 h 1016771"/>
                    <a:gd name="connsiteX318" fmla="*/ 492443 w 761692"/>
                    <a:gd name="connsiteY318" fmla="*/ 93883 h 1016771"/>
                    <a:gd name="connsiteX319" fmla="*/ 501300 w 761692"/>
                    <a:gd name="connsiteY319" fmla="*/ 83255 h 1016771"/>
                    <a:gd name="connsiteX320" fmla="*/ 517242 w 761692"/>
                    <a:gd name="connsiteY320" fmla="*/ 81484 h 1016771"/>
                    <a:gd name="connsiteX321" fmla="*/ 522556 w 761692"/>
                    <a:gd name="connsiteY321" fmla="*/ 81484 h 1016771"/>
                    <a:gd name="connsiteX322" fmla="*/ 522556 w 761692"/>
                    <a:gd name="connsiteY322" fmla="*/ 60227 h 1016771"/>
                    <a:gd name="connsiteX323" fmla="*/ 526099 w 761692"/>
                    <a:gd name="connsiteY323" fmla="*/ 54913 h 1016771"/>
                    <a:gd name="connsiteX324" fmla="*/ 529642 w 761692"/>
                    <a:gd name="connsiteY324" fmla="*/ 46056 h 1016771"/>
                    <a:gd name="connsiteX325" fmla="*/ 538499 w 761692"/>
                    <a:gd name="connsiteY325" fmla="*/ 40742 h 1016771"/>
                    <a:gd name="connsiteX326" fmla="*/ 540270 w 761692"/>
                    <a:gd name="connsiteY326" fmla="*/ 30114 h 1016771"/>
                    <a:gd name="connsiteX327" fmla="*/ 536727 w 761692"/>
                    <a:gd name="connsiteY327" fmla="*/ 19485 h 1016771"/>
                    <a:gd name="connsiteX328" fmla="*/ 543813 w 761692"/>
                    <a:gd name="connsiteY328" fmla="*/ 5314 h 1016771"/>
                    <a:gd name="connsiteX329" fmla="*/ 554441 w 761692"/>
                    <a:gd name="connsiteY329" fmla="*/ 0 h 1016771"/>
                    <a:gd name="connsiteX0" fmla="*/ 222919 w 761692"/>
                    <a:gd name="connsiteY0" fmla="*/ 879608 h 1016771"/>
                    <a:gd name="connsiteX1" fmla="*/ 243060 w 761692"/>
                    <a:gd name="connsiteY1" fmla="*/ 882965 h 1016771"/>
                    <a:gd name="connsiteX2" fmla="*/ 224965 w 761692"/>
                    <a:gd name="connsiteY2" fmla="*/ 880375 h 1016771"/>
                    <a:gd name="connsiteX3" fmla="*/ 222919 w 761692"/>
                    <a:gd name="connsiteY3" fmla="*/ 879608 h 1016771"/>
                    <a:gd name="connsiteX4" fmla="*/ 159250 w 761692"/>
                    <a:gd name="connsiteY4" fmla="*/ 829179 h 1016771"/>
                    <a:gd name="connsiteX5" fmla="*/ 159989 w 761692"/>
                    <a:gd name="connsiteY5" fmla="*/ 830410 h 1016771"/>
                    <a:gd name="connsiteX6" fmla="*/ 151512 w 761692"/>
                    <a:gd name="connsiteY6" fmla="*/ 838886 h 1016771"/>
                    <a:gd name="connsiteX7" fmla="*/ 149817 w 761692"/>
                    <a:gd name="connsiteY7" fmla="*/ 840582 h 1016771"/>
                    <a:gd name="connsiteX8" fmla="*/ 148122 w 761692"/>
                    <a:gd name="connsiteY8" fmla="*/ 842277 h 1016771"/>
                    <a:gd name="connsiteX9" fmla="*/ 146426 w 761692"/>
                    <a:gd name="connsiteY9" fmla="*/ 843972 h 1016771"/>
                    <a:gd name="connsiteX10" fmla="*/ 141340 w 761692"/>
                    <a:gd name="connsiteY10" fmla="*/ 849058 h 1016771"/>
                    <a:gd name="connsiteX11" fmla="*/ 141340 w 761692"/>
                    <a:gd name="connsiteY11" fmla="*/ 850754 h 1016771"/>
                    <a:gd name="connsiteX12" fmla="*/ 139645 w 761692"/>
                    <a:gd name="connsiteY12" fmla="*/ 852449 h 1016771"/>
                    <a:gd name="connsiteX13" fmla="*/ 139645 w 761692"/>
                    <a:gd name="connsiteY13" fmla="*/ 860925 h 1016771"/>
                    <a:gd name="connsiteX14" fmla="*/ 148122 w 761692"/>
                    <a:gd name="connsiteY14" fmla="*/ 867707 h 1016771"/>
                    <a:gd name="connsiteX15" fmla="*/ 158294 w 761692"/>
                    <a:gd name="connsiteY15" fmla="*/ 879574 h 1016771"/>
                    <a:gd name="connsiteX16" fmla="*/ 175247 w 761692"/>
                    <a:gd name="connsiteY16" fmla="*/ 889746 h 1016771"/>
                    <a:gd name="connsiteX17" fmla="*/ 188810 w 761692"/>
                    <a:gd name="connsiteY17" fmla="*/ 893137 h 1016771"/>
                    <a:gd name="connsiteX18" fmla="*/ 195591 w 761692"/>
                    <a:gd name="connsiteY18" fmla="*/ 893137 h 1016771"/>
                    <a:gd name="connsiteX19" fmla="*/ 202372 w 761692"/>
                    <a:gd name="connsiteY19" fmla="*/ 886355 h 1016771"/>
                    <a:gd name="connsiteX20" fmla="*/ 200677 w 761692"/>
                    <a:gd name="connsiteY20" fmla="*/ 877879 h 1016771"/>
                    <a:gd name="connsiteX21" fmla="*/ 209154 w 761692"/>
                    <a:gd name="connsiteY21" fmla="*/ 874488 h 1016771"/>
                    <a:gd name="connsiteX22" fmla="*/ 210740 w 761692"/>
                    <a:gd name="connsiteY22" fmla="*/ 875083 h 1016771"/>
                    <a:gd name="connsiteX23" fmla="*/ 201937 w 761692"/>
                    <a:gd name="connsiteY23" fmla="*/ 878604 h 1016771"/>
                    <a:gd name="connsiteX24" fmla="*/ 203708 w 761692"/>
                    <a:gd name="connsiteY24" fmla="*/ 887461 h 1016771"/>
                    <a:gd name="connsiteX25" fmla="*/ 196623 w 761692"/>
                    <a:gd name="connsiteY25" fmla="*/ 894546 h 1016771"/>
                    <a:gd name="connsiteX26" fmla="*/ 189537 w 761692"/>
                    <a:gd name="connsiteY26" fmla="*/ 894546 h 1016771"/>
                    <a:gd name="connsiteX27" fmla="*/ 175366 w 761692"/>
                    <a:gd name="connsiteY27" fmla="*/ 891003 h 1016771"/>
                    <a:gd name="connsiteX28" fmla="*/ 157653 w 761692"/>
                    <a:gd name="connsiteY28" fmla="*/ 880375 h 1016771"/>
                    <a:gd name="connsiteX29" fmla="*/ 147024 w 761692"/>
                    <a:gd name="connsiteY29" fmla="*/ 867975 h 1016771"/>
                    <a:gd name="connsiteX30" fmla="*/ 138167 w 761692"/>
                    <a:gd name="connsiteY30" fmla="*/ 860890 h 1016771"/>
                    <a:gd name="connsiteX31" fmla="*/ 138167 w 761692"/>
                    <a:gd name="connsiteY31" fmla="*/ 852033 h 1016771"/>
                    <a:gd name="connsiteX32" fmla="*/ 139939 w 761692"/>
                    <a:gd name="connsiteY32" fmla="*/ 850262 h 1016771"/>
                    <a:gd name="connsiteX33" fmla="*/ 139939 w 761692"/>
                    <a:gd name="connsiteY33" fmla="*/ 848490 h 1016771"/>
                    <a:gd name="connsiteX34" fmla="*/ 145253 w 761692"/>
                    <a:gd name="connsiteY34" fmla="*/ 843176 h 1016771"/>
                    <a:gd name="connsiteX35" fmla="*/ 147024 w 761692"/>
                    <a:gd name="connsiteY35" fmla="*/ 841405 h 1016771"/>
                    <a:gd name="connsiteX36" fmla="*/ 148796 w 761692"/>
                    <a:gd name="connsiteY36" fmla="*/ 839633 h 1016771"/>
                    <a:gd name="connsiteX37" fmla="*/ 150567 w 761692"/>
                    <a:gd name="connsiteY37" fmla="*/ 837862 h 1016771"/>
                    <a:gd name="connsiteX38" fmla="*/ 159250 w 761692"/>
                    <a:gd name="connsiteY38" fmla="*/ 829179 h 1016771"/>
                    <a:gd name="connsiteX39" fmla="*/ 116476 w 761692"/>
                    <a:gd name="connsiteY39" fmla="*/ 741349 h 1016771"/>
                    <a:gd name="connsiteX40" fmla="*/ 117606 w 761692"/>
                    <a:gd name="connsiteY40" fmla="*/ 742253 h 1016771"/>
                    <a:gd name="connsiteX41" fmla="*/ 122692 w 761692"/>
                    <a:gd name="connsiteY41" fmla="*/ 759206 h 1016771"/>
                    <a:gd name="connsiteX42" fmla="*/ 126082 w 761692"/>
                    <a:gd name="connsiteY42" fmla="*/ 771073 h 1016771"/>
                    <a:gd name="connsiteX43" fmla="*/ 129473 w 761692"/>
                    <a:gd name="connsiteY43" fmla="*/ 782940 h 1016771"/>
                    <a:gd name="connsiteX44" fmla="*/ 132864 w 761692"/>
                    <a:gd name="connsiteY44" fmla="*/ 793112 h 1016771"/>
                    <a:gd name="connsiteX45" fmla="*/ 136254 w 761692"/>
                    <a:gd name="connsiteY45" fmla="*/ 810066 h 1016771"/>
                    <a:gd name="connsiteX46" fmla="*/ 139058 w 761692"/>
                    <a:gd name="connsiteY46" fmla="*/ 818476 h 1016771"/>
                    <a:gd name="connsiteX47" fmla="*/ 138167 w 761692"/>
                    <a:gd name="connsiteY47" fmla="*/ 818377 h 1016771"/>
                    <a:gd name="connsiteX48" fmla="*/ 134625 w 761692"/>
                    <a:gd name="connsiteY48" fmla="*/ 807749 h 1016771"/>
                    <a:gd name="connsiteX49" fmla="*/ 131082 w 761692"/>
                    <a:gd name="connsiteY49" fmla="*/ 790035 h 1016771"/>
                    <a:gd name="connsiteX50" fmla="*/ 127539 w 761692"/>
                    <a:gd name="connsiteY50" fmla="*/ 779407 h 1016771"/>
                    <a:gd name="connsiteX51" fmla="*/ 123996 w 761692"/>
                    <a:gd name="connsiteY51" fmla="*/ 767007 h 1016771"/>
                    <a:gd name="connsiteX52" fmla="*/ 120454 w 761692"/>
                    <a:gd name="connsiteY52" fmla="*/ 754607 h 1016771"/>
                    <a:gd name="connsiteX53" fmla="*/ 116476 w 761692"/>
                    <a:gd name="connsiteY53" fmla="*/ 741349 h 1016771"/>
                    <a:gd name="connsiteX54" fmla="*/ 554441 w 761692"/>
                    <a:gd name="connsiteY54" fmla="*/ 0 h 1016771"/>
                    <a:gd name="connsiteX55" fmla="*/ 570383 w 761692"/>
                    <a:gd name="connsiteY55" fmla="*/ 3543 h 1016771"/>
                    <a:gd name="connsiteX56" fmla="*/ 577469 w 761692"/>
                    <a:gd name="connsiteY56" fmla="*/ 8857 h 1016771"/>
                    <a:gd name="connsiteX57" fmla="*/ 582783 w 761692"/>
                    <a:gd name="connsiteY57" fmla="*/ 17714 h 1016771"/>
                    <a:gd name="connsiteX58" fmla="*/ 582783 w 761692"/>
                    <a:gd name="connsiteY58" fmla="*/ 24799 h 1016771"/>
                    <a:gd name="connsiteX59" fmla="*/ 588097 w 761692"/>
                    <a:gd name="connsiteY59" fmla="*/ 33656 h 1016771"/>
                    <a:gd name="connsiteX60" fmla="*/ 598725 w 761692"/>
                    <a:gd name="connsiteY60" fmla="*/ 31885 h 1016771"/>
                    <a:gd name="connsiteX61" fmla="*/ 612896 w 761692"/>
                    <a:gd name="connsiteY61" fmla="*/ 37199 h 1016771"/>
                    <a:gd name="connsiteX62" fmla="*/ 618211 w 761692"/>
                    <a:gd name="connsiteY62" fmla="*/ 46056 h 1016771"/>
                    <a:gd name="connsiteX63" fmla="*/ 619982 w 761692"/>
                    <a:gd name="connsiteY63" fmla="*/ 54913 h 1016771"/>
                    <a:gd name="connsiteX64" fmla="*/ 618211 w 761692"/>
                    <a:gd name="connsiteY64" fmla="*/ 74398 h 1016771"/>
                    <a:gd name="connsiteX65" fmla="*/ 616439 w 761692"/>
                    <a:gd name="connsiteY65" fmla="*/ 85026 h 1016771"/>
                    <a:gd name="connsiteX66" fmla="*/ 621753 w 761692"/>
                    <a:gd name="connsiteY66" fmla="*/ 97426 h 1016771"/>
                    <a:gd name="connsiteX67" fmla="*/ 637696 w 761692"/>
                    <a:gd name="connsiteY67" fmla="*/ 113368 h 1016771"/>
                    <a:gd name="connsiteX68" fmla="*/ 644781 w 761692"/>
                    <a:gd name="connsiteY68" fmla="*/ 120454 h 1016771"/>
                    <a:gd name="connsiteX69" fmla="*/ 650095 w 761692"/>
                    <a:gd name="connsiteY69" fmla="*/ 136396 h 1016771"/>
                    <a:gd name="connsiteX70" fmla="*/ 655409 w 761692"/>
                    <a:gd name="connsiteY70" fmla="*/ 155881 h 1016771"/>
                    <a:gd name="connsiteX71" fmla="*/ 662495 w 761692"/>
                    <a:gd name="connsiteY71" fmla="*/ 171824 h 1016771"/>
                    <a:gd name="connsiteX72" fmla="*/ 660724 w 761692"/>
                    <a:gd name="connsiteY72" fmla="*/ 185995 h 1016771"/>
                    <a:gd name="connsiteX73" fmla="*/ 635924 w 761692"/>
                    <a:gd name="connsiteY73" fmla="*/ 194852 h 1016771"/>
                    <a:gd name="connsiteX74" fmla="*/ 619982 w 761692"/>
                    <a:gd name="connsiteY74" fmla="*/ 207251 h 1016771"/>
                    <a:gd name="connsiteX75" fmla="*/ 614668 w 761692"/>
                    <a:gd name="connsiteY75" fmla="*/ 223194 h 1016771"/>
                    <a:gd name="connsiteX76" fmla="*/ 618211 w 761692"/>
                    <a:gd name="connsiteY76" fmla="*/ 242679 h 1016771"/>
                    <a:gd name="connsiteX77" fmla="*/ 612896 w 761692"/>
                    <a:gd name="connsiteY77" fmla="*/ 256850 h 1016771"/>
                    <a:gd name="connsiteX78" fmla="*/ 625296 w 761692"/>
                    <a:gd name="connsiteY78" fmla="*/ 267478 h 1016771"/>
                    <a:gd name="connsiteX79" fmla="*/ 641238 w 761692"/>
                    <a:gd name="connsiteY79" fmla="*/ 269250 h 1016771"/>
                    <a:gd name="connsiteX80" fmla="*/ 658952 w 761692"/>
                    <a:gd name="connsiteY80" fmla="*/ 286963 h 1016771"/>
                    <a:gd name="connsiteX81" fmla="*/ 653638 w 761692"/>
                    <a:gd name="connsiteY81" fmla="*/ 309991 h 1016771"/>
                    <a:gd name="connsiteX82" fmla="*/ 653638 w 761692"/>
                    <a:gd name="connsiteY82" fmla="*/ 329476 h 1016771"/>
                    <a:gd name="connsiteX83" fmla="*/ 643010 w 761692"/>
                    <a:gd name="connsiteY83" fmla="*/ 338333 h 1016771"/>
                    <a:gd name="connsiteX84" fmla="*/ 632382 w 761692"/>
                    <a:gd name="connsiteY84" fmla="*/ 338333 h 1016771"/>
                    <a:gd name="connsiteX85" fmla="*/ 618211 w 761692"/>
                    <a:gd name="connsiteY85" fmla="*/ 357819 h 1016771"/>
                    <a:gd name="connsiteX86" fmla="*/ 609354 w 761692"/>
                    <a:gd name="connsiteY86" fmla="*/ 361361 h 1016771"/>
                    <a:gd name="connsiteX87" fmla="*/ 596954 w 761692"/>
                    <a:gd name="connsiteY87" fmla="*/ 363133 h 1016771"/>
                    <a:gd name="connsiteX88" fmla="*/ 581012 w 761692"/>
                    <a:gd name="connsiteY88" fmla="*/ 379075 h 1016771"/>
                    <a:gd name="connsiteX89" fmla="*/ 589868 w 761692"/>
                    <a:gd name="connsiteY89" fmla="*/ 393246 h 1016771"/>
                    <a:gd name="connsiteX90" fmla="*/ 586326 w 761692"/>
                    <a:gd name="connsiteY90" fmla="*/ 409189 h 1016771"/>
                    <a:gd name="connsiteX91" fmla="*/ 570383 w 761692"/>
                    <a:gd name="connsiteY91" fmla="*/ 398560 h 1016771"/>
                    <a:gd name="connsiteX92" fmla="*/ 550898 w 761692"/>
                    <a:gd name="connsiteY92" fmla="*/ 405646 h 1016771"/>
                    <a:gd name="connsiteX93" fmla="*/ 531413 w 761692"/>
                    <a:gd name="connsiteY93" fmla="*/ 425131 h 1016771"/>
                    <a:gd name="connsiteX94" fmla="*/ 543813 w 761692"/>
                    <a:gd name="connsiteY94" fmla="*/ 444616 h 1016771"/>
                    <a:gd name="connsiteX95" fmla="*/ 557984 w 761692"/>
                    <a:gd name="connsiteY95" fmla="*/ 462330 h 1016771"/>
                    <a:gd name="connsiteX96" fmla="*/ 570383 w 761692"/>
                    <a:gd name="connsiteY96" fmla="*/ 478272 h 1016771"/>
                    <a:gd name="connsiteX97" fmla="*/ 579240 w 761692"/>
                    <a:gd name="connsiteY97" fmla="*/ 485358 h 1016771"/>
                    <a:gd name="connsiteX98" fmla="*/ 602268 w 761692"/>
                    <a:gd name="connsiteY98" fmla="*/ 483586 h 1016771"/>
                    <a:gd name="connsiteX99" fmla="*/ 623525 w 761692"/>
                    <a:gd name="connsiteY99" fmla="*/ 474730 h 1016771"/>
                    <a:gd name="connsiteX100" fmla="*/ 639467 w 761692"/>
                    <a:gd name="connsiteY100" fmla="*/ 464101 h 1016771"/>
                    <a:gd name="connsiteX101" fmla="*/ 662495 w 761692"/>
                    <a:gd name="connsiteY101" fmla="*/ 464101 h 1016771"/>
                    <a:gd name="connsiteX102" fmla="*/ 673123 w 761692"/>
                    <a:gd name="connsiteY102" fmla="*/ 464101 h 1016771"/>
                    <a:gd name="connsiteX103" fmla="*/ 681980 w 761692"/>
                    <a:gd name="connsiteY103" fmla="*/ 467644 h 1016771"/>
                    <a:gd name="connsiteX104" fmla="*/ 703237 w 761692"/>
                    <a:gd name="connsiteY104" fmla="*/ 471187 h 1016771"/>
                    <a:gd name="connsiteX105" fmla="*/ 708551 w 761692"/>
                    <a:gd name="connsiteY105" fmla="*/ 474730 h 1016771"/>
                    <a:gd name="connsiteX106" fmla="*/ 722722 w 761692"/>
                    <a:gd name="connsiteY106" fmla="*/ 501300 h 1016771"/>
                    <a:gd name="connsiteX107" fmla="*/ 724493 w 761692"/>
                    <a:gd name="connsiteY107" fmla="*/ 522557 h 1016771"/>
                    <a:gd name="connsiteX108" fmla="*/ 722722 w 761692"/>
                    <a:gd name="connsiteY108" fmla="*/ 540271 h 1016771"/>
                    <a:gd name="connsiteX109" fmla="*/ 735121 w 761692"/>
                    <a:gd name="connsiteY109" fmla="*/ 552670 h 1016771"/>
                    <a:gd name="connsiteX110" fmla="*/ 735121 w 761692"/>
                    <a:gd name="connsiteY110" fmla="*/ 570384 h 1016771"/>
                    <a:gd name="connsiteX111" fmla="*/ 751064 w 761692"/>
                    <a:gd name="connsiteY111" fmla="*/ 581012 h 1016771"/>
                    <a:gd name="connsiteX112" fmla="*/ 761692 w 761692"/>
                    <a:gd name="connsiteY112" fmla="*/ 604040 h 1016771"/>
                    <a:gd name="connsiteX113" fmla="*/ 747521 w 761692"/>
                    <a:gd name="connsiteY113" fmla="*/ 616440 h 1016771"/>
                    <a:gd name="connsiteX114" fmla="*/ 728036 w 761692"/>
                    <a:gd name="connsiteY114" fmla="*/ 627068 h 1016771"/>
                    <a:gd name="connsiteX115" fmla="*/ 726264 w 761692"/>
                    <a:gd name="connsiteY115" fmla="*/ 650096 h 1016771"/>
                    <a:gd name="connsiteX116" fmla="*/ 728036 w 761692"/>
                    <a:gd name="connsiteY116" fmla="*/ 673124 h 1016771"/>
                    <a:gd name="connsiteX117" fmla="*/ 742207 w 761692"/>
                    <a:gd name="connsiteY117" fmla="*/ 689066 h 1016771"/>
                    <a:gd name="connsiteX118" fmla="*/ 742207 w 761692"/>
                    <a:gd name="connsiteY118" fmla="*/ 712094 h 1016771"/>
                    <a:gd name="connsiteX119" fmla="*/ 740435 w 761692"/>
                    <a:gd name="connsiteY119" fmla="*/ 735122 h 1016771"/>
                    <a:gd name="connsiteX120" fmla="*/ 742207 w 761692"/>
                    <a:gd name="connsiteY120" fmla="*/ 751065 h 1016771"/>
                    <a:gd name="connsiteX121" fmla="*/ 747521 w 761692"/>
                    <a:gd name="connsiteY121" fmla="*/ 768778 h 1016771"/>
                    <a:gd name="connsiteX122" fmla="*/ 759921 w 761692"/>
                    <a:gd name="connsiteY122" fmla="*/ 777635 h 1016771"/>
                    <a:gd name="connsiteX123" fmla="*/ 758149 w 761692"/>
                    <a:gd name="connsiteY123" fmla="*/ 802434 h 1016771"/>
                    <a:gd name="connsiteX124" fmla="*/ 752835 w 761692"/>
                    <a:gd name="connsiteY124" fmla="*/ 814834 h 1016771"/>
                    <a:gd name="connsiteX125" fmla="*/ 743978 w 761692"/>
                    <a:gd name="connsiteY125" fmla="*/ 827234 h 1016771"/>
                    <a:gd name="connsiteX126" fmla="*/ 743978 w 761692"/>
                    <a:gd name="connsiteY126" fmla="*/ 837862 h 1016771"/>
                    <a:gd name="connsiteX127" fmla="*/ 747521 w 761692"/>
                    <a:gd name="connsiteY127" fmla="*/ 853804 h 1016771"/>
                    <a:gd name="connsiteX128" fmla="*/ 733350 w 761692"/>
                    <a:gd name="connsiteY128" fmla="*/ 867975 h 1016771"/>
                    <a:gd name="connsiteX129" fmla="*/ 724493 w 761692"/>
                    <a:gd name="connsiteY129" fmla="*/ 880375 h 1016771"/>
                    <a:gd name="connsiteX130" fmla="*/ 722722 w 761692"/>
                    <a:gd name="connsiteY130" fmla="*/ 899860 h 1016771"/>
                    <a:gd name="connsiteX131" fmla="*/ 722722 w 761692"/>
                    <a:gd name="connsiteY131" fmla="*/ 919345 h 1016771"/>
                    <a:gd name="connsiteX132" fmla="*/ 715636 w 761692"/>
                    <a:gd name="connsiteY132" fmla="*/ 940602 h 1016771"/>
                    <a:gd name="connsiteX133" fmla="*/ 708551 w 761692"/>
                    <a:gd name="connsiteY133" fmla="*/ 954773 h 1016771"/>
                    <a:gd name="connsiteX134" fmla="*/ 699694 w 761692"/>
                    <a:gd name="connsiteY134" fmla="*/ 965401 h 1016771"/>
                    <a:gd name="connsiteX135" fmla="*/ 692608 w 761692"/>
                    <a:gd name="connsiteY135" fmla="*/ 984886 h 1016771"/>
                    <a:gd name="connsiteX136" fmla="*/ 683751 w 761692"/>
                    <a:gd name="connsiteY136" fmla="*/ 997286 h 1016771"/>
                    <a:gd name="connsiteX137" fmla="*/ 673123 w 761692"/>
                    <a:gd name="connsiteY137" fmla="*/ 1002600 h 1016771"/>
                    <a:gd name="connsiteX138" fmla="*/ 662495 w 761692"/>
                    <a:gd name="connsiteY138" fmla="*/ 1013228 h 1016771"/>
                    <a:gd name="connsiteX139" fmla="*/ 644781 w 761692"/>
                    <a:gd name="connsiteY139" fmla="*/ 1016771 h 1016771"/>
                    <a:gd name="connsiteX140" fmla="*/ 635924 w 761692"/>
                    <a:gd name="connsiteY140" fmla="*/ 1004372 h 1016771"/>
                    <a:gd name="connsiteX141" fmla="*/ 623525 w 761692"/>
                    <a:gd name="connsiteY141" fmla="*/ 997286 h 1016771"/>
                    <a:gd name="connsiteX142" fmla="*/ 614668 w 761692"/>
                    <a:gd name="connsiteY142" fmla="*/ 986658 h 1016771"/>
                    <a:gd name="connsiteX143" fmla="*/ 593411 w 761692"/>
                    <a:gd name="connsiteY143" fmla="*/ 970715 h 1016771"/>
                    <a:gd name="connsiteX144" fmla="*/ 582783 w 761692"/>
                    <a:gd name="connsiteY144" fmla="*/ 965401 h 1016771"/>
                    <a:gd name="connsiteX145" fmla="*/ 531413 w 761692"/>
                    <a:gd name="connsiteY145" fmla="*/ 965401 h 1016771"/>
                    <a:gd name="connsiteX146" fmla="*/ 511928 w 761692"/>
                    <a:gd name="connsiteY146" fmla="*/ 965401 h 1016771"/>
                    <a:gd name="connsiteX147" fmla="*/ 492443 w 761692"/>
                    <a:gd name="connsiteY147" fmla="*/ 963630 h 1016771"/>
                    <a:gd name="connsiteX148" fmla="*/ 483586 w 761692"/>
                    <a:gd name="connsiteY148" fmla="*/ 958316 h 1016771"/>
                    <a:gd name="connsiteX149" fmla="*/ 469415 w 761692"/>
                    <a:gd name="connsiteY149" fmla="*/ 954773 h 1016771"/>
                    <a:gd name="connsiteX150" fmla="*/ 460558 w 761692"/>
                    <a:gd name="connsiteY150" fmla="*/ 942373 h 1016771"/>
                    <a:gd name="connsiteX151" fmla="*/ 446387 w 761692"/>
                    <a:gd name="connsiteY151" fmla="*/ 935288 h 1016771"/>
                    <a:gd name="connsiteX152" fmla="*/ 428673 w 761692"/>
                    <a:gd name="connsiteY152" fmla="*/ 928202 h 1016771"/>
                    <a:gd name="connsiteX153" fmla="*/ 418045 w 761692"/>
                    <a:gd name="connsiteY153" fmla="*/ 917574 h 1016771"/>
                    <a:gd name="connsiteX154" fmla="*/ 421588 w 761692"/>
                    <a:gd name="connsiteY154" fmla="*/ 903403 h 1016771"/>
                    <a:gd name="connsiteX155" fmla="*/ 418045 w 761692"/>
                    <a:gd name="connsiteY155" fmla="*/ 898089 h 1016771"/>
                    <a:gd name="connsiteX156" fmla="*/ 396788 w 761692"/>
                    <a:gd name="connsiteY156" fmla="*/ 898089 h 1016771"/>
                    <a:gd name="connsiteX157" fmla="*/ 382617 w 761692"/>
                    <a:gd name="connsiteY157" fmla="*/ 896318 h 1016771"/>
                    <a:gd name="connsiteX158" fmla="*/ 380846 w 761692"/>
                    <a:gd name="connsiteY158" fmla="*/ 906946 h 1016771"/>
                    <a:gd name="connsiteX159" fmla="*/ 373601 w 761692"/>
                    <a:gd name="connsiteY159" fmla="*/ 894832 h 1016771"/>
                    <a:gd name="connsiteX160" fmla="*/ 387164 w 761692"/>
                    <a:gd name="connsiteY160" fmla="*/ 896527 h 1016771"/>
                    <a:gd name="connsiteX161" fmla="*/ 383773 w 761692"/>
                    <a:gd name="connsiteY161" fmla="*/ 886355 h 1016771"/>
                    <a:gd name="connsiteX162" fmla="*/ 387164 w 761692"/>
                    <a:gd name="connsiteY162" fmla="*/ 876183 h 1016771"/>
                    <a:gd name="connsiteX163" fmla="*/ 388859 w 761692"/>
                    <a:gd name="connsiteY163" fmla="*/ 867707 h 1016771"/>
                    <a:gd name="connsiteX164" fmla="*/ 380382 w 761692"/>
                    <a:gd name="connsiteY164" fmla="*/ 859230 h 1016771"/>
                    <a:gd name="connsiteX165" fmla="*/ 373601 w 761692"/>
                    <a:gd name="connsiteY165" fmla="*/ 849058 h 1016771"/>
                    <a:gd name="connsiteX166" fmla="*/ 380382 w 761692"/>
                    <a:gd name="connsiteY166" fmla="*/ 838886 h 1016771"/>
                    <a:gd name="connsiteX167" fmla="*/ 383773 w 761692"/>
                    <a:gd name="connsiteY167" fmla="*/ 833800 h 1016771"/>
                    <a:gd name="connsiteX168" fmla="*/ 388859 w 761692"/>
                    <a:gd name="connsiteY168" fmla="*/ 825324 h 1016771"/>
                    <a:gd name="connsiteX169" fmla="*/ 387164 w 761692"/>
                    <a:gd name="connsiteY169" fmla="*/ 810066 h 1016771"/>
                    <a:gd name="connsiteX170" fmla="*/ 387164 w 761692"/>
                    <a:gd name="connsiteY170" fmla="*/ 796503 h 1016771"/>
                    <a:gd name="connsiteX171" fmla="*/ 378687 w 761692"/>
                    <a:gd name="connsiteY171" fmla="*/ 789722 h 1016771"/>
                    <a:gd name="connsiteX172" fmla="*/ 366820 w 761692"/>
                    <a:gd name="connsiteY172" fmla="*/ 782940 h 1016771"/>
                    <a:gd name="connsiteX173" fmla="*/ 356648 w 761692"/>
                    <a:gd name="connsiteY173" fmla="*/ 781245 h 1016771"/>
                    <a:gd name="connsiteX174" fmla="*/ 349866 w 761692"/>
                    <a:gd name="connsiteY174" fmla="*/ 771073 h 1016771"/>
                    <a:gd name="connsiteX175" fmla="*/ 349866 w 761692"/>
                    <a:gd name="connsiteY175" fmla="*/ 752425 h 1016771"/>
                    <a:gd name="connsiteX176" fmla="*/ 353257 w 761692"/>
                    <a:gd name="connsiteY176" fmla="*/ 743948 h 1016771"/>
                    <a:gd name="connsiteX177" fmla="*/ 354952 w 761692"/>
                    <a:gd name="connsiteY177" fmla="*/ 730385 h 1016771"/>
                    <a:gd name="connsiteX178" fmla="*/ 353257 w 761692"/>
                    <a:gd name="connsiteY178" fmla="*/ 713432 h 1016771"/>
                    <a:gd name="connsiteX179" fmla="*/ 346476 w 761692"/>
                    <a:gd name="connsiteY179" fmla="*/ 701565 h 1016771"/>
                    <a:gd name="connsiteX180" fmla="*/ 332913 w 761692"/>
                    <a:gd name="connsiteY180" fmla="*/ 689697 h 1016771"/>
                    <a:gd name="connsiteX181" fmla="*/ 324436 w 761692"/>
                    <a:gd name="connsiteY181" fmla="*/ 681221 h 1016771"/>
                    <a:gd name="connsiteX182" fmla="*/ 314264 w 761692"/>
                    <a:gd name="connsiteY182" fmla="*/ 676135 h 1016771"/>
                    <a:gd name="connsiteX183" fmla="*/ 293920 w 761692"/>
                    <a:gd name="connsiteY183" fmla="*/ 669354 h 1016771"/>
                    <a:gd name="connsiteX184" fmla="*/ 282053 w 761692"/>
                    <a:gd name="connsiteY184" fmla="*/ 667658 h 1016771"/>
                    <a:gd name="connsiteX185" fmla="*/ 266795 w 761692"/>
                    <a:gd name="connsiteY185" fmla="*/ 672744 h 1016771"/>
                    <a:gd name="connsiteX186" fmla="*/ 265100 w 761692"/>
                    <a:gd name="connsiteY186" fmla="*/ 672744 h 1016771"/>
                    <a:gd name="connsiteX187" fmla="*/ 263404 w 761692"/>
                    <a:gd name="connsiteY187" fmla="*/ 671049 h 1016771"/>
                    <a:gd name="connsiteX188" fmla="*/ 260014 w 761692"/>
                    <a:gd name="connsiteY188" fmla="*/ 671049 h 1016771"/>
                    <a:gd name="connsiteX189" fmla="*/ 258318 w 761692"/>
                    <a:gd name="connsiteY189" fmla="*/ 671049 h 1016771"/>
                    <a:gd name="connsiteX190" fmla="*/ 253232 w 761692"/>
                    <a:gd name="connsiteY190" fmla="*/ 671049 h 1016771"/>
                    <a:gd name="connsiteX191" fmla="*/ 248146 w 761692"/>
                    <a:gd name="connsiteY191" fmla="*/ 672744 h 1016771"/>
                    <a:gd name="connsiteX192" fmla="*/ 248146 w 761692"/>
                    <a:gd name="connsiteY192" fmla="*/ 674440 h 1016771"/>
                    <a:gd name="connsiteX193" fmla="*/ 246451 w 761692"/>
                    <a:gd name="connsiteY193" fmla="*/ 674440 h 1016771"/>
                    <a:gd name="connsiteX194" fmla="*/ 236279 w 761692"/>
                    <a:gd name="connsiteY194" fmla="*/ 679526 h 1016771"/>
                    <a:gd name="connsiteX195" fmla="*/ 226107 w 761692"/>
                    <a:gd name="connsiteY195" fmla="*/ 684612 h 1016771"/>
                    <a:gd name="connsiteX196" fmla="*/ 217630 w 761692"/>
                    <a:gd name="connsiteY196" fmla="*/ 684612 h 1016771"/>
                    <a:gd name="connsiteX197" fmla="*/ 207458 w 761692"/>
                    <a:gd name="connsiteY197" fmla="*/ 693088 h 1016771"/>
                    <a:gd name="connsiteX198" fmla="*/ 198982 w 761692"/>
                    <a:gd name="connsiteY198" fmla="*/ 694783 h 1016771"/>
                    <a:gd name="connsiteX199" fmla="*/ 192200 w 761692"/>
                    <a:gd name="connsiteY199" fmla="*/ 699869 h 1016771"/>
                    <a:gd name="connsiteX200" fmla="*/ 178638 w 761692"/>
                    <a:gd name="connsiteY200" fmla="*/ 706651 h 1016771"/>
                    <a:gd name="connsiteX201" fmla="*/ 163380 w 761692"/>
                    <a:gd name="connsiteY201" fmla="*/ 710041 h 1016771"/>
                    <a:gd name="connsiteX202" fmla="*/ 141340 w 761692"/>
                    <a:gd name="connsiteY202" fmla="*/ 710041 h 1016771"/>
                    <a:gd name="connsiteX203" fmla="*/ 134559 w 761692"/>
                    <a:gd name="connsiteY203" fmla="*/ 716823 h 1016771"/>
                    <a:gd name="connsiteX204" fmla="*/ 127778 w 761692"/>
                    <a:gd name="connsiteY204" fmla="*/ 718518 h 1016771"/>
                    <a:gd name="connsiteX205" fmla="*/ 120996 w 761692"/>
                    <a:gd name="connsiteY205" fmla="*/ 725299 h 1016771"/>
                    <a:gd name="connsiteX206" fmla="*/ 111172 w 761692"/>
                    <a:gd name="connsiteY206" fmla="*/ 733720 h 1016771"/>
                    <a:gd name="connsiteX207" fmla="*/ 106283 w 761692"/>
                    <a:gd name="connsiteY207" fmla="*/ 729808 h 1016771"/>
                    <a:gd name="connsiteX208" fmla="*/ 92112 w 761692"/>
                    <a:gd name="connsiteY208" fmla="*/ 724494 h 1016771"/>
                    <a:gd name="connsiteX209" fmla="*/ 77941 w 761692"/>
                    <a:gd name="connsiteY209" fmla="*/ 726265 h 1016771"/>
                    <a:gd name="connsiteX210" fmla="*/ 70855 w 761692"/>
                    <a:gd name="connsiteY210" fmla="*/ 719180 h 1016771"/>
                    <a:gd name="connsiteX211" fmla="*/ 70855 w 761692"/>
                    <a:gd name="connsiteY211" fmla="*/ 699695 h 1016771"/>
                    <a:gd name="connsiteX212" fmla="*/ 81483 w 761692"/>
                    <a:gd name="connsiteY212" fmla="*/ 685524 h 1016771"/>
                    <a:gd name="connsiteX213" fmla="*/ 85026 w 761692"/>
                    <a:gd name="connsiteY213" fmla="*/ 673124 h 1016771"/>
                    <a:gd name="connsiteX214" fmla="*/ 86797 w 761692"/>
                    <a:gd name="connsiteY214" fmla="*/ 660724 h 1016771"/>
                    <a:gd name="connsiteX215" fmla="*/ 97426 w 761692"/>
                    <a:gd name="connsiteY215" fmla="*/ 650096 h 1016771"/>
                    <a:gd name="connsiteX216" fmla="*/ 102740 w 761692"/>
                    <a:gd name="connsiteY216" fmla="*/ 635925 h 1016771"/>
                    <a:gd name="connsiteX217" fmla="*/ 113368 w 761692"/>
                    <a:gd name="connsiteY217" fmla="*/ 625297 h 1016771"/>
                    <a:gd name="connsiteX218" fmla="*/ 115139 w 761692"/>
                    <a:gd name="connsiteY218" fmla="*/ 612897 h 1016771"/>
                    <a:gd name="connsiteX219" fmla="*/ 127539 w 761692"/>
                    <a:gd name="connsiteY219" fmla="*/ 609354 h 1016771"/>
                    <a:gd name="connsiteX220" fmla="*/ 136396 w 761692"/>
                    <a:gd name="connsiteY220" fmla="*/ 604040 h 1016771"/>
                    <a:gd name="connsiteX221" fmla="*/ 132853 w 761692"/>
                    <a:gd name="connsiteY221" fmla="*/ 593412 h 1016771"/>
                    <a:gd name="connsiteX222" fmla="*/ 134625 w 761692"/>
                    <a:gd name="connsiteY222" fmla="*/ 584555 h 1016771"/>
                    <a:gd name="connsiteX223" fmla="*/ 131082 w 761692"/>
                    <a:gd name="connsiteY223" fmla="*/ 575698 h 1016771"/>
                    <a:gd name="connsiteX224" fmla="*/ 120454 w 761692"/>
                    <a:gd name="connsiteY224" fmla="*/ 568613 h 1016771"/>
                    <a:gd name="connsiteX225" fmla="*/ 125768 w 761692"/>
                    <a:gd name="connsiteY225" fmla="*/ 552670 h 1016771"/>
                    <a:gd name="connsiteX226" fmla="*/ 118682 w 761692"/>
                    <a:gd name="connsiteY226" fmla="*/ 543813 h 1016771"/>
                    <a:gd name="connsiteX227" fmla="*/ 90340 w 761692"/>
                    <a:gd name="connsiteY227" fmla="*/ 543813 h 1016771"/>
                    <a:gd name="connsiteX228" fmla="*/ 86797 w 761692"/>
                    <a:gd name="connsiteY228" fmla="*/ 542042 h 1016771"/>
                    <a:gd name="connsiteX229" fmla="*/ 83255 w 761692"/>
                    <a:gd name="connsiteY229" fmla="*/ 542042 h 1016771"/>
                    <a:gd name="connsiteX230" fmla="*/ 81483 w 761692"/>
                    <a:gd name="connsiteY230" fmla="*/ 540271 h 1016771"/>
                    <a:gd name="connsiteX231" fmla="*/ 81483 w 761692"/>
                    <a:gd name="connsiteY231" fmla="*/ 536728 h 1016771"/>
                    <a:gd name="connsiteX232" fmla="*/ 79712 w 761692"/>
                    <a:gd name="connsiteY232" fmla="*/ 531414 h 1016771"/>
                    <a:gd name="connsiteX233" fmla="*/ 77941 w 761692"/>
                    <a:gd name="connsiteY233" fmla="*/ 529642 h 1016771"/>
                    <a:gd name="connsiteX234" fmla="*/ 70855 w 761692"/>
                    <a:gd name="connsiteY234" fmla="*/ 527871 h 1016771"/>
                    <a:gd name="connsiteX235" fmla="*/ 60227 w 761692"/>
                    <a:gd name="connsiteY235" fmla="*/ 536728 h 1016771"/>
                    <a:gd name="connsiteX236" fmla="*/ 47827 w 761692"/>
                    <a:gd name="connsiteY236" fmla="*/ 526100 h 1016771"/>
                    <a:gd name="connsiteX237" fmla="*/ 42513 w 761692"/>
                    <a:gd name="connsiteY237" fmla="*/ 515471 h 1016771"/>
                    <a:gd name="connsiteX238" fmla="*/ 33656 w 761692"/>
                    <a:gd name="connsiteY238" fmla="*/ 506614 h 1016771"/>
                    <a:gd name="connsiteX239" fmla="*/ 31885 w 761692"/>
                    <a:gd name="connsiteY239" fmla="*/ 490672 h 1016771"/>
                    <a:gd name="connsiteX240" fmla="*/ 26571 w 761692"/>
                    <a:gd name="connsiteY240" fmla="*/ 476501 h 1016771"/>
                    <a:gd name="connsiteX241" fmla="*/ 24799 w 761692"/>
                    <a:gd name="connsiteY241" fmla="*/ 471187 h 1016771"/>
                    <a:gd name="connsiteX242" fmla="*/ 12400 w 761692"/>
                    <a:gd name="connsiteY242" fmla="*/ 472958 h 1016771"/>
                    <a:gd name="connsiteX243" fmla="*/ 7086 w 761692"/>
                    <a:gd name="connsiteY243" fmla="*/ 464101 h 1016771"/>
                    <a:gd name="connsiteX244" fmla="*/ 8857 w 761692"/>
                    <a:gd name="connsiteY244" fmla="*/ 446388 h 1016771"/>
                    <a:gd name="connsiteX245" fmla="*/ 3543 w 761692"/>
                    <a:gd name="connsiteY245" fmla="*/ 435759 h 1016771"/>
                    <a:gd name="connsiteX246" fmla="*/ 5314 w 761692"/>
                    <a:gd name="connsiteY246" fmla="*/ 412731 h 1016771"/>
                    <a:gd name="connsiteX247" fmla="*/ 0 w 761692"/>
                    <a:gd name="connsiteY247" fmla="*/ 396789 h 1016771"/>
                    <a:gd name="connsiteX248" fmla="*/ 3543 w 761692"/>
                    <a:gd name="connsiteY248" fmla="*/ 384389 h 1016771"/>
                    <a:gd name="connsiteX249" fmla="*/ 14171 w 761692"/>
                    <a:gd name="connsiteY249" fmla="*/ 380846 h 1016771"/>
                    <a:gd name="connsiteX250" fmla="*/ 24799 w 761692"/>
                    <a:gd name="connsiteY250" fmla="*/ 364904 h 1016771"/>
                    <a:gd name="connsiteX251" fmla="*/ 30113 w 761692"/>
                    <a:gd name="connsiteY251" fmla="*/ 350733 h 1016771"/>
                    <a:gd name="connsiteX252" fmla="*/ 35428 w 761692"/>
                    <a:gd name="connsiteY252" fmla="*/ 341876 h 1016771"/>
                    <a:gd name="connsiteX253" fmla="*/ 42513 w 761692"/>
                    <a:gd name="connsiteY253" fmla="*/ 327705 h 1016771"/>
                    <a:gd name="connsiteX254" fmla="*/ 42513 w 761692"/>
                    <a:gd name="connsiteY254" fmla="*/ 315305 h 1016771"/>
                    <a:gd name="connsiteX255" fmla="*/ 56684 w 761692"/>
                    <a:gd name="connsiteY255" fmla="*/ 309991 h 1016771"/>
                    <a:gd name="connsiteX256" fmla="*/ 60227 w 761692"/>
                    <a:gd name="connsiteY256" fmla="*/ 309991 h 1016771"/>
                    <a:gd name="connsiteX257" fmla="*/ 61998 w 761692"/>
                    <a:gd name="connsiteY257" fmla="*/ 311763 h 1016771"/>
                    <a:gd name="connsiteX258" fmla="*/ 67312 w 761692"/>
                    <a:gd name="connsiteY258" fmla="*/ 311763 h 1016771"/>
                    <a:gd name="connsiteX259" fmla="*/ 67312 w 761692"/>
                    <a:gd name="connsiteY259" fmla="*/ 309991 h 1016771"/>
                    <a:gd name="connsiteX260" fmla="*/ 67312 w 761692"/>
                    <a:gd name="connsiteY260" fmla="*/ 308220 h 1016771"/>
                    <a:gd name="connsiteX261" fmla="*/ 69084 w 761692"/>
                    <a:gd name="connsiteY261" fmla="*/ 302906 h 1016771"/>
                    <a:gd name="connsiteX262" fmla="*/ 70855 w 761692"/>
                    <a:gd name="connsiteY262" fmla="*/ 301134 h 1016771"/>
                    <a:gd name="connsiteX263" fmla="*/ 70855 w 761692"/>
                    <a:gd name="connsiteY263" fmla="*/ 299363 h 1016771"/>
                    <a:gd name="connsiteX264" fmla="*/ 77941 w 761692"/>
                    <a:gd name="connsiteY264" fmla="*/ 295820 h 1016771"/>
                    <a:gd name="connsiteX265" fmla="*/ 85026 w 761692"/>
                    <a:gd name="connsiteY265" fmla="*/ 295820 h 1016771"/>
                    <a:gd name="connsiteX266" fmla="*/ 93883 w 761692"/>
                    <a:gd name="connsiteY266" fmla="*/ 297592 h 1016771"/>
                    <a:gd name="connsiteX267" fmla="*/ 100968 w 761692"/>
                    <a:gd name="connsiteY267" fmla="*/ 288735 h 1016771"/>
                    <a:gd name="connsiteX268" fmla="*/ 97426 w 761692"/>
                    <a:gd name="connsiteY268" fmla="*/ 279878 h 1016771"/>
                    <a:gd name="connsiteX269" fmla="*/ 85026 w 761692"/>
                    <a:gd name="connsiteY269" fmla="*/ 276335 h 1016771"/>
                    <a:gd name="connsiteX270" fmla="*/ 76169 w 761692"/>
                    <a:gd name="connsiteY270" fmla="*/ 271021 h 1016771"/>
                    <a:gd name="connsiteX271" fmla="*/ 76169 w 761692"/>
                    <a:gd name="connsiteY271" fmla="*/ 262164 h 1016771"/>
                    <a:gd name="connsiteX272" fmla="*/ 81483 w 761692"/>
                    <a:gd name="connsiteY272" fmla="*/ 251536 h 1016771"/>
                    <a:gd name="connsiteX273" fmla="*/ 86797 w 761692"/>
                    <a:gd name="connsiteY273" fmla="*/ 255079 h 1016771"/>
                    <a:gd name="connsiteX274" fmla="*/ 104511 w 761692"/>
                    <a:gd name="connsiteY274" fmla="*/ 262164 h 1016771"/>
                    <a:gd name="connsiteX275" fmla="*/ 116911 w 761692"/>
                    <a:gd name="connsiteY275" fmla="*/ 265707 h 1016771"/>
                    <a:gd name="connsiteX276" fmla="*/ 132853 w 761692"/>
                    <a:gd name="connsiteY276" fmla="*/ 269250 h 1016771"/>
                    <a:gd name="connsiteX277" fmla="*/ 138167 w 761692"/>
                    <a:gd name="connsiteY277" fmla="*/ 265707 h 1016771"/>
                    <a:gd name="connsiteX278" fmla="*/ 150567 w 761692"/>
                    <a:gd name="connsiteY278" fmla="*/ 255079 h 1016771"/>
                    <a:gd name="connsiteX279" fmla="*/ 166509 w 761692"/>
                    <a:gd name="connsiteY279" fmla="*/ 255079 h 1016771"/>
                    <a:gd name="connsiteX280" fmla="*/ 166509 w 761692"/>
                    <a:gd name="connsiteY280" fmla="*/ 265707 h 1016771"/>
                    <a:gd name="connsiteX281" fmla="*/ 177138 w 761692"/>
                    <a:gd name="connsiteY281" fmla="*/ 272792 h 1016771"/>
                    <a:gd name="connsiteX282" fmla="*/ 194851 w 761692"/>
                    <a:gd name="connsiteY282" fmla="*/ 276335 h 1016771"/>
                    <a:gd name="connsiteX283" fmla="*/ 209022 w 761692"/>
                    <a:gd name="connsiteY283" fmla="*/ 279878 h 1016771"/>
                    <a:gd name="connsiteX284" fmla="*/ 221422 w 761692"/>
                    <a:gd name="connsiteY284" fmla="*/ 276335 h 1016771"/>
                    <a:gd name="connsiteX285" fmla="*/ 226736 w 761692"/>
                    <a:gd name="connsiteY285" fmla="*/ 269250 h 1016771"/>
                    <a:gd name="connsiteX286" fmla="*/ 226736 w 761692"/>
                    <a:gd name="connsiteY286" fmla="*/ 251536 h 1016771"/>
                    <a:gd name="connsiteX287" fmla="*/ 224965 w 761692"/>
                    <a:gd name="connsiteY287" fmla="*/ 239136 h 1016771"/>
                    <a:gd name="connsiteX288" fmla="*/ 214337 w 761692"/>
                    <a:gd name="connsiteY288" fmla="*/ 230279 h 1016771"/>
                    <a:gd name="connsiteX289" fmla="*/ 210794 w 761692"/>
                    <a:gd name="connsiteY289" fmla="*/ 217880 h 1016771"/>
                    <a:gd name="connsiteX290" fmla="*/ 221422 w 761692"/>
                    <a:gd name="connsiteY290" fmla="*/ 207251 h 1016771"/>
                    <a:gd name="connsiteX291" fmla="*/ 235593 w 761692"/>
                    <a:gd name="connsiteY291" fmla="*/ 214337 h 1016771"/>
                    <a:gd name="connsiteX292" fmla="*/ 246221 w 761692"/>
                    <a:gd name="connsiteY292" fmla="*/ 219651 h 1016771"/>
                    <a:gd name="connsiteX293" fmla="*/ 253307 w 761692"/>
                    <a:gd name="connsiteY293" fmla="*/ 221422 h 1016771"/>
                    <a:gd name="connsiteX294" fmla="*/ 262164 w 761692"/>
                    <a:gd name="connsiteY294" fmla="*/ 210794 h 1016771"/>
                    <a:gd name="connsiteX295" fmla="*/ 263935 w 761692"/>
                    <a:gd name="connsiteY295" fmla="*/ 201937 h 1016771"/>
                    <a:gd name="connsiteX296" fmla="*/ 274563 w 761692"/>
                    <a:gd name="connsiteY296" fmla="*/ 189538 h 1016771"/>
                    <a:gd name="connsiteX297" fmla="*/ 283420 w 761692"/>
                    <a:gd name="connsiteY297" fmla="*/ 178909 h 1016771"/>
                    <a:gd name="connsiteX298" fmla="*/ 286963 w 761692"/>
                    <a:gd name="connsiteY298" fmla="*/ 173595 h 1016771"/>
                    <a:gd name="connsiteX299" fmla="*/ 311762 w 761692"/>
                    <a:gd name="connsiteY299" fmla="*/ 168281 h 1016771"/>
                    <a:gd name="connsiteX300" fmla="*/ 325933 w 761692"/>
                    <a:gd name="connsiteY300" fmla="*/ 164738 h 1016771"/>
                    <a:gd name="connsiteX301" fmla="*/ 336562 w 761692"/>
                    <a:gd name="connsiteY301" fmla="*/ 159424 h 1016771"/>
                    <a:gd name="connsiteX302" fmla="*/ 348961 w 761692"/>
                    <a:gd name="connsiteY302" fmla="*/ 145253 h 1016771"/>
                    <a:gd name="connsiteX303" fmla="*/ 359589 w 761692"/>
                    <a:gd name="connsiteY303" fmla="*/ 143482 h 1016771"/>
                    <a:gd name="connsiteX304" fmla="*/ 371989 w 761692"/>
                    <a:gd name="connsiteY304" fmla="*/ 143482 h 1016771"/>
                    <a:gd name="connsiteX305" fmla="*/ 391474 w 761692"/>
                    <a:gd name="connsiteY305" fmla="*/ 143482 h 1016771"/>
                    <a:gd name="connsiteX306" fmla="*/ 396788 w 761692"/>
                    <a:gd name="connsiteY306" fmla="*/ 141710 h 1016771"/>
                    <a:gd name="connsiteX307" fmla="*/ 403874 w 761692"/>
                    <a:gd name="connsiteY307" fmla="*/ 134625 h 1016771"/>
                    <a:gd name="connsiteX308" fmla="*/ 409188 w 761692"/>
                    <a:gd name="connsiteY308" fmla="*/ 129311 h 1016771"/>
                    <a:gd name="connsiteX309" fmla="*/ 409188 w 761692"/>
                    <a:gd name="connsiteY309" fmla="*/ 123997 h 1016771"/>
                    <a:gd name="connsiteX310" fmla="*/ 414502 w 761692"/>
                    <a:gd name="connsiteY310" fmla="*/ 115140 h 1016771"/>
                    <a:gd name="connsiteX311" fmla="*/ 428673 w 761692"/>
                    <a:gd name="connsiteY311" fmla="*/ 115140 h 1016771"/>
                    <a:gd name="connsiteX312" fmla="*/ 432216 w 761692"/>
                    <a:gd name="connsiteY312" fmla="*/ 109826 h 1016771"/>
                    <a:gd name="connsiteX313" fmla="*/ 437530 w 761692"/>
                    <a:gd name="connsiteY313" fmla="*/ 100969 h 1016771"/>
                    <a:gd name="connsiteX314" fmla="*/ 448158 w 761692"/>
                    <a:gd name="connsiteY314" fmla="*/ 99197 h 1016771"/>
                    <a:gd name="connsiteX315" fmla="*/ 460558 w 761692"/>
                    <a:gd name="connsiteY315" fmla="*/ 97426 h 1016771"/>
                    <a:gd name="connsiteX316" fmla="*/ 472958 w 761692"/>
                    <a:gd name="connsiteY316" fmla="*/ 93883 h 1016771"/>
                    <a:gd name="connsiteX317" fmla="*/ 492443 w 761692"/>
                    <a:gd name="connsiteY317" fmla="*/ 93883 h 1016771"/>
                    <a:gd name="connsiteX318" fmla="*/ 501300 w 761692"/>
                    <a:gd name="connsiteY318" fmla="*/ 83255 h 1016771"/>
                    <a:gd name="connsiteX319" fmla="*/ 517242 w 761692"/>
                    <a:gd name="connsiteY319" fmla="*/ 81484 h 1016771"/>
                    <a:gd name="connsiteX320" fmla="*/ 522556 w 761692"/>
                    <a:gd name="connsiteY320" fmla="*/ 81484 h 1016771"/>
                    <a:gd name="connsiteX321" fmla="*/ 522556 w 761692"/>
                    <a:gd name="connsiteY321" fmla="*/ 60227 h 1016771"/>
                    <a:gd name="connsiteX322" fmla="*/ 526099 w 761692"/>
                    <a:gd name="connsiteY322" fmla="*/ 54913 h 1016771"/>
                    <a:gd name="connsiteX323" fmla="*/ 529642 w 761692"/>
                    <a:gd name="connsiteY323" fmla="*/ 46056 h 1016771"/>
                    <a:gd name="connsiteX324" fmla="*/ 538499 w 761692"/>
                    <a:gd name="connsiteY324" fmla="*/ 40742 h 1016771"/>
                    <a:gd name="connsiteX325" fmla="*/ 540270 w 761692"/>
                    <a:gd name="connsiteY325" fmla="*/ 30114 h 1016771"/>
                    <a:gd name="connsiteX326" fmla="*/ 536727 w 761692"/>
                    <a:gd name="connsiteY326" fmla="*/ 19485 h 1016771"/>
                    <a:gd name="connsiteX327" fmla="*/ 543813 w 761692"/>
                    <a:gd name="connsiteY327" fmla="*/ 5314 h 1016771"/>
                    <a:gd name="connsiteX328" fmla="*/ 554441 w 761692"/>
                    <a:gd name="connsiteY328" fmla="*/ 0 h 1016771"/>
                    <a:gd name="connsiteX0" fmla="*/ 224965 w 761692"/>
                    <a:gd name="connsiteY0" fmla="*/ 880375 h 1016771"/>
                    <a:gd name="connsiteX1" fmla="*/ 243060 w 761692"/>
                    <a:gd name="connsiteY1" fmla="*/ 882965 h 1016771"/>
                    <a:gd name="connsiteX2" fmla="*/ 224965 w 761692"/>
                    <a:gd name="connsiteY2" fmla="*/ 880375 h 1016771"/>
                    <a:gd name="connsiteX3" fmla="*/ 159250 w 761692"/>
                    <a:gd name="connsiteY3" fmla="*/ 829179 h 1016771"/>
                    <a:gd name="connsiteX4" fmla="*/ 159989 w 761692"/>
                    <a:gd name="connsiteY4" fmla="*/ 830410 h 1016771"/>
                    <a:gd name="connsiteX5" fmla="*/ 151512 w 761692"/>
                    <a:gd name="connsiteY5" fmla="*/ 838886 h 1016771"/>
                    <a:gd name="connsiteX6" fmla="*/ 149817 w 761692"/>
                    <a:gd name="connsiteY6" fmla="*/ 840582 h 1016771"/>
                    <a:gd name="connsiteX7" fmla="*/ 148122 w 761692"/>
                    <a:gd name="connsiteY7" fmla="*/ 842277 h 1016771"/>
                    <a:gd name="connsiteX8" fmla="*/ 146426 w 761692"/>
                    <a:gd name="connsiteY8" fmla="*/ 843972 h 1016771"/>
                    <a:gd name="connsiteX9" fmla="*/ 141340 w 761692"/>
                    <a:gd name="connsiteY9" fmla="*/ 849058 h 1016771"/>
                    <a:gd name="connsiteX10" fmla="*/ 141340 w 761692"/>
                    <a:gd name="connsiteY10" fmla="*/ 850754 h 1016771"/>
                    <a:gd name="connsiteX11" fmla="*/ 139645 w 761692"/>
                    <a:gd name="connsiteY11" fmla="*/ 852449 h 1016771"/>
                    <a:gd name="connsiteX12" fmla="*/ 139645 w 761692"/>
                    <a:gd name="connsiteY12" fmla="*/ 860925 h 1016771"/>
                    <a:gd name="connsiteX13" fmla="*/ 148122 w 761692"/>
                    <a:gd name="connsiteY13" fmla="*/ 867707 h 1016771"/>
                    <a:gd name="connsiteX14" fmla="*/ 158294 w 761692"/>
                    <a:gd name="connsiteY14" fmla="*/ 879574 h 1016771"/>
                    <a:gd name="connsiteX15" fmla="*/ 175247 w 761692"/>
                    <a:gd name="connsiteY15" fmla="*/ 889746 h 1016771"/>
                    <a:gd name="connsiteX16" fmla="*/ 188810 w 761692"/>
                    <a:gd name="connsiteY16" fmla="*/ 893137 h 1016771"/>
                    <a:gd name="connsiteX17" fmla="*/ 195591 w 761692"/>
                    <a:gd name="connsiteY17" fmla="*/ 893137 h 1016771"/>
                    <a:gd name="connsiteX18" fmla="*/ 202372 w 761692"/>
                    <a:gd name="connsiteY18" fmla="*/ 886355 h 1016771"/>
                    <a:gd name="connsiteX19" fmla="*/ 200677 w 761692"/>
                    <a:gd name="connsiteY19" fmla="*/ 877879 h 1016771"/>
                    <a:gd name="connsiteX20" fmla="*/ 209154 w 761692"/>
                    <a:gd name="connsiteY20" fmla="*/ 874488 h 1016771"/>
                    <a:gd name="connsiteX21" fmla="*/ 210740 w 761692"/>
                    <a:gd name="connsiteY21" fmla="*/ 875083 h 1016771"/>
                    <a:gd name="connsiteX22" fmla="*/ 201937 w 761692"/>
                    <a:gd name="connsiteY22" fmla="*/ 878604 h 1016771"/>
                    <a:gd name="connsiteX23" fmla="*/ 203708 w 761692"/>
                    <a:gd name="connsiteY23" fmla="*/ 887461 h 1016771"/>
                    <a:gd name="connsiteX24" fmla="*/ 196623 w 761692"/>
                    <a:gd name="connsiteY24" fmla="*/ 894546 h 1016771"/>
                    <a:gd name="connsiteX25" fmla="*/ 189537 w 761692"/>
                    <a:gd name="connsiteY25" fmla="*/ 894546 h 1016771"/>
                    <a:gd name="connsiteX26" fmla="*/ 175366 w 761692"/>
                    <a:gd name="connsiteY26" fmla="*/ 891003 h 1016771"/>
                    <a:gd name="connsiteX27" fmla="*/ 157653 w 761692"/>
                    <a:gd name="connsiteY27" fmla="*/ 880375 h 1016771"/>
                    <a:gd name="connsiteX28" fmla="*/ 147024 w 761692"/>
                    <a:gd name="connsiteY28" fmla="*/ 867975 h 1016771"/>
                    <a:gd name="connsiteX29" fmla="*/ 138167 w 761692"/>
                    <a:gd name="connsiteY29" fmla="*/ 860890 h 1016771"/>
                    <a:gd name="connsiteX30" fmla="*/ 138167 w 761692"/>
                    <a:gd name="connsiteY30" fmla="*/ 852033 h 1016771"/>
                    <a:gd name="connsiteX31" fmla="*/ 139939 w 761692"/>
                    <a:gd name="connsiteY31" fmla="*/ 850262 h 1016771"/>
                    <a:gd name="connsiteX32" fmla="*/ 139939 w 761692"/>
                    <a:gd name="connsiteY32" fmla="*/ 848490 h 1016771"/>
                    <a:gd name="connsiteX33" fmla="*/ 145253 w 761692"/>
                    <a:gd name="connsiteY33" fmla="*/ 843176 h 1016771"/>
                    <a:gd name="connsiteX34" fmla="*/ 147024 w 761692"/>
                    <a:gd name="connsiteY34" fmla="*/ 841405 h 1016771"/>
                    <a:gd name="connsiteX35" fmla="*/ 148796 w 761692"/>
                    <a:gd name="connsiteY35" fmla="*/ 839633 h 1016771"/>
                    <a:gd name="connsiteX36" fmla="*/ 150567 w 761692"/>
                    <a:gd name="connsiteY36" fmla="*/ 837862 h 1016771"/>
                    <a:gd name="connsiteX37" fmla="*/ 159250 w 761692"/>
                    <a:gd name="connsiteY37" fmla="*/ 829179 h 1016771"/>
                    <a:gd name="connsiteX38" fmla="*/ 116476 w 761692"/>
                    <a:gd name="connsiteY38" fmla="*/ 741349 h 1016771"/>
                    <a:gd name="connsiteX39" fmla="*/ 117606 w 761692"/>
                    <a:gd name="connsiteY39" fmla="*/ 742253 h 1016771"/>
                    <a:gd name="connsiteX40" fmla="*/ 122692 w 761692"/>
                    <a:gd name="connsiteY40" fmla="*/ 759206 h 1016771"/>
                    <a:gd name="connsiteX41" fmla="*/ 126082 w 761692"/>
                    <a:gd name="connsiteY41" fmla="*/ 771073 h 1016771"/>
                    <a:gd name="connsiteX42" fmla="*/ 129473 w 761692"/>
                    <a:gd name="connsiteY42" fmla="*/ 782940 h 1016771"/>
                    <a:gd name="connsiteX43" fmla="*/ 132864 w 761692"/>
                    <a:gd name="connsiteY43" fmla="*/ 793112 h 1016771"/>
                    <a:gd name="connsiteX44" fmla="*/ 136254 w 761692"/>
                    <a:gd name="connsiteY44" fmla="*/ 810066 h 1016771"/>
                    <a:gd name="connsiteX45" fmla="*/ 139058 w 761692"/>
                    <a:gd name="connsiteY45" fmla="*/ 818476 h 1016771"/>
                    <a:gd name="connsiteX46" fmla="*/ 138167 w 761692"/>
                    <a:gd name="connsiteY46" fmla="*/ 818377 h 1016771"/>
                    <a:gd name="connsiteX47" fmla="*/ 134625 w 761692"/>
                    <a:gd name="connsiteY47" fmla="*/ 807749 h 1016771"/>
                    <a:gd name="connsiteX48" fmla="*/ 131082 w 761692"/>
                    <a:gd name="connsiteY48" fmla="*/ 790035 h 1016771"/>
                    <a:gd name="connsiteX49" fmla="*/ 127539 w 761692"/>
                    <a:gd name="connsiteY49" fmla="*/ 779407 h 1016771"/>
                    <a:gd name="connsiteX50" fmla="*/ 123996 w 761692"/>
                    <a:gd name="connsiteY50" fmla="*/ 767007 h 1016771"/>
                    <a:gd name="connsiteX51" fmla="*/ 120454 w 761692"/>
                    <a:gd name="connsiteY51" fmla="*/ 754607 h 1016771"/>
                    <a:gd name="connsiteX52" fmla="*/ 116476 w 761692"/>
                    <a:gd name="connsiteY52" fmla="*/ 741349 h 1016771"/>
                    <a:gd name="connsiteX53" fmla="*/ 554441 w 761692"/>
                    <a:gd name="connsiteY53" fmla="*/ 0 h 1016771"/>
                    <a:gd name="connsiteX54" fmla="*/ 570383 w 761692"/>
                    <a:gd name="connsiteY54" fmla="*/ 3543 h 1016771"/>
                    <a:gd name="connsiteX55" fmla="*/ 577469 w 761692"/>
                    <a:gd name="connsiteY55" fmla="*/ 8857 h 1016771"/>
                    <a:gd name="connsiteX56" fmla="*/ 582783 w 761692"/>
                    <a:gd name="connsiteY56" fmla="*/ 17714 h 1016771"/>
                    <a:gd name="connsiteX57" fmla="*/ 582783 w 761692"/>
                    <a:gd name="connsiteY57" fmla="*/ 24799 h 1016771"/>
                    <a:gd name="connsiteX58" fmla="*/ 588097 w 761692"/>
                    <a:gd name="connsiteY58" fmla="*/ 33656 h 1016771"/>
                    <a:gd name="connsiteX59" fmla="*/ 598725 w 761692"/>
                    <a:gd name="connsiteY59" fmla="*/ 31885 h 1016771"/>
                    <a:gd name="connsiteX60" fmla="*/ 612896 w 761692"/>
                    <a:gd name="connsiteY60" fmla="*/ 37199 h 1016771"/>
                    <a:gd name="connsiteX61" fmla="*/ 618211 w 761692"/>
                    <a:gd name="connsiteY61" fmla="*/ 46056 h 1016771"/>
                    <a:gd name="connsiteX62" fmla="*/ 619982 w 761692"/>
                    <a:gd name="connsiteY62" fmla="*/ 54913 h 1016771"/>
                    <a:gd name="connsiteX63" fmla="*/ 618211 w 761692"/>
                    <a:gd name="connsiteY63" fmla="*/ 74398 h 1016771"/>
                    <a:gd name="connsiteX64" fmla="*/ 616439 w 761692"/>
                    <a:gd name="connsiteY64" fmla="*/ 85026 h 1016771"/>
                    <a:gd name="connsiteX65" fmla="*/ 621753 w 761692"/>
                    <a:gd name="connsiteY65" fmla="*/ 97426 h 1016771"/>
                    <a:gd name="connsiteX66" fmla="*/ 637696 w 761692"/>
                    <a:gd name="connsiteY66" fmla="*/ 113368 h 1016771"/>
                    <a:gd name="connsiteX67" fmla="*/ 644781 w 761692"/>
                    <a:gd name="connsiteY67" fmla="*/ 120454 h 1016771"/>
                    <a:gd name="connsiteX68" fmla="*/ 650095 w 761692"/>
                    <a:gd name="connsiteY68" fmla="*/ 136396 h 1016771"/>
                    <a:gd name="connsiteX69" fmla="*/ 655409 w 761692"/>
                    <a:gd name="connsiteY69" fmla="*/ 155881 h 1016771"/>
                    <a:gd name="connsiteX70" fmla="*/ 662495 w 761692"/>
                    <a:gd name="connsiteY70" fmla="*/ 171824 h 1016771"/>
                    <a:gd name="connsiteX71" fmla="*/ 660724 w 761692"/>
                    <a:gd name="connsiteY71" fmla="*/ 185995 h 1016771"/>
                    <a:gd name="connsiteX72" fmla="*/ 635924 w 761692"/>
                    <a:gd name="connsiteY72" fmla="*/ 194852 h 1016771"/>
                    <a:gd name="connsiteX73" fmla="*/ 619982 w 761692"/>
                    <a:gd name="connsiteY73" fmla="*/ 207251 h 1016771"/>
                    <a:gd name="connsiteX74" fmla="*/ 614668 w 761692"/>
                    <a:gd name="connsiteY74" fmla="*/ 223194 h 1016771"/>
                    <a:gd name="connsiteX75" fmla="*/ 618211 w 761692"/>
                    <a:gd name="connsiteY75" fmla="*/ 242679 h 1016771"/>
                    <a:gd name="connsiteX76" fmla="*/ 612896 w 761692"/>
                    <a:gd name="connsiteY76" fmla="*/ 256850 h 1016771"/>
                    <a:gd name="connsiteX77" fmla="*/ 625296 w 761692"/>
                    <a:gd name="connsiteY77" fmla="*/ 267478 h 1016771"/>
                    <a:gd name="connsiteX78" fmla="*/ 641238 w 761692"/>
                    <a:gd name="connsiteY78" fmla="*/ 269250 h 1016771"/>
                    <a:gd name="connsiteX79" fmla="*/ 658952 w 761692"/>
                    <a:gd name="connsiteY79" fmla="*/ 286963 h 1016771"/>
                    <a:gd name="connsiteX80" fmla="*/ 653638 w 761692"/>
                    <a:gd name="connsiteY80" fmla="*/ 309991 h 1016771"/>
                    <a:gd name="connsiteX81" fmla="*/ 653638 w 761692"/>
                    <a:gd name="connsiteY81" fmla="*/ 329476 h 1016771"/>
                    <a:gd name="connsiteX82" fmla="*/ 643010 w 761692"/>
                    <a:gd name="connsiteY82" fmla="*/ 338333 h 1016771"/>
                    <a:gd name="connsiteX83" fmla="*/ 632382 w 761692"/>
                    <a:gd name="connsiteY83" fmla="*/ 338333 h 1016771"/>
                    <a:gd name="connsiteX84" fmla="*/ 618211 w 761692"/>
                    <a:gd name="connsiteY84" fmla="*/ 357819 h 1016771"/>
                    <a:gd name="connsiteX85" fmla="*/ 609354 w 761692"/>
                    <a:gd name="connsiteY85" fmla="*/ 361361 h 1016771"/>
                    <a:gd name="connsiteX86" fmla="*/ 596954 w 761692"/>
                    <a:gd name="connsiteY86" fmla="*/ 363133 h 1016771"/>
                    <a:gd name="connsiteX87" fmla="*/ 581012 w 761692"/>
                    <a:gd name="connsiteY87" fmla="*/ 379075 h 1016771"/>
                    <a:gd name="connsiteX88" fmla="*/ 589868 w 761692"/>
                    <a:gd name="connsiteY88" fmla="*/ 393246 h 1016771"/>
                    <a:gd name="connsiteX89" fmla="*/ 586326 w 761692"/>
                    <a:gd name="connsiteY89" fmla="*/ 409189 h 1016771"/>
                    <a:gd name="connsiteX90" fmla="*/ 570383 w 761692"/>
                    <a:gd name="connsiteY90" fmla="*/ 398560 h 1016771"/>
                    <a:gd name="connsiteX91" fmla="*/ 550898 w 761692"/>
                    <a:gd name="connsiteY91" fmla="*/ 405646 h 1016771"/>
                    <a:gd name="connsiteX92" fmla="*/ 531413 w 761692"/>
                    <a:gd name="connsiteY92" fmla="*/ 425131 h 1016771"/>
                    <a:gd name="connsiteX93" fmla="*/ 543813 w 761692"/>
                    <a:gd name="connsiteY93" fmla="*/ 444616 h 1016771"/>
                    <a:gd name="connsiteX94" fmla="*/ 557984 w 761692"/>
                    <a:gd name="connsiteY94" fmla="*/ 462330 h 1016771"/>
                    <a:gd name="connsiteX95" fmla="*/ 570383 w 761692"/>
                    <a:gd name="connsiteY95" fmla="*/ 478272 h 1016771"/>
                    <a:gd name="connsiteX96" fmla="*/ 579240 w 761692"/>
                    <a:gd name="connsiteY96" fmla="*/ 485358 h 1016771"/>
                    <a:gd name="connsiteX97" fmla="*/ 602268 w 761692"/>
                    <a:gd name="connsiteY97" fmla="*/ 483586 h 1016771"/>
                    <a:gd name="connsiteX98" fmla="*/ 623525 w 761692"/>
                    <a:gd name="connsiteY98" fmla="*/ 474730 h 1016771"/>
                    <a:gd name="connsiteX99" fmla="*/ 639467 w 761692"/>
                    <a:gd name="connsiteY99" fmla="*/ 464101 h 1016771"/>
                    <a:gd name="connsiteX100" fmla="*/ 662495 w 761692"/>
                    <a:gd name="connsiteY100" fmla="*/ 464101 h 1016771"/>
                    <a:gd name="connsiteX101" fmla="*/ 673123 w 761692"/>
                    <a:gd name="connsiteY101" fmla="*/ 464101 h 1016771"/>
                    <a:gd name="connsiteX102" fmla="*/ 681980 w 761692"/>
                    <a:gd name="connsiteY102" fmla="*/ 467644 h 1016771"/>
                    <a:gd name="connsiteX103" fmla="*/ 703237 w 761692"/>
                    <a:gd name="connsiteY103" fmla="*/ 471187 h 1016771"/>
                    <a:gd name="connsiteX104" fmla="*/ 708551 w 761692"/>
                    <a:gd name="connsiteY104" fmla="*/ 474730 h 1016771"/>
                    <a:gd name="connsiteX105" fmla="*/ 722722 w 761692"/>
                    <a:gd name="connsiteY105" fmla="*/ 501300 h 1016771"/>
                    <a:gd name="connsiteX106" fmla="*/ 724493 w 761692"/>
                    <a:gd name="connsiteY106" fmla="*/ 522557 h 1016771"/>
                    <a:gd name="connsiteX107" fmla="*/ 722722 w 761692"/>
                    <a:gd name="connsiteY107" fmla="*/ 540271 h 1016771"/>
                    <a:gd name="connsiteX108" fmla="*/ 735121 w 761692"/>
                    <a:gd name="connsiteY108" fmla="*/ 552670 h 1016771"/>
                    <a:gd name="connsiteX109" fmla="*/ 735121 w 761692"/>
                    <a:gd name="connsiteY109" fmla="*/ 570384 h 1016771"/>
                    <a:gd name="connsiteX110" fmla="*/ 751064 w 761692"/>
                    <a:gd name="connsiteY110" fmla="*/ 581012 h 1016771"/>
                    <a:gd name="connsiteX111" fmla="*/ 761692 w 761692"/>
                    <a:gd name="connsiteY111" fmla="*/ 604040 h 1016771"/>
                    <a:gd name="connsiteX112" fmla="*/ 747521 w 761692"/>
                    <a:gd name="connsiteY112" fmla="*/ 616440 h 1016771"/>
                    <a:gd name="connsiteX113" fmla="*/ 728036 w 761692"/>
                    <a:gd name="connsiteY113" fmla="*/ 627068 h 1016771"/>
                    <a:gd name="connsiteX114" fmla="*/ 726264 w 761692"/>
                    <a:gd name="connsiteY114" fmla="*/ 650096 h 1016771"/>
                    <a:gd name="connsiteX115" fmla="*/ 728036 w 761692"/>
                    <a:gd name="connsiteY115" fmla="*/ 673124 h 1016771"/>
                    <a:gd name="connsiteX116" fmla="*/ 742207 w 761692"/>
                    <a:gd name="connsiteY116" fmla="*/ 689066 h 1016771"/>
                    <a:gd name="connsiteX117" fmla="*/ 742207 w 761692"/>
                    <a:gd name="connsiteY117" fmla="*/ 712094 h 1016771"/>
                    <a:gd name="connsiteX118" fmla="*/ 740435 w 761692"/>
                    <a:gd name="connsiteY118" fmla="*/ 735122 h 1016771"/>
                    <a:gd name="connsiteX119" fmla="*/ 742207 w 761692"/>
                    <a:gd name="connsiteY119" fmla="*/ 751065 h 1016771"/>
                    <a:gd name="connsiteX120" fmla="*/ 747521 w 761692"/>
                    <a:gd name="connsiteY120" fmla="*/ 768778 h 1016771"/>
                    <a:gd name="connsiteX121" fmla="*/ 759921 w 761692"/>
                    <a:gd name="connsiteY121" fmla="*/ 777635 h 1016771"/>
                    <a:gd name="connsiteX122" fmla="*/ 758149 w 761692"/>
                    <a:gd name="connsiteY122" fmla="*/ 802434 h 1016771"/>
                    <a:gd name="connsiteX123" fmla="*/ 752835 w 761692"/>
                    <a:gd name="connsiteY123" fmla="*/ 814834 h 1016771"/>
                    <a:gd name="connsiteX124" fmla="*/ 743978 w 761692"/>
                    <a:gd name="connsiteY124" fmla="*/ 827234 h 1016771"/>
                    <a:gd name="connsiteX125" fmla="*/ 743978 w 761692"/>
                    <a:gd name="connsiteY125" fmla="*/ 837862 h 1016771"/>
                    <a:gd name="connsiteX126" fmla="*/ 747521 w 761692"/>
                    <a:gd name="connsiteY126" fmla="*/ 853804 h 1016771"/>
                    <a:gd name="connsiteX127" fmla="*/ 733350 w 761692"/>
                    <a:gd name="connsiteY127" fmla="*/ 867975 h 1016771"/>
                    <a:gd name="connsiteX128" fmla="*/ 724493 w 761692"/>
                    <a:gd name="connsiteY128" fmla="*/ 880375 h 1016771"/>
                    <a:gd name="connsiteX129" fmla="*/ 722722 w 761692"/>
                    <a:gd name="connsiteY129" fmla="*/ 899860 h 1016771"/>
                    <a:gd name="connsiteX130" fmla="*/ 722722 w 761692"/>
                    <a:gd name="connsiteY130" fmla="*/ 919345 h 1016771"/>
                    <a:gd name="connsiteX131" fmla="*/ 715636 w 761692"/>
                    <a:gd name="connsiteY131" fmla="*/ 940602 h 1016771"/>
                    <a:gd name="connsiteX132" fmla="*/ 708551 w 761692"/>
                    <a:gd name="connsiteY132" fmla="*/ 954773 h 1016771"/>
                    <a:gd name="connsiteX133" fmla="*/ 699694 w 761692"/>
                    <a:gd name="connsiteY133" fmla="*/ 965401 h 1016771"/>
                    <a:gd name="connsiteX134" fmla="*/ 692608 w 761692"/>
                    <a:gd name="connsiteY134" fmla="*/ 984886 h 1016771"/>
                    <a:gd name="connsiteX135" fmla="*/ 683751 w 761692"/>
                    <a:gd name="connsiteY135" fmla="*/ 997286 h 1016771"/>
                    <a:gd name="connsiteX136" fmla="*/ 673123 w 761692"/>
                    <a:gd name="connsiteY136" fmla="*/ 1002600 h 1016771"/>
                    <a:gd name="connsiteX137" fmla="*/ 662495 w 761692"/>
                    <a:gd name="connsiteY137" fmla="*/ 1013228 h 1016771"/>
                    <a:gd name="connsiteX138" fmla="*/ 644781 w 761692"/>
                    <a:gd name="connsiteY138" fmla="*/ 1016771 h 1016771"/>
                    <a:gd name="connsiteX139" fmla="*/ 635924 w 761692"/>
                    <a:gd name="connsiteY139" fmla="*/ 1004372 h 1016771"/>
                    <a:gd name="connsiteX140" fmla="*/ 623525 w 761692"/>
                    <a:gd name="connsiteY140" fmla="*/ 997286 h 1016771"/>
                    <a:gd name="connsiteX141" fmla="*/ 614668 w 761692"/>
                    <a:gd name="connsiteY141" fmla="*/ 986658 h 1016771"/>
                    <a:gd name="connsiteX142" fmla="*/ 593411 w 761692"/>
                    <a:gd name="connsiteY142" fmla="*/ 970715 h 1016771"/>
                    <a:gd name="connsiteX143" fmla="*/ 582783 w 761692"/>
                    <a:gd name="connsiteY143" fmla="*/ 965401 h 1016771"/>
                    <a:gd name="connsiteX144" fmla="*/ 531413 w 761692"/>
                    <a:gd name="connsiteY144" fmla="*/ 965401 h 1016771"/>
                    <a:gd name="connsiteX145" fmla="*/ 511928 w 761692"/>
                    <a:gd name="connsiteY145" fmla="*/ 965401 h 1016771"/>
                    <a:gd name="connsiteX146" fmla="*/ 492443 w 761692"/>
                    <a:gd name="connsiteY146" fmla="*/ 963630 h 1016771"/>
                    <a:gd name="connsiteX147" fmla="*/ 483586 w 761692"/>
                    <a:gd name="connsiteY147" fmla="*/ 958316 h 1016771"/>
                    <a:gd name="connsiteX148" fmla="*/ 469415 w 761692"/>
                    <a:gd name="connsiteY148" fmla="*/ 954773 h 1016771"/>
                    <a:gd name="connsiteX149" fmla="*/ 460558 w 761692"/>
                    <a:gd name="connsiteY149" fmla="*/ 942373 h 1016771"/>
                    <a:gd name="connsiteX150" fmla="*/ 446387 w 761692"/>
                    <a:gd name="connsiteY150" fmla="*/ 935288 h 1016771"/>
                    <a:gd name="connsiteX151" fmla="*/ 428673 w 761692"/>
                    <a:gd name="connsiteY151" fmla="*/ 928202 h 1016771"/>
                    <a:gd name="connsiteX152" fmla="*/ 418045 w 761692"/>
                    <a:gd name="connsiteY152" fmla="*/ 917574 h 1016771"/>
                    <a:gd name="connsiteX153" fmla="*/ 421588 w 761692"/>
                    <a:gd name="connsiteY153" fmla="*/ 903403 h 1016771"/>
                    <a:gd name="connsiteX154" fmla="*/ 418045 w 761692"/>
                    <a:gd name="connsiteY154" fmla="*/ 898089 h 1016771"/>
                    <a:gd name="connsiteX155" fmla="*/ 396788 w 761692"/>
                    <a:gd name="connsiteY155" fmla="*/ 898089 h 1016771"/>
                    <a:gd name="connsiteX156" fmla="*/ 382617 w 761692"/>
                    <a:gd name="connsiteY156" fmla="*/ 896318 h 1016771"/>
                    <a:gd name="connsiteX157" fmla="*/ 380846 w 761692"/>
                    <a:gd name="connsiteY157" fmla="*/ 906946 h 1016771"/>
                    <a:gd name="connsiteX158" fmla="*/ 373601 w 761692"/>
                    <a:gd name="connsiteY158" fmla="*/ 894832 h 1016771"/>
                    <a:gd name="connsiteX159" fmla="*/ 387164 w 761692"/>
                    <a:gd name="connsiteY159" fmla="*/ 896527 h 1016771"/>
                    <a:gd name="connsiteX160" fmla="*/ 383773 w 761692"/>
                    <a:gd name="connsiteY160" fmla="*/ 886355 h 1016771"/>
                    <a:gd name="connsiteX161" fmla="*/ 387164 w 761692"/>
                    <a:gd name="connsiteY161" fmla="*/ 876183 h 1016771"/>
                    <a:gd name="connsiteX162" fmla="*/ 388859 w 761692"/>
                    <a:gd name="connsiteY162" fmla="*/ 867707 h 1016771"/>
                    <a:gd name="connsiteX163" fmla="*/ 380382 w 761692"/>
                    <a:gd name="connsiteY163" fmla="*/ 859230 h 1016771"/>
                    <a:gd name="connsiteX164" fmla="*/ 373601 w 761692"/>
                    <a:gd name="connsiteY164" fmla="*/ 849058 h 1016771"/>
                    <a:gd name="connsiteX165" fmla="*/ 380382 w 761692"/>
                    <a:gd name="connsiteY165" fmla="*/ 838886 h 1016771"/>
                    <a:gd name="connsiteX166" fmla="*/ 383773 w 761692"/>
                    <a:gd name="connsiteY166" fmla="*/ 833800 h 1016771"/>
                    <a:gd name="connsiteX167" fmla="*/ 388859 w 761692"/>
                    <a:gd name="connsiteY167" fmla="*/ 825324 h 1016771"/>
                    <a:gd name="connsiteX168" fmla="*/ 387164 w 761692"/>
                    <a:gd name="connsiteY168" fmla="*/ 810066 h 1016771"/>
                    <a:gd name="connsiteX169" fmla="*/ 387164 w 761692"/>
                    <a:gd name="connsiteY169" fmla="*/ 796503 h 1016771"/>
                    <a:gd name="connsiteX170" fmla="*/ 378687 w 761692"/>
                    <a:gd name="connsiteY170" fmla="*/ 789722 h 1016771"/>
                    <a:gd name="connsiteX171" fmla="*/ 366820 w 761692"/>
                    <a:gd name="connsiteY171" fmla="*/ 782940 h 1016771"/>
                    <a:gd name="connsiteX172" fmla="*/ 356648 w 761692"/>
                    <a:gd name="connsiteY172" fmla="*/ 781245 h 1016771"/>
                    <a:gd name="connsiteX173" fmla="*/ 349866 w 761692"/>
                    <a:gd name="connsiteY173" fmla="*/ 771073 h 1016771"/>
                    <a:gd name="connsiteX174" fmla="*/ 349866 w 761692"/>
                    <a:gd name="connsiteY174" fmla="*/ 752425 h 1016771"/>
                    <a:gd name="connsiteX175" fmla="*/ 353257 w 761692"/>
                    <a:gd name="connsiteY175" fmla="*/ 743948 h 1016771"/>
                    <a:gd name="connsiteX176" fmla="*/ 354952 w 761692"/>
                    <a:gd name="connsiteY176" fmla="*/ 730385 h 1016771"/>
                    <a:gd name="connsiteX177" fmla="*/ 353257 w 761692"/>
                    <a:gd name="connsiteY177" fmla="*/ 713432 h 1016771"/>
                    <a:gd name="connsiteX178" fmla="*/ 346476 w 761692"/>
                    <a:gd name="connsiteY178" fmla="*/ 701565 h 1016771"/>
                    <a:gd name="connsiteX179" fmla="*/ 332913 w 761692"/>
                    <a:gd name="connsiteY179" fmla="*/ 689697 h 1016771"/>
                    <a:gd name="connsiteX180" fmla="*/ 324436 w 761692"/>
                    <a:gd name="connsiteY180" fmla="*/ 681221 h 1016771"/>
                    <a:gd name="connsiteX181" fmla="*/ 314264 w 761692"/>
                    <a:gd name="connsiteY181" fmla="*/ 676135 h 1016771"/>
                    <a:gd name="connsiteX182" fmla="*/ 293920 w 761692"/>
                    <a:gd name="connsiteY182" fmla="*/ 669354 h 1016771"/>
                    <a:gd name="connsiteX183" fmla="*/ 282053 w 761692"/>
                    <a:gd name="connsiteY183" fmla="*/ 667658 h 1016771"/>
                    <a:gd name="connsiteX184" fmla="*/ 266795 w 761692"/>
                    <a:gd name="connsiteY184" fmla="*/ 672744 h 1016771"/>
                    <a:gd name="connsiteX185" fmla="*/ 265100 w 761692"/>
                    <a:gd name="connsiteY185" fmla="*/ 672744 h 1016771"/>
                    <a:gd name="connsiteX186" fmla="*/ 263404 w 761692"/>
                    <a:gd name="connsiteY186" fmla="*/ 671049 h 1016771"/>
                    <a:gd name="connsiteX187" fmla="*/ 260014 w 761692"/>
                    <a:gd name="connsiteY187" fmla="*/ 671049 h 1016771"/>
                    <a:gd name="connsiteX188" fmla="*/ 258318 w 761692"/>
                    <a:gd name="connsiteY188" fmla="*/ 671049 h 1016771"/>
                    <a:gd name="connsiteX189" fmla="*/ 253232 w 761692"/>
                    <a:gd name="connsiteY189" fmla="*/ 671049 h 1016771"/>
                    <a:gd name="connsiteX190" fmla="*/ 248146 w 761692"/>
                    <a:gd name="connsiteY190" fmla="*/ 672744 h 1016771"/>
                    <a:gd name="connsiteX191" fmla="*/ 248146 w 761692"/>
                    <a:gd name="connsiteY191" fmla="*/ 674440 h 1016771"/>
                    <a:gd name="connsiteX192" fmla="*/ 246451 w 761692"/>
                    <a:gd name="connsiteY192" fmla="*/ 674440 h 1016771"/>
                    <a:gd name="connsiteX193" fmla="*/ 236279 w 761692"/>
                    <a:gd name="connsiteY193" fmla="*/ 679526 h 1016771"/>
                    <a:gd name="connsiteX194" fmla="*/ 226107 w 761692"/>
                    <a:gd name="connsiteY194" fmla="*/ 684612 h 1016771"/>
                    <a:gd name="connsiteX195" fmla="*/ 217630 w 761692"/>
                    <a:gd name="connsiteY195" fmla="*/ 684612 h 1016771"/>
                    <a:gd name="connsiteX196" fmla="*/ 207458 w 761692"/>
                    <a:gd name="connsiteY196" fmla="*/ 693088 h 1016771"/>
                    <a:gd name="connsiteX197" fmla="*/ 198982 w 761692"/>
                    <a:gd name="connsiteY197" fmla="*/ 694783 h 1016771"/>
                    <a:gd name="connsiteX198" fmla="*/ 192200 w 761692"/>
                    <a:gd name="connsiteY198" fmla="*/ 699869 h 1016771"/>
                    <a:gd name="connsiteX199" fmla="*/ 178638 w 761692"/>
                    <a:gd name="connsiteY199" fmla="*/ 706651 h 1016771"/>
                    <a:gd name="connsiteX200" fmla="*/ 163380 w 761692"/>
                    <a:gd name="connsiteY200" fmla="*/ 710041 h 1016771"/>
                    <a:gd name="connsiteX201" fmla="*/ 141340 w 761692"/>
                    <a:gd name="connsiteY201" fmla="*/ 710041 h 1016771"/>
                    <a:gd name="connsiteX202" fmla="*/ 134559 w 761692"/>
                    <a:gd name="connsiteY202" fmla="*/ 716823 h 1016771"/>
                    <a:gd name="connsiteX203" fmla="*/ 127778 w 761692"/>
                    <a:gd name="connsiteY203" fmla="*/ 718518 h 1016771"/>
                    <a:gd name="connsiteX204" fmla="*/ 120996 w 761692"/>
                    <a:gd name="connsiteY204" fmla="*/ 725299 h 1016771"/>
                    <a:gd name="connsiteX205" fmla="*/ 111172 w 761692"/>
                    <a:gd name="connsiteY205" fmla="*/ 733720 h 1016771"/>
                    <a:gd name="connsiteX206" fmla="*/ 106283 w 761692"/>
                    <a:gd name="connsiteY206" fmla="*/ 729808 h 1016771"/>
                    <a:gd name="connsiteX207" fmla="*/ 92112 w 761692"/>
                    <a:gd name="connsiteY207" fmla="*/ 724494 h 1016771"/>
                    <a:gd name="connsiteX208" fmla="*/ 77941 w 761692"/>
                    <a:gd name="connsiteY208" fmla="*/ 726265 h 1016771"/>
                    <a:gd name="connsiteX209" fmla="*/ 70855 w 761692"/>
                    <a:gd name="connsiteY209" fmla="*/ 719180 h 1016771"/>
                    <a:gd name="connsiteX210" fmla="*/ 70855 w 761692"/>
                    <a:gd name="connsiteY210" fmla="*/ 699695 h 1016771"/>
                    <a:gd name="connsiteX211" fmla="*/ 81483 w 761692"/>
                    <a:gd name="connsiteY211" fmla="*/ 685524 h 1016771"/>
                    <a:gd name="connsiteX212" fmla="*/ 85026 w 761692"/>
                    <a:gd name="connsiteY212" fmla="*/ 673124 h 1016771"/>
                    <a:gd name="connsiteX213" fmla="*/ 86797 w 761692"/>
                    <a:gd name="connsiteY213" fmla="*/ 660724 h 1016771"/>
                    <a:gd name="connsiteX214" fmla="*/ 97426 w 761692"/>
                    <a:gd name="connsiteY214" fmla="*/ 650096 h 1016771"/>
                    <a:gd name="connsiteX215" fmla="*/ 102740 w 761692"/>
                    <a:gd name="connsiteY215" fmla="*/ 635925 h 1016771"/>
                    <a:gd name="connsiteX216" fmla="*/ 113368 w 761692"/>
                    <a:gd name="connsiteY216" fmla="*/ 625297 h 1016771"/>
                    <a:gd name="connsiteX217" fmla="*/ 115139 w 761692"/>
                    <a:gd name="connsiteY217" fmla="*/ 612897 h 1016771"/>
                    <a:gd name="connsiteX218" fmla="*/ 127539 w 761692"/>
                    <a:gd name="connsiteY218" fmla="*/ 609354 h 1016771"/>
                    <a:gd name="connsiteX219" fmla="*/ 136396 w 761692"/>
                    <a:gd name="connsiteY219" fmla="*/ 604040 h 1016771"/>
                    <a:gd name="connsiteX220" fmla="*/ 132853 w 761692"/>
                    <a:gd name="connsiteY220" fmla="*/ 593412 h 1016771"/>
                    <a:gd name="connsiteX221" fmla="*/ 134625 w 761692"/>
                    <a:gd name="connsiteY221" fmla="*/ 584555 h 1016771"/>
                    <a:gd name="connsiteX222" fmla="*/ 131082 w 761692"/>
                    <a:gd name="connsiteY222" fmla="*/ 575698 h 1016771"/>
                    <a:gd name="connsiteX223" fmla="*/ 120454 w 761692"/>
                    <a:gd name="connsiteY223" fmla="*/ 568613 h 1016771"/>
                    <a:gd name="connsiteX224" fmla="*/ 125768 w 761692"/>
                    <a:gd name="connsiteY224" fmla="*/ 552670 h 1016771"/>
                    <a:gd name="connsiteX225" fmla="*/ 118682 w 761692"/>
                    <a:gd name="connsiteY225" fmla="*/ 543813 h 1016771"/>
                    <a:gd name="connsiteX226" fmla="*/ 90340 w 761692"/>
                    <a:gd name="connsiteY226" fmla="*/ 543813 h 1016771"/>
                    <a:gd name="connsiteX227" fmla="*/ 86797 w 761692"/>
                    <a:gd name="connsiteY227" fmla="*/ 542042 h 1016771"/>
                    <a:gd name="connsiteX228" fmla="*/ 83255 w 761692"/>
                    <a:gd name="connsiteY228" fmla="*/ 542042 h 1016771"/>
                    <a:gd name="connsiteX229" fmla="*/ 81483 w 761692"/>
                    <a:gd name="connsiteY229" fmla="*/ 540271 h 1016771"/>
                    <a:gd name="connsiteX230" fmla="*/ 81483 w 761692"/>
                    <a:gd name="connsiteY230" fmla="*/ 536728 h 1016771"/>
                    <a:gd name="connsiteX231" fmla="*/ 79712 w 761692"/>
                    <a:gd name="connsiteY231" fmla="*/ 531414 h 1016771"/>
                    <a:gd name="connsiteX232" fmla="*/ 77941 w 761692"/>
                    <a:gd name="connsiteY232" fmla="*/ 529642 h 1016771"/>
                    <a:gd name="connsiteX233" fmla="*/ 70855 w 761692"/>
                    <a:gd name="connsiteY233" fmla="*/ 527871 h 1016771"/>
                    <a:gd name="connsiteX234" fmla="*/ 60227 w 761692"/>
                    <a:gd name="connsiteY234" fmla="*/ 536728 h 1016771"/>
                    <a:gd name="connsiteX235" fmla="*/ 47827 w 761692"/>
                    <a:gd name="connsiteY235" fmla="*/ 526100 h 1016771"/>
                    <a:gd name="connsiteX236" fmla="*/ 42513 w 761692"/>
                    <a:gd name="connsiteY236" fmla="*/ 515471 h 1016771"/>
                    <a:gd name="connsiteX237" fmla="*/ 33656 w 761692"/>
                    <a:gd name="connsiteY237" fmla="*/ 506614 h 1016771"/>
                    <a:gd name="connsiteX238" fmla="*/ 31885 w 761692"/>
                    <a:gd name="connsiteY238" fmla="*/ 490672 h 1016771"/>
                    <a:gd name="connsiteX239" fmla="*/ 26571 w 761692"/>
                    <a:gd name="connsiteY239" fmla="*/ 476501 h 1016771"/>
                    <a:gd name="connsiteX240" fmla="*/ 24799 w 761692"/>
                    <a:gd name="connsiteY240" fmla="*/ 471187 h 1016771"/>
                    <a:gd name="connsiteX241" fmla="*/ 12400 w 761692"/>
                    <a:gd name="connsiteY241" fmla="*/ 472958 h 1016771"/>
                    <a:gd name="connsiteX242" fmla="*/ 7086 w 761692"/>
                    <a:gd name="connsiteY242" fmla="*/ 464101 h 1016771"/>
                    <a:gd name="connsiteX243" fmla="*/ 8857 w 761692"/>
                    <a:gd name="connsiteY243" fmla="*/ 446388 h 1016771"/>
                    <a:gd name="connsiteX244" fmla="*/ 3543 w 761692"/>
                    <a:gd name="connsiteY244" fmla="*/ 435759 h 1016771"/>
                    <a:gd name="connsiteX245" fmla="*/ 5314 w 761692"/>
                    <a:gd name="connsiteY245" fmla="*/ 412731 h 1016771"/>
                    <a:gd name="connsiteX246" fmla="*/ 0 w 761692"/>
                    <a:gd name="connsiteY246" fmla="*/ 396789 h 1016771"/>
                    <a:gd name="connsiteX247" fmla="*/ 3543 w 761692"/>
                    <a:gd name="connsiteY247" fmla="*/ 384389 h 1016771"/>
                    <a:gd name="connsiteX248" fmla="*/ 14171 w 761692"/>
                    <a:gd name="connsiteY248" fmla="*/ 380846 h 1016771"/>
                    <a:gd name="connsiteX249" fmla="*/ 24799 w 761692"/>
                    <a:gd name="connsiteY249" fmla="*/ 364904 h 1016771"/>
                    <a:gd name="connsiteX250" fmla="*/ 30113 w 761692"/>
                    <a:gd name="connsiteY250" fmla="*/ 350733 h 1016771"/>
                    <a:gd name="connsiteX251" fmla="*/ 35428 w 761692"/>
                    <a:gd name="connsiteY251" fmla="*/ 341876 h 1016771"/>
                    <a:gd name="connsiteX252" fmla="*/ 42513 w 761692"/>
                    <a:gd name="connsiteY252" fmla="*/ 327705 h 1016771"/>
                    <a:gd name="connsiteX253" fmla="*/ 42513 w 761692"/>
                    <a:gd name="connsiteY253" fmla="*/ 315305 h 1016771"/>
                    <a:gd name="connsiteX254" fmla="*/ 56684 w 761692"/>
                    <a:gd name="connsiteY254" fmla="*/ 309991 h 1016771"/>
                    <a:gd name="connsiteX255" fmla="*/ 60227 w 761692"/>
                    <a:gd name="connsiteY255" fmla="*/ 309991 h 1016771"/>
                    <a:gd name="connsiteX256" fmla="*/ 61998 w 761692"/>
                    <a:gd name="connsiteY256" fmla="*/ 311763 h 1016771"/>
                    <a:gd name="connsiteX257" fmla="*/ 67312 w 761692"/>
                    <a:gd name="connsiteY257" fmla="*/ 311763 h 1016771"/>
                    <a:gd name="connsiteX258" fmla="*/ 67312 w 761692"/>
                    <a:gd name="connsiteY258" fmla="*/ 309991 h 1016771"/>
                    <a:gd name="connsiteX259" fmla="*/ 67312 w 761692"/>
                    <a:gd name="connsiteY259" fmla="*/ 308220 h 1016771"/>
                    <a:gd name="connsiteX260" fmla="*/ 69084 w 761692"/>
                    <a:gd name="connsiteY260" fmla="*/ 302906 h 1016771"/>
                    <a:gd name="connsiteX261" fmla="*/ 70855 w 761692"/>
                    <a:gd name="connsiteY261" fmla="*/ 301134 h 1016771"/>
                    <a:gd name="connsiteX262" fmla="*/ 70855 w 761692"/>
                    <a:gd name="connsiteY262" fmla="*/ 299363 h 1016771"/>
                    <a:gd name="connsiteX263" fmla="*/ 77941 w 761692"/>
                    <a:gd name="connsiteY263" fmla="*/ 295820 h 1016771"/>
                    <a:gd name="connsiteX264" fmla="*/ 85026 w 761692"/>
                    <a:gd name="connsiteY264" fmla="*/ 295820 h 1016771"/>
                    <a:gd name="connsiteX265" fmla="*/ 93883 w 761692"/>
                    <a:gd name="connsiteY265" fmla="*/ 297592 h 1016771"/>
                    <a:gd name="connsiteX266" fmla="*/ 100968 w 761692"/>
                    <a:gd name="connsiteY266" fmla="*/ 288735 h 1016771"/>
                    <a:gd name="connsiteX267" fmla="*/ 97426 w 761692"/>
                    <a:gd name="connsiteY267" fmla="*/ 279878 h 1016771"/>
                    <a:gd name="connsiteX268" fmla="*/ 85026 w 761692"/>
                    <a:gd name="connsiteY268" fmla="*/ 276335 h 1016771"/>
                    <a:gd name="connsiteX269" fmla="*/ 76169 w 761692"/>
                    <a:gd name="connsiteY269" fmla="*/ 271021 h 1016771"/>
                    <a:gd name="connsiteX270" fmla="*/ 76169 w 761692"/>
                    <a:gd name="connsiteY270" fmla="*/ 262164 h 1016771"/>
                    <a:gd name="connsiteX271" fmla="*/ 81483 w 761692"/>
                    <a:gd name="connsiteY271" fmla="*/ 251536 h 1016771"/>
                    <a:gd name="connsiteX272" fmla="*/ 86797 w 761692"/>
                    <a:gd name="connsiteY272" fmla="*/ 255079 h 1016771"/>
                    <a:gd name="connsiteX273" fmla="*/ 104511 w 761692"/>
                    <a:gd name="connsiteY273" fmla="*/ 262164 h 1016771"/>
                    <a:gd name="connsiteX274" fmla="*/ 116911 w 761692"/>
                    <a:gd name="connsiteY274" fmla="*/ 265707 h 1016771"/>
                    <a:gd name="connsiteX275" fmla="*/ 132853 w 761692"/>
                    <a:gd name="connsiteY275" fmla="*/ 269250 h 1016771"/>
                    <a:gd name="connsiteX276" fmla="*/ 138167 w 761692"/>
                    <a:gd name="connsiteY276" fmla="*/ 265707 h 1016771"/>
                    <a:gd name="connsiteX277" fmla="*/ 150567 w 761692"/>
                    <a:gd name="connsiteY277" fmla="*/ 255079 h 1016771"/>
                    <a:gd name="connsiteX278" fmla="*/ 166509 w 761692"/>
                    <a:gd name="connsiteY278" fmla="*/ 255079 h 1016771"/>
                    <a:gd name="connsiteX279" fmla="*/ 166509 w 761692"/>
                    <a:gd name="connsiteY279" fmla="*/ 265707 h 1016771"/>
                    <a:gd name="connsiteX280" fmla="*/ 177138 w 761692"/>
                    <a:gd name="connsiteY280" fmla="*/ 272792 h 1016771"/>
                    <a:gd name="connsiteX281" fmla="*/ 194851 w 761692"/>
                    <a:gd name="connsiteY281" fmla="*/ 276335 h 1016771"/>
                    <a:gd name="connsiteX282" fmla="*/ 209022 w 761692"/>
                    <a:gd name="connsiteY282" fmla="*/ 279878 h 1016771"/>
                    <a:gd name="connsiteX283" fmla="*/ 221422 w 761692"/>
                    <a:gd name="connsiteY283" fmla="*/ 276335 h 1016771"/>
                    <a:gd name="connsiteX284" fmla="*/ 226736 w 761692"/>
                    <a:gd name="connsiteY284" fmla="*/ 269250 h 1016771"/>
                    <a:gd name="connsiteX285" fmla="*/ 226736 w 761692"/>
                    <a:gd name="connsiteY285" fmla="*/ 251536 h 1016771"/>
                    <a:gd name="connsiteX286" fmla="*/ 224965 w 761692"/>
                    <a:gd name="connsiteY286" fmla="*/ 239136 h 1016771"/>
                    <a:gd name="connsiteX287" fmla="*/ 214337 w 761692"/>
                    <a:gd name="connsiteY287" fmla="*/ 230279 h 1016771"/>
                    <a:gd name="connsiteX288" fmla="*/ 210794 w 761692"/>
                    <a:gd name="connsiteY288" fmla="*/ 217880 h 1016771"/>
                    <a:gd name="connsiteX289" fmla="*/ 221422 w 761692"/>
                    <a:gd name="connsiteY289" fmla="*/ 207251 h 1016771"/>
                    <a:gd name="connsiteX290" fmla="*/ 235593 w 761692"/>
                    <a:gd name="connsiteY290" fmla="*/ 214337 h 1016771"/>
                    <a:gd name="connsiteX291" fmla="*/ 246221 w 761692"/>
                    <a:gd name="connsiteY291" fmla="*/ 219651 h 1016771"/>
                    <a:gd name="connsiteX292" fmla="*/ 253307 w 761692"/>
                    <a:gd name="connsiteY292" fmla="*/ 221422 h 1016771"/>
                    <a:gd name="connsiteX293" fmla="*/ 262164 w 761692"/>
                    <a:gd name="connsiteY293" fmla="*/ 210794 h 1016771"/>
                    <a:gd name="connsiteX294" fmla="*/ 263935 w 761692"/>
                    <a:gd name="connsiteY294" fmla="*/ 201937 h 1016771"/>
                    <a:gd name="connsiteX295" fmla="*/ 274563 w 761692"/>
                    <a:gd name="connsiteY295" fmla="*/ 189538 h 1016771"/>
                    <a:gd name="connsiteX296" fmla="*/ 283420 w 761692"/>
                    <a:gd name="connsiteY296" fmla="*/ 178909 h 1016771"/>
                    <a:gd name="connsiteX297" fmla="*/ 286963 w 761692"/>
                    <a:gd name="connsiteY297" fmla="*/ 173595 h 1016771"/>
                    <a:gd name="connsiteX298" fmla="*/ 311762 w 761692"/>
                    <a:gd name="connsiteY298" fmla="*/ 168281 h 1016771"/>
                    <a:gd name="connsiteX299" fmla="*/ 325933 w 761692"/>
                    <a:gd name="connsiteY299" fmla="*/ 164738 h 1016771"/>
                    <a:gd name="connsiteX300" fmla="*/ 336562 w 761692"/>
                    <a:gd name="connsiteY300" fmla="*/ 159424 h 1016771"/>
                    <a:gd name="connsiteX301" fmla="*/ 348961 w 761692"/>
                    <a:gd name="connsiteY301" fmla="*/ 145253 h 1016771"/>
                    <a:gd name="connsiteX302" fmla="*/ 359589 w 761692"/>
                    <a:gd name="connsiteY302" fmla="*/ 143482 h 1016771"/>
                    <a:gd name="connsiteX303" fmla="*/ 371989 w 761692"/>
                    <a:gd name="connsiteY303" fmla="*/ 143482 h 1016771"/>
                    <a:gd name="connsiteX304" fmla="*/ 391474 w 761692"/>
                    <a:gd name="connsiteY304" fmla="*/ 143482 h 1016771"/>
                    <a:gd name="connsiteX305" fmla="*/ 396788 w 761692"/>
                    <a:gd name="connsiteY305" fmla="*/ 141710 h 1016771"/>
                    <a:gd name="connsiteX306" fmla="*/ 403874 w 761692"/>
                    <a:gd name="connsiteY306" fmla="*/ 134625 h 1016771"/>
                    <a:gd name="connsiteX307" fmla="*/ 409188 w 761692"/>
                    <a:gd name="connsiteY307" fmla="*/ 129311 h 1016771"/>
                    <a:gd name="connsiteX308" fmla="*/ 409188 w 761692"/>
                    <a:gd name="connsiteY308" fmla="*/ 123997 h 1016771"/>
                    <a:gd name="connsiteX309" fmla="*/ 414502 w 761692"/>
                    <a:gd name="connsiteY309" fmla="*/ 115140 h 1016771"/>
                    <a:gd name="connsiteX310" fmla="*/ 428673 w 761692"/>
                    <a:gd name="connsiteY310" fmla="*/ 115140 h 1016771"/>
                    <a:gd name="connsiteX311" fmla="*/ 432216 w 761692"/>
                    <a:gd name="connsiteY311" fmla="*/ 109826 h 1016771"/>
                    <a:gd name="connsiteX312" fmla="*/ 437530 w 761692"/>
                    <a:gd name="connsiteY312" fmla="*/ 100969 h 1016771"/>
                    <a:gd name="connsiteX313" fmla="*/ 448158 w 761692"/>
                    <a:gd name="connsiteY313" fmla="*/ 99197 h 1016771"/>
                    <a:gd name="connsiteX314" fmla="*/ 460558 w 761692"/>
                    <a:gd name="connsiteY314" fmla="*/ 97426 h 1016771"/>
                    <a:gd name="connsiteX315" fmla="*/ 472958 w 761692"/>
                    <a:gd name="connsiteY315" fmla="*/ 93883 h 1016771"/>
                    <a:gd name="connsiteX316" fmla="*/ 492443 w 761692"/>
                    <a:gd name="connsiteY316" fmla="*/ 93883 h 1016771"/>
                    <a:gd name="connsiteX317" fmla="*/ 501300 w 761692"/>
                    <a:gd name="connsiteY317" fmla="*/ 83255 h 1016771"/>
                    <a:gd name="connsiteX318" fmla="*/ 517242 w 761692"/>
                    <a:gd name="connsiteY318" fmla="*/ 81484 h 1016771"/>
                    <a:gd name="connsiteX319" fmla="*/ 522556 w 761692"/>
                    <a:gd name="connsiteY319" fmla="*/ 81484 h 1016771"/>
                    <a:gd name="connsiteX320" fmla="*/ 522556 w 761692"/>
                    <a:gd name="connsiteY320" fmla="*/ 60227 h 1016771"/>
                    <a:gd name="connsiteX321" fmla="*/ 526099 w 761692"/>
                    <a:gd name="connsiteY321" fmla="*/ 54913 h 1016771"/>
                    <a:gd name="connsiteX322" fmla="*/ 529642 w 761692"/>
                    <a:gd name="connsiteY322" fmla="*/ 46056 h 1016771"/>
                    <a:gd name="connsiteX323" fmla="*/ 538499 w 761692"/>
                    <a:gd name="connsiteY323" fmla="*/ 40742 h 1016771"/>
                    <a:gd name="connsiteX324" fmla="*/ 540270 w 761692"/>
                    <a:gd name="connsiteY324" fmla="*/ 30114 h 1016771"/>
                    <a:gd name="connsiteX325" fmla="*/ 536727 w 761692"/>
                    <a:gd name="connsiteY325" fmla="*/ 19485 h 1016771"/>
                    <a:gd name="connsiteX326" fmla="*/ 543813 w 761692"/>
                    <a:gd name="connsiteY326" fmla="*/ 5314 h 1016771"/>
                    <a:gd name="connsiteX327" fmla="*/ 554441 w 761692"/>
                    <a:gd name="connsiteY327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9645 w 761692"/>
                    <a:gd name="connsiteY9" fmla="*/ 860925 h 1016771"/>
                    <a:gd name="connsiteX10" fmla="*/ 148122 w 761692"/>
                    <a:gd name="connsiteY10" fmla="*/ 867707 h 1016771"/>
                    <a:gd name="connsiteX11" fmla="*/ 158294 w 761692"/>
                    <a:gd name="connsiteY11" fmla="*/ 879574 h 1016771"/>
                    <a:gd name="connsiteX12" fmla="*/ 175247 w 761692"/>
                    <a:gd name="connsiteY12" fmla="*/ 889746 h 1016771"/>
                    <a:gd name="connsiteX13" fmla="*/ 188810 w 761692"/>
                    <a:gd name="connsiteY13" fmla="*/ 893137 h 1016771"/>
                    <a:gd name="connsiteX14" fmla="*/ 195591 w 761692"/>
                    <a:gd name="connsiteY14" fmla="*/ 893137 h 1016771"/>
                    <a:gd name="connsiteX15" fmla="*/ 202372 w 761692"/>
                    <a:gd name="connsiteY15" fmla="*/ 886355 h 1016771"/>
                    <a:gd name="connsiteX16" fmla="*/ 200677 w 761692"/>
                    <a:gd name="connsiteY16" fmla="*/ 877879 h 1016771"/>
                    <a:gd name="connsiteX17" fmla="*/ 209154 w 761692"/>
                    <a:gd name="connsiteY17" fmla="*/ 874488 h 1016771"/>
                    <a:gd name="connsiteX18" fmla="*/ 210740 w 761692"/>
                    <a:gd name="connsiteY18" fmla="*/ 875083 h 1016771"/>
                    <a:gd name="connsiteX19" fmla="*/ 201937 w 761692"/>
                    <a:gd name="connsiteY19" fmla="*/ 878604 h 1016771"/>
                    <a:gd name="connsiteX20" fmla="*/ 203708 w 761692"/>
                    <a:gd name="connsiteY20" fmla="*/ 887461 h 1016771"/>
                    <a:gd name="connsiteX21" fmla="*/ 196623 w 761692"/>
                    <a:gd name="connsiteY21" fmla="*/ 894546 h 1016771"/>
                    <a:gd name="connsiteX22" fmla="*/ 189537 w 761692"/>
                    <a:gd name="connsiteY22" fmla="*/ 894546 h 1016771"/>
                    <a:gd name="connsiteX23" fmla="*/ 175366 w 761692"/>
                    <a:gd name="connsiteY23" fmla="*/ 891003 h 1016771"/>
                    <a:gd name="connsiteX24" fmla="*/ 157653 w 761692"/>
                    <a:gd name="connsiteY24" fmla="*/ 880375 h 1016771"/>
                    <a:gd name="connsiteX25" fmla="*/ 147024 w 761692"/>
                    <a:gd name="connsiteY25" fmla="*/ 867975 h 1016771"/>
                    <a:gd name="connsiteX26" fmla="*/ 138167 w 761692"/>
                    <a:gd name="connsiteY26" fmla="*/ 860890 h 1016771"/>
                    <a:gd name="connsiteX27" fmla="*/ 138167 w 761692"/>
                    <a:gd name="connsiteY27" fmla="*/ 852033 h 1016771"/>
                    <a:gd name="connsiteX28" fmla="*/ 139939 w 761692"/>
                    <a:gd name="connsiteY28" fmla="*/ 850262 h 1016771"/>
                    <a:gd name="connsiteX29" fmla="*/ 139939 w 761692"/>
                    <a:gd name="connsiteY29" fmla="*/ 848490 h 1016771"/>
                    <a:gd name="connsiteX30" fmla="*/ 145253 w 761692"/>
                    <a:gd name="connsiteY30" fmla="*/ 843176 h 1016771"/>
                    <a:gd name="connsiteX31" fmla="*/ 147024 w 761692"/>
                    <a:gd name="connsiteY31" fmla="*/ 841405 h 1016771"/>
                    <a:gd name="connsiteX32" fmla="*/ 148796 w 761692"/>
                    <a:gd name="connsiteY32" fmla="*/ 839633 h 1016771"/>
                    <a:gd name="connsiteX33" fmla="*/ 150567 w 761692"/>
                    <a:gd name="connsiteY33" fmla="*/ 837862 h 1016771"/>
                    <a:gd name="connsiteX34" fmla="*/ 159250 w 761692"/>
                    <a:gd name="connsiteY34" fmla="*/ 829179 h 1016771"/>
                    <a:gd name="connsiteX35" fmla="*/ 116476 w 761692"/>
                    <a:gd name="connsiteY35" fmla="*/ 741349 h 1016771"/>
                    <a:gd name="connsiteX36" fmla="*/ 117606 w 761692"/>
                    <a:gd name="connsiteY36" fmla="*/ 742253 h 1016771"/>
                    <a:gd name="connsiteX37" fmla="*/ 122692 w 761692"/>
                    <a:gd name="connsiteY37" fmla="*/ 759206 h 1016771"/>
                    <a:gd name="connsiteX38" fmla="*/ 126082 w 761692"/>
                    <a:gd name="connsiteY38" fmla="*/ 771073 h 1016771"/>
                    <a:gd name="connsiteX39" fmla="*/ 129473 w 761692"/>
                    <a:gd name="connsiteY39" fmla="*/ 782940 h 1016771"/>
                    <a:gd name="connsiteX40" fmla="*/ 132864 w 761692"/>
                    <a:gd name="connsiteY40" fmla="*/ 793112 h 1016771"/>
                    <a:gd name="connsiteX41" fmla="*/ 136254 w 761692"/>
                    <a:gd name="connsiteY41" fmla="*/ 810066 h 1016771"/>
                    <a:gd name="connsiteX42" fmla="*/ 139058 w 761692"/>
                    <a:gd name="connsiteY42" fmla="*/ 818476 h 1016771"/>
                    <a:gd name="connsiteX43" fmla="*/ 138167 w 761692"/>
                    <a:gd name="connsiteY43" fmla="*/ 818377 h 1016771"/>
                    <a:gd name="connsiteX44" fmla="*/ 134625 w 761692"/>
                    <a:gd name="connsiteY44" fmla="*/ 807749 h 1016771"/>
                    <a:gd name="connsiteX45" fmla="*/ 131082 w 761692"/>
                    <a:gd name="connsiteY45" fmla="*/ 790035 h 1016771"/>
                    <a:gd name="connsiteX46" fmla="*/ 127539 w 761692"/>
                    <a:gd name="connsiteY46" fmla="*/ 779407 h 1016771"/>
                    <a:gd name="connsiteX47" fmla="*/ 123996 w 761692"/>
                    <a:gd name="connsiteY47" fmla="*/ 767007 h 1016771"/>
                    <a:gd name="connsiteX48" fmla="*/ 120454 w 761692"/>
                    <a:gd name="connsiteY48" fmla="*/ 754607 h 1016771"/>
                    <a:gd name="connsiteX49" fmla="*/ 116476 w 761692"/>
                    <a:gd name="connsiteY49" fmla="*/ 741349 h 1016771"/>
                    <a:gd name="connsiteX50" fmla="*/ 554441 w 761692"/>
                    <a:gd name="connsiteY50" fmla="*/ 0 h 1016771"/>
                    <a:gd name="connsiteX51" fmla="*/ 570383 w 761692"/>
                    <a:gd name="connsiteY51" fmla="*/ 3543 h 1016771"/>
                    <a:gd name="connsiteX52" fmla="*/ 577469 w 761692"/>
                    <a:gd name="connsiteY52" fmla="*/ 8857 h 1016771"/>
                    <a:gd name="connsiteX53" fmla="*/ 582783 w 761692"/>
                    <a:gd name="connsiteY53" fmla="*/ 17714 h 1016771"/>
                    <a:gd name="connsiteX54" fmla="*/ 582783 w 761692"/>
                    <a:gd name="connsiteY54" fmla="*/ 24799 h 1016771"/>
                    <a:gd name="connsiteX55" fmla="*/ 588097 w 761692"/>
                    <a:gd name="connsiteY55" fmla="*/ 33656 h 1016771"/>
                    <a:gd name="connsiteX56" fmla="*/ 598725 w 761692"/>
                    <a:gd name="connsiteY56" fmla="*/ 31885 h 1016771"/>
                    <a:gd name="connsiteX57" fmla="*/ 612896 w 761692"/>
                    <a:gd name="connsiteY57" fmla="*/ 37199 h 1016771"/>
                    <a:gd name="connsiteX58" fmla="*/ 618211 w 761692"/>
                    <a:gd name="connsiteY58" fmla="*/ 46056 h 1016771"/>
                    <a:gd name="connsiteX59" fmla="*/ 619982 w 761692"/>
                    <a:gd name="connsiteY59" fmla="*/ 54913 h 1016771"/>
                    <a:gd name="connsiteX60" fmla="*/ 618211 w 761692"/>
                    <a:gd name="connsiteY60" fmla="*/ 74398 h 1016771"/>
                    <a:gd name="connsiteX61" fmla="*/ 616439 w 761692"/>
                    <a:gd name="connsiteY61" fmla="*/ 85026 h 1016771"/>
                    <a:gd name="connsiteX62" fmla="*/ 621753 w 761692"/>
                    <a:gd name="connsiteY62" fmla="*/ 97426 h 1016771"/>
                    <a:gd name="connsiteX63" fmla="*/ 637696 w 761692"/>
                    <a:gd name="connsiteY63" fmla="*/ 113368 h 1016771"/>
                    <a:gd name="connsiteX64" fmla="*/ 644781 w 761692"/>
                    <a:gd name="connsiteY64" fmla="*/ 120454 h 1016771"/>
                    <a:gd name="connsiteX65" fmla="*/ 650095 w 761692"/>
                    <a:gd name="connsiteY65" fmla="*/ 136396 h 1016771"/>
                    <a:gd name="connsiteX66" fmla="*/ 655409 w 761692"/>
                    <a:gd name="connsiteY66" fmla="*/ 155881 h 1016771"/>
                    <a:gd name="connsiteX67" fmla="*/ 662495 w 761692"/>
                    <a:gd name="connsiteY67" fmla="*/ 171824 h 1016771"/>
                    <a:gd name="connsiteX68" fmla="*/ 660724 w 761692"/>
                    <a:gd name="connsiteY68" fmla="*/ 185995 h 1016771"/>
                    <a:gd name="connsiteX69" fmla="*/ 635924 w 761692"/>
                    <a:gd name="connsiteY69" fmla="*/ 194852 h 1016771"/>
                    <a:gd name="connsiteX70" fmla="*/ 619982 w 761692"/>
                    <a:gd name="connsiteY70" fmla="*/ 207251 h 1016771"/>
                    <a:gd name="connsiteX71" fmla="*/ 614668 w 761692"/>
                    <a:gd name="connsiteY71" fmla="*/ 223194 h 1016771"/>
                    <a:gd name="connsiteX72" fmla="*/ 618211 w 761692"/>
                    <a:gd name="connsiteY72" fmla="*/ 242679 h 1016771"/>
                    <a:gd name="connsiteX73" fmla="*/ 612896 w 761692"/>
                    <a:gd name="connsiteY73" fmla="*/ 256850 h 1016771"/>
                    <a:gd name="connsiteX74" fmla="*/ 625296 w 761692"/>
                    <a:gd name="connsiteY74" fmla="*/ 267478 h 1016771"/>
                    <a:gd name="connsiteX75" fmla="*/ 641238 w 761692"/>
                    <a:gd name="connsiteY75" fmla="*/ 269250 h 1016771"/>
                    <a:gd name="connsiteX76" fmla="*/ 658952 w 761692"/>
                    <a:gd name="connsiteY76" fmla="*/ 286963 h 1016771"/>
                    <a:gd name="connsiteX77" fmla="*/ 653638 w 761692"/>
                    <a:gd name="connsiteY77" fmla="*/ 309991 h 1016771"/>
                    <a:gd name="connsiteX78" fmla="*/ 653638 w 761692"/>
                    <a:gd name="connsiteY78" fmla="*/ 329476 h 1016771"/>
                    <a:gd name="connsiteX79" fmla="*/ 643010 w 761692"/>
                    <a:gd name="connsiteY79" fmla="*/ 338333 h 1016771"/>
                    <a:gd name="connsiteX80" fmla="*/ 632382 w 761692"/>
                    <a:gd name="connsiteY80" fmla="*/ 338333 h 1016771"/>
                    <a:gd name="connsiteX81" fmla="*/ 618211 w 761692"/>
                    <a:gd name="connsiteY81" fmla="*/ 357819 h 1016771"/>
                    <a:gd name="connsiteX82" fmla="*/ 609354 w 761692"/>
                    <a:gd name="connsiteY82" fmla="*/ 361361 h 1016771"/>
                    <a:gd name="connsiteX83" fmla="*/ 596954 w 761692"/>
                    <a:gd name="connsiteY83" fmla="*/ 363133 h 1016771"/>
                    <a:gd name="connsiteX84" fmla="*/ 581012 w 761692"/>
                    <a:gd name="connsiteY84" fmla="*/ 379075 h 1016771"/>
                    <a:gd name="connsiteX85" fmla="*/ 589868 w 761692"/>
                    <a:gd name="connsiteY85" fmla="*/ 393246 h 1016771"/>
                    <a:gd name="connsiteX86" fmla="*/ 586326 w 761692"/>
                    <a:gd name="connsiteY86" fmla="*/ 409189 h 1016771"/>
                    <a:gd name="connsiteX87" fmla="*/ 570383 w 761692"/>
                    <a:gd name="connsiteY87" fmla="*/ 398560 h 1016771"/>
                    <a:gd name="connsiteX88" fmla="*/ 550898 w 761692"/>
                    <a:gd name="connsiteY88" fmla="*/ 405646 h 1016771"/>
                    <a:gd name="connsiteX89" fmla="*/ 531413 w 761692"/>
                    <a:gd name="connsiteY89" fmla="*/ 425131 h 1016771"/>
                    <a:gd name="connsiteX90" fmla="*/ 543813 w 761692"/>
                    <a:gd name="connsiteY90" fmla="*/ 444616 h 1016771"/>
                    <a:gd name="connsiteX91" fmla="*/ 557984 w 761692"/>
                    <a:gd name="connsiteY91" fmla="*/ 462330 h 1016771"/>
                    <a:gd name="connsiteX92" fmla="*/ 570383 w 761692"/>
                    <a:gd name="connsiteY92" fmla="*/ 478272 h 1016771"/>
                    <a:gd name="connsiteX93" fmla="*/ 579240 w 761692"/>
                    <a:gd name="connsiteY93" fmla="*/ 485358 h 1016771"/>
                    <a:gd name="connsiteX94" fmla="*/ 602268 w 761692"/>
                    <a:gd name="connsiteY94" fmla="*/ 483586 h 1016771"/>
                    <a:gd name="connsiteX95" fmla="*/ 623525 w 761692"/>
                    <a:gd name="connsiteY95" fmla="*/ 474730 h 1016771"/>
                    <a:gd name="connsiteX96" fmla="*/ 639467 w 761692"/>
                    <a:gd name="connsiteY96" fmla="*/ 464101 h 1016771"/>
                    <a:gd name="connsiteX97" fmla="*/ 662495 w 761692"/>
                    <a:gd name="connsiteY97" fmla="*/ 464101 h 1016771"/>
                    <a:gd name="connsiteX98" fmla="*/ 673123 w 761692"/>
                    <a:gd name="connsiteY98" fmla="*/ 464101 h 1016771"/>
                    <a:gd name="connsiteX99" fmla="*/ 681980 w 761692"/>
                    <a:gd name="connsiteY99" fmla="*/ 467644 h 1016771"/>
                    <a:gd name="connsiteX100" fmla="*/ 703237 w 761692"/>
                    <a:gd name="connsiteY100" fmla="*/ 471187 h 1016771"/>
                    <a:gd name="connsiteX101" fmla="*/ 708551 w 761692"/>
                    <a:gd name="connsiteY101" fmla="*/ 474730 h 1016771"/>
                    <a:gd name="connsiteX102" fmla="*/ 722722 w 761692"/>
                    <a:gd name="connsiteY102" fmla="*/ 501300 h 1016771"/>
                    <a:gd name="connsiteX103" fmla="*/ 724493 w 761692"/>
                    <a:gd name="connsiteY103" fmla="*/ 522557 h 1016771"/>
                    <a:gd name="connsiteX104" fmla="*/ 722722 w 761692"/>
                    <a:gd name="connsiteY104" fmla="*/ 540271 h 1016771"/>
                    <a:gd name="connsiteX105" fmla="*/ 735121 w 761692"/>
                    <a:gd name="connsiteY105" fmla="*/ 552670 h 1016771"/>
                    <a:gd name="connsiteX106" fmla="*/ 735121 w 761692"/>
                    <a:gd name="connsiteY106" fmla="*/ 570384 h 1016771"/>
                    <a:gd name="connsiteX107" fmla="*/ 751064 w 761692"/>
                    <a:gd name="connsiteY107" fmla="*/ 581012 h 1016771"/>
                    <a:gd name="connsiteX108" fmla="*/ 761692 w 761692"/>
                    <a:gd name="connsiteY108" fmla="*/ 604040 h 1016771"/>
                    <a:gd name="connsiteX109" fmla="*/ 747521 w 761692"/>
                    <a:gd name="connsiteY109" fmla="*/ 616440 h 1016771"/>
                    <a:gd name="connsiteX110" fmla="*/ 728036 w 761692"/>
                    <a:gd name="connsiteY110" fmla="*/ 627068 h 1016771"/>
                    <a:gd name="connsiteX111" fmla="*/ 726264 w 761692"/>
                    <a:gd name="connsiteY111" fmla="*/ 650096 h 1016771"/>
                    <a:gd name="connsiteX112" fmla="*/ 728036 w 761692"/>
                    <a:gd name="connsiteY112" fmla="*/ 673124 h 1016771"/>
                    <a:gd name="connsiteX113" fmla="*/ 742207 w 761692"/>
                    <a:gd name="connsiteY113" fmla="*/ 689066 h 1016771"/>
                    <a:gd name="connsiteX114" fmla="*/ 742207 w 761692"/>
                    <a:gd name="connsiteY114" fmla="*/ 712094 h 1016771"/>
                    <a:gd name="connsiteX115" fmla="*/ 740435 w 761692"/>
                    <a:gd name="connsiteY115" fmla="*/ 735122 h 1016771"/>
                    <a:gd name="connsiteX116" fmla="*/ 742207 w 761692"/>
                    <a:gd name="connsiteY116" fmla="*/ 751065 h 1016771"/>
                    <a:gd name="connsiteX117" fmla="*/ 747521 w 761692"/>
                    <a:gd name="connsiteY117" fmla="*/ 768778 h 1016771"/>
                    <a:gd name="connsiteX118" fmla="*/ 759921 w 761692"/>
                    <a:gd name="connsiteY118" fmla="*/ 777635 h 1016771"/>
                    <a:gd name="connsiteX119" fmla="*/ 758149 w 761692"/>
                    <a:gd name="connsiteY119" fmla="*/ 802434 h 1016771"/>
                    <a:gd name="connsiteX120" fmla="*/ 752835 w 761692"/>
                    <a:gd name="connsiteY120" fmla="*/ 814834 h 1016771"/>
                    <a:gd name="connsiteX121" fmla="*/ 743978 w 761692"/>
                    <a:gd name="connsiteY121" fmla="*/ 827234 h 1016771"/>
                    <a:gd name="connsiteX122" fmla="*/ 743978 w 761692"/>
                    <a:gd name="connsiteY122" fmla="*/ 837862 h 1016771"/>
                    <a:gd name="connsiteX123" fmla="*/ 747521 w 761692"/>
                    <a:gd name="connsiteY123" fmla="*/ 853804 h 1016771"/>
                    <a:gd name="connsiteX124" fmla="*/ 733350 w 761692"/>
                    <a:gd name="connsiteY124" fmla="*/ 867975 h 1016771"/>
                    <a:gd name="connsiteX125" fmla="*/ 724493 w 761692"/>
                    <a:gd name="connsiteY125" fmla="*/ 880375 h 1016771"/>
                    <a:gd name="connsiteX126" fmla="*/ 722722 w 761692"/>
                    <a:gd name="connsiteY126" fmla="*/ 899860 h 1016771"/>
                    <a:gd name="connsiteX127" fmla="*/ 722722 w 761692"/>
                    <a:gd name="connsiteY127" fmla="*/ 919345 h 1016771"/>
                    <a:gd name="connsiteX128" fmla="*/ 715636 w 761692"/>
                    <a:gd name="connsiteY128" fmla="*/ 940602 h 1016771"/>
                    <a:gd name="connsiteX129" fmla="*/ 708551 w 761692"/>
                    <a:gd name="connsiteY129" fmla="*/ 954773 h 1016771"/>
                    <a:gd name="connsiteX130" fmla="*/ 699694 w 761692"/>
                    <a:gd name="connsiteY130" fmla="*/ 965401 h 1016771"/>
                    <a:gd name="connsiteX131" fmla="*/ 692608 w 761692"/>
                    <a:gd name="connsiteY131" fmla="*/ 984886 h 1016771"/>
                    <a:gd name="connsiteX132" fmla="*/ 683751 w 761692"/>
                    <a:gd name="connsiteY132" fmla="*/ 997286 h 1016771"/>
                    <a:gd name="connsiteX133" fmla="*/ 673123 w 761692"/>
                    <a:gd name="connsiteY133" fmla="*/ 1002600 h 1016771"/>
                    <a:gd name="connsiteX134" fmla="*/ 662495 w 761692"/>
                    <a:gd name="connsiteY134" fmla="*/ 1013228 h 1016771"/>
                    <a:gd name="connsiteX135" fmla="*/ 644781 w 761692"/>
                    <a:gd name="connsiteY135" fmla="*/ 1016771 h 1016771"/>
                    <a:gd name="connsiteX136" fmla="*/ 635924 w 761692"/>
                    <a:gd name="connsiteY136" fmla="*/ 1004372 h 1016771"/>
                    <a:gd name="connsiteX137" fmla="*/ 623525 w 761692"/>
                    <a:gd name="connsiteY137" fmla="*/ 997286 h 1016771"/>
                    <a:gd name="connsiteX138" fmla="*/ 614668 w 761692"/>
                    <a:gd name="connsiteY138" fmla="*/ 986658 h 1016771"/>
                    <a:gd name="connsiteX139" fmla="*/ 593411 w 761692"/>
                    <a:gd name="connsiteY139" fmla="*/ 970715 h 1016771"/>
                    <a:gd name="connsiteX140" fmla="*/ 582783 w 761692"/>
                    <a:gd name="connsiteY140" fmla="*/ 965401 h 1016771"/>
                    <a:gd name="connsiteX141" fmla="*/ 531413 w 761692"/>
                    <a:gd name="connsiteY141" fmla="*/ 965401 h 1016771"/>
                    <a:gd name="connsiteX142" fmla="*/ 511928 w 761692"/>
                    <a:gd name="connsiteY142" fmla="*/ 965401 h 1016771"/>
                    <a:gd name="connsiteX143" fmla="*/ 492443 w 761692"/>
                    <a:gd name="connsiteY143" fmla="*/ 963630 h 1016771"/>
                    <a:gd name="connsiteX144" fmla="*/ 483586 w 761692"/>
                    <a:gd name="connsiteY144" fmla="*/ 958316 h 1016771"/>
                    <a:gd name="connsiteX145" fmla="*/ 469415 w 761692"/>
                    <a:gd name="connsiteY145" fmla="*/ 954773 h 1016771"/>
                    <a:gd name="connsiteX146" fmla="*/ 460558 w 761692"/>
                    <a:gd name="connsiteY146" fmla="*/ 942373 h 1016771"/>
                    <a:gd name="connsiteX147" fmla="*/ 446387 w 761692"/>
                    <a:gd name="connsiteY147" fmla="*/ 935288 h 1016771"/>
                    <a:gd name="connsiteX148" fmla="*/ 428673 w 761692"/>
                    <a:gd name="connsiteY148" fmla="*/ 928202 h 1016771"/>
                    <a:gd name="connsiteX149" fmla="*/ 418045 w 761692"/>
                    <a:gd name="connsiteY149" fmla="*/ 917574 h 1016771"/>
                    <a:gd name="connsiteX150" fmla="*/ 421588 w 761692"/>
                    <a:gd name="connsiteY150" fmla="*/ 903403 h 1016771"/>
                    <a:gd name="connsiteX151" fmla="*/ 418045 w 761692"/>
                    <a:gd name="connsiteY151" fmla="*/ 898089 h 1016771"/>
                    <a:gd name="connsiteX152" fmla="*/ 396788 w 761692"/>
                    <a:gd name="connsiteY152" fmla="*/ 898089 h 1016771"/>
                    <a:gd name="connsiteX153" fmla="*/ 382617 w 761692"/>
                    <a:gd name="connsiteY153" fmla="*/ 896318 h 1016771"/>
                    <a:gd name="connsiteX154" fmla="*/ 380846 w 761692"/>
                    <a:gd name="connsiteY154" fmla="*/ 906946 h 1016771"/>
                    <a:gd name="connsiteX155" fmla="*/ 373601 w 761692"/>
                    <a:gd name="connsiteY155" fmla="*/ 894832 h 1016771"/>
                    <a:gd name="connsiteX156" fmla="*/ 387164 w 761692"/>
                    <a:gd name="connsiteY156" fmla="*/ 896527 h 1016771"/>
                    <a:gd name="connsiteX157" fmla="*/ 383773 w 761692"/>
                    <a:gd name="connsiteY157" fmla="*/ 886355 h 1016771"/>
                    <a:gd name="connsiteX158" fmla="*/ 387164 w 761692"/>
                    <a:gd name="connsiteY158" fmla="*/ 876183 h 1016771"/>
                    <a:gd name="connsiteX159" fmla="*/ 388859 w 761692"/>
                    <a:gd name="connsiteY159" fmla="*/ 867707 h 1016771"/>
                    <a:gd name="connsiteX160" fmla="*/ 380382 w 761692"/>
                    <a:gd name="connsiteY160" fmla="*/ 859230 h 1016771"/>
                    <a:gd name="connsiteX161" fmla="*/ 373601 w 761692"/>
                    <a:gd name="connsiteY161" fmla="*/ 849058 h 1016771"/>
                    <a:gd name="connsiteX162" fmla="*/ 380382 w 761692"/>
                    <a:gd name="connsiteY162" fmla="*/ 838886 h 1016771"/>
                    <a:gd name="connsiteX163" fmla="*/ 383773 w 761692"/>
                    <a:gd name="connsiteY163" fmla="*/ 833800 h 1016771"/>
                    <a:gd name="connsiteX164" fmla="*/ 388859 w 761692"/>
                    <a:gd name="connsiteY164" fmla="*/ 825324 h 1016771"/>
                    <a:gd name="connsiteX165" fmla="*/ 387164 w 761692"/>
                    <a:gd name="connsiteY165" fmla="*/ 810066 h 1016771"/>
                    <a:gd name="connsiteX166" fmla="*/ 387164 w 761692"/>
                    <a:gd name="connsiteY166" fmla="*/ 796503 h 1016771"/>
                    <a:gd name="connsiteX167" fmla="*/ 378687 w 761692"/>
                    <a:gd name="connsiteY167" fmla="*/ 789722 h 1016771"/>
                    <a:gd name="connsiteX168" fmla="*/ 366820 w 761692"/>
                    <a:gd name="connsiteY168" fmla="*/ 782940 h 1016771"/>
                    <a:gd name="connsiteX169" fmla="*/ 356648 w 761692"/>
                    <a:gd name="connsiteY169" fmla="*/ 781245 h 1016771"/>
                    <a:gd name="connsiteX170" fmla="*/ 349866 w 761692"/>
                    <a:gd name="connsiteY170" fmla="*/ 771073 h 1016771"/>
                    <a:gd name="connsiteX171" fmla="*/ 349866 w 761692"/>
                    <a:gd name="connsiteY171" fmla="*/ 752425 h 1016771"/>
                    <a:gd name="connsiteX172" fmla="*/ 353257 w 761692"/>
                    <a:gd name="connsiteY172" fmla="*/ 743948 h 1016771"/>
                    <a:gd name="connsiteX173" fmla="*/ 354952 w 761692"/>
                    <a:gd name="connsiteY173" fmla="*/ 730385 h 1016771"/>
                    <a:gd name="connsiteX174" fmla="*/ 353257 w 761692"/>
                    <a:gd name="connsiteY174" fmla="*/ 713432 h 1016771"/>
                    <a:gd name="connsiteX175" fmla="*/ 346476 w 761692"/>
                    <a:gd name="connsiteY175" fmla="*/ 701565 h 1016771"/>
                    <a:gd name="connsiteX176" fmla="*/ 332913 w 761692"/>
                    <a:gd name="connsiteY176" fmla="*/ 689697 h 1016771"/>
                    <a:gd name="connsiteX177" fmla="*/ 324436 w 761692"/>
                    <a:gd name="connsiteY177" fmla="*/ 681221 h 1016771"/>
                    <a:gd name="connsiteX178" fmla="*/ 314264 w 761692"/>
                    <a:gd name="connsiteY178" fmla="*/ 676135 h 1016771"/>
                    <a:gd name="connsiteX179" fmla="*/ 293920 w 761692"/>
                    <a:gd name="connsiteY179" fmla="*/ 669354 h 1016771"/>
                    <a:gd name="connsiteX180" fmla="*/ 282053 w 761692"/>
                    <a:gd name="connsiteY180" fmla="*/ 667658 h 1016771"/>
                    <a:gd name="connsiteX181" fmla="*/ 266795 w 761692"/>
                    <a:gd name="connsiteY181" fmla="*/ 672744 h 1016771"/>
                    <a:gd name="connsiteX182" fmla="*/ 265100 w 761692"/>
                    <a:gd name="connsiteY182" fmla="*/ 672744 h 1016771"/>
                    <a:gd name="connsiteX183" fmla="*/ 263404 w 761692"/>
                    <a:gd name="connsiteY183" fmla="*/ 671049 h 1016771"/>
                    <a:gd name="connsiteX184" fmla="*/ 260014 w 761692"/>
                    <a:gd name="connsiteY184" fmla="*/ 671049 h 1016771"/>
                    <a:gd name="connsiteX185" fmla="*/ 258318 w 761692"/>
                    <a:gd name="connsiteY185" fmla="*/ 671049 h 1016771"/>
                    <a:gd name="connsiteX186" fmla="*/ 253232 w 761692"/>
                    <a:gd name="connsiteY186" fmla="*/ 671049 h 1016771"/>
                    <a:gd name="connsiteX187" fmla="*/ 248146 w 761692"/>
                    <a:gd name="connsiteY187" fmla="*/ 672744 h 1016771"/>
                    <a:gd name="connsiteX188" fmla="*/ 248146 w 761692"/>
                    <a:gd name="connsiteY188" fmla="*/ 674440 h 1016771"/>
                    <a:gd name="connsiteX189" fmla="*/ 246451 w 761692"/>
                    <a:gd name="connsiteY189" fmla="*/ 674440 h 1016771"/>
                    <a:gd name="connsiteX190" fmla="*/ 236279 w 761692"/>
                    <a:gd name="connsiteY190" fmla="*/ 679526 h 1016771"/>
                    <a:gd name="connsiteX191" fmla="*/ 226107 w 761692"/>
                    <a:gd name="connsiteY191" fmla="*/ 684612 h 1016771"/>
                    <a:gd name="connsiteX192" fmla="*/ 217630 w 761692"/>
                    <a:gd name="connsiteY192" fmla="*/ 684612 h 1016771"/>
                    <a:gd name="connsiteX193" fmla="*/ 207458 w 761692"/>
                    <a:gd name="connsiteY193" fmla="*/ 693088 h 1016771"/>
                    <a:gd name="connsiteX194" fmla="*/ 198982 w 761692"/>
                    <a:gd name="connsiteY194" fmla="*/ 694783 h 1016771"/>
                    <a:gd name="connsiteX195" fmla="*/ 192200 w 761692"/>
                    <a:gd name="connsiteY195" fmla="*/ 699869 h 1016771"/>
                    <a:gd name="connsiteX196" fmla="*/ 178638 w 761692"/>
                    <a:gd name="connsiteY196" fmla="*/ 706651 h 1016771"/>
                    <a:gd name="connsiteX197" fmla="*/ 163380 w 761692"/>
                    <a:gd name="connsiteY197" fmla="*/ 710041 h 1016771"/>
                    <a:gd name="connsiteX198" fmla="*/ 141340 w 761692"/>
                    <a:gd name="connsiteY198" fmla="*/ 710041 h 1016771"/>
                    <a:gd name="connsiteX199" fmla="*/ 134559 w 761692"/>
                    <a:gd name="connsiteY199" fmla="*/ 716823 h 1016771"/>
                    <a:gd name="connsiteX200" fmla="*/ 127778 w 761692"/>
                    <a:gd name="connsiteY200" fmla="*/ 718518 h 1016771"/>
                    <a:gd name="connsiteX201" fmla="*/ 120996 w 761692"/>
                    <a:gd name="connsiteY201" fmla="*/ 725299 h 1016771"/>
                    <a:gd name="connsiteX202" fmla="*/ 111172 w 761692"/>
                    <a:gd name="connsiteY202" fmla="*/ 733720 h 1016771"/>
                    <a:gd name="connsiteX203" fmla="*/ 106283 w 761692"/>
                    <a:gd name="connsiteY203" fmla="*/ 729808 h 1016771"/>
                    <a:gd name="connsiteX204" fmla="*/ 92112 w 761692"/>
                    <a:gd name="connsiteY204" fmla="*/ 724494 h 1016771"/>
                    <a:gd name="connsiteX205" fmla="*/ 77941 w 761692"/>
                    <a:gd name="connsiteY205" fmla="*/ 726265 h 1016771"/>
                    <a:gd name="connsiteX206" fmla="*/ 70855 w 761692"/>
                    <a:gd name="connsiteY206" fmla="*/ 719180 h 1016771"/>
                    <a:gd name="connsiteX207" fmla="*/ 70855 w 761692"/>
                    <a:gd name="connsiteY207" fmla="*/ 699695 h 1016771"/>
                    <a:gd name="connsiteX208" fmla="*/ 81483 w 761692"/>
                    <a:gd name="connsiteY208" fmla="*/ 685524 h 1016771"/>
                    <a:gd name="connsiteX209" fmla="*/ 85026 w 761692"/>
                    <a:gd name="connsiteY209" fmla="*/ 673124 h 1016771"/>
                    <a:gd name="connsiteX210" fmla="*/ 86797 w 761692"/>
                    <a:gd name="connsiteY210" fmla="*/ 660724 h 1016771"/>
                    <a:gd name="connsiteX211" fmla="*/ 97426 w 761692"/>
                    <a:gd name="connsiteY211" fmla="*/ 650096 h 1016771"/>
                    <a:gd name="connsiteX212" fmla="*/ 102740 w 761692"/>
                    <a:gd name="connsiteY212" fmla="*/ 635925 h 1016771"/>
                    <a:gd name="connsiteX213" fmla="*/ 113368 w 761692"/>
                    <a:gd name="connsiteY213" fmla="*/ 625297 h 1016771"/>
                    <a:gd name="connsiteX214" fmla="*/ 115139 w 761692"/>
                    <a:gd name="connsiteY214" fmla="*/ 612897 h 1016771"/>
                    <a:gd name="connsiteX215" fmla="*/ 127539 w 761692"/>
                    <a:gd name="connsiteY215" fmla="*/ 609354 h 1016771"/>
                    <a:gd name="connsiteX216" fmla="*/ 136396 w 761692"/>
                    <a:gd name="connsiteY216" fmla="*/ 604040 h 1016771"/>
                    <a:gd name="connsiteX217" fmla="*/ 132853 w 761692"/>
                    <a:gd name="connsiteY217" fmla="*/ 593412 h 1016771"/>
                    <a:gd name="connsiteX218" fmla="*/ 134625 w 761692"/>
                    <a:gd name="connsiteY218" fmla="*/ 584555 h 1016771"/>
                    <a:gd name="connsiteX219" fmla="*/ 131082 w 761692"/>
                    <a:gd name="connsiteY219" fmla="*/ 575698 h 1016771"/>
                    <a:gd name="connsiteX220" fmla="*/ 120454 w 761692"/>
                    <a:gd name="connsiteY220" fmla="*/ 568613 h 1016771"/>
                    <a:gd name="connsiteX221" fmla="*/ 125768 w 761692"/>
                    <a:gd name="connsiteY221" fmla="*/ 552670 h 1016771"/>
                    <a:gd name="connsiteX222" fmla="*/ 118682 w 761692"/>
                    <a:gd name="connsiteY222" fmla="*/ 543813 h 1016771"/>
                    <a:gd name="connsiteX223" fmla="*/ 90340 w 761692"/>
                    <a:gd name="connsiteY223" fmla="*/ 543813 h 1016771"/>
                    <a:gd name="connsiteX224" fmla="*/ 86797 w 761692"/>
                    <a:gd name="connsiteY224" fmla="*/ 542042 h 1016771"/>
                    <a:gd name="connsiteX225" fmla="*/ 83255 w 761692"/>
                    <a:gd name="connsiteY225" fmla="*/ 542042 h 1016771"/>
                    <a:gd name="connsiteX226" fmla="*/ 81483 w 761692"/>
                    <a:gd name="connsiteY226" fmla="*/ 540271 h 1016771"/>
                    <a:gd name="connsiteX227" fmla="*/ 81483 w 761692"/>
                    <a:gd name="connsiteY227" fmla="*/ 536728 h 1016771"/>
                    <a:gd name="connsiteX228" fmla="*/ 79712 w 761692"/>
                    <a:gd name="connsiteY228" fmla="*/ 531414 h 1016771"/>
                    <a:gd name="connsiteX229" fmla="*/ 77941 w 761692"/>
                    <a:gd name="connsiteY229" fmla="*/ 529642 h 1016771"/>
                    <a:gd name="connsiteX230" fmla="*/ 70855 w 761692"/>
                    <a:gd name="connsiteY230" fmla="*/ 527871 h 1016771"/>
                    <a:gd name="connsiteX231" fmla="*/ 60227 w 761692"/>
                    <a:gd name="connsiteY231" fmla="*/ 536728 h 1016771"/>
                    <a:gd name="connsiteX232" fmla="*/ 47827 w 761692"/>
                    <a:gd name="connsiteY232" fmla="*/ 526100 h 1016771"/>
                    <a:gd name="connsiteX233" fmla="*/ 42513 w 761692"/>
                    <a:gd name="connsiteY233" fmla="*/ 515471 h 1016771"/>
                    <a:gd name="connsiteX234" fmla="*/ 33656 w 761692"/>
                    <a:gd name="connsiteY234" fmla="*/ 506614 h 1016771"/>
                    <a:gd name="connsiteX235" fmla="*/ 31885 w 761692"/>
                    <a:gd name="connsiteY235" fmla="*/ 490672 h 1016771"/>
                    <a:gd name="connsiteX236" fmla="*/ 26571 w 761692"/>
                    <a:gd name="connsiteY236" fmla="*/ 476501 h 1016771"/>
                    <a:gd name="connsiteX237" fmla="*/ 24799 w 761692"/>
                    <a:gd name="connsiteY237" fmla="*/ 471187 h 1016771"/>
                    <a:gd name="connsiteX238" fmla="*/ 12400 w 761692"/>
                    <a:gd name="connsiteY238" fmla="*/ 472958 h 1016771"/>
                    <a:gd name="connsiteX239" fmla="*/ 7086 w 761692"/>
                    <a:gd name="connsiteY239" fmla="*/ 464101 h 1016771"/>
                    <a:gd name="connsiteX240" fmla="*/ 8857 w 761692"/>
                    <a:gd name="connsiteY240" fmla="*/ 446388 h 1016771"/>
                    <a:gd name="connsiteX241" fmla="*/ 3543 w 761692"/>
                    <a:gd name="connsiteY241" fmla="*/ 435759 h 1016771"/>
                    <a:gd name="connsiteX242" fmla="*/ 5314 w 761692"/>
                    <a:gd name="connsiteY242" fmla="*/ 412731 h 1016771"/>
                    <a:gd name="connsiteX243" fmla="*/ 0 w 761692"/>
                    <a:gd name="connsiteY243" fmla="*/ 396789 h 1016771"/>
                    <a:gd name="connsiteX244" fmla="*/ 3543 w 761692"/>
                    <a:gd name="connsiteY244" fmla="*/ 384389 h 1016771"/>
                    <a:gd name="connsiteX245" fmla="*/ 14171 w 761692"/>
                    <a:gd name="connsiteY245" fmla="*/ 380846 h 1016771"/>
                    <a:gd name="connsiteX246" fmla="*/ 24799 w 761692"/>
                    <a:gd name="connsiteY246" fmla="*/ 364904 h 1016771"/>
                    <a:gd name="connsiteX247" fmla="*/ 30113 w 761692"/>
                    <a:gd name="connsiteY247" fmla="*/ 350733 h 1016771"/>
                    <a:gd name="connsiteX248" fmla="*/ 35428 w 761692"/>
                    <a:gd name="connsiteY248" fmla="*/ 341876 h 1016771"/>
                    <a:gd name="connsiteX249" fmla="*/ 42513 w 761692"/>
                    <a:gd name="connsiteY249" fmla="*/ 327705 h 1016771"/>
                    <a:gd name="connsiteX250" fmla="*/ 42513 w 761692"/>
                    <a:gd name="connsiteY250" fmla="*/ 315305 h 1016771"/>
                    <a:gd name="connsiteX251" fmla="*/ 56684 w 761692"/>
                    <a:gd name="connsiteY251" fmla="*/ 309991 h 1016771"/>
                    <a:gd name="connsiteX252" fmla="*/ 60227 w 761692"/>
                    <a:gd name="connsiteY252" fmla="*/ 309991 h 1016771"/>
                    <a:gd name="connsiteX253" fmla="*/ 61998 w 761692"/>
                    <a:gd name="connsiteY253" fmla="*/ 311763 h 1016771"/>
                    <a:gd name="connsiteX254" fmla="*/ 67312 w 761692"/>
                    <a:gd name="connsiteY254" fmla="*/ 311763 h 1016771"/>
                    <a:gd name="connsiteX255" fmla="*/ 67312 w 761692"/>
                    <a:gd name="connsiteY255" fmla="*/ 309991 h 1016771"/>
                    <a:gd name="connsiteX256" fmla="*/ 67312 w 761692"/>
                    <a:gd name="connsiteY256" fmla="*/ 308220 h 1016771"/>
                    <a:gd name="connsiteX257" fmla="*/ 69084 w 761692"/>
                    <a:gd name="connsiteY257" fmla="*/ 302906 h 1016771"/>
                    <a:gd name="connsiteX258" fmla="*/ 70855 w 761692"/>
                    <a:gd name="connsiteY258" fmla="*/ 301134 h 1016771"/>
                    <a:gd name="connsiteX259" fmla="*/ 70855 w 761692"/>
                    <a:gd name="connsiteY259" fmla="*/ 299363 h 1016771"/>
                    <a:gd name="connsiteX260" fmla="*/ 77941 w 761692"/>
                    <a:gd name="connsiteY260" fmla="*/ 295820 h 1016771"/>
                    <a:gd name="connsiteX261" fmla="*/ 85026 w 761692"/>
                    <a:gd name="connsiteY261" fmla="*/ 295820 h 1016771"/>
                    <a:gd name="connsiteX262" fmla="*/ 93883 w 761692"/>
                    <a:gd name="connsiteY262" fmla="*/ 297592 h 1016771"/>
                    <a:gd name="connsiteX263" fmla="*/ 100968 w 761692"/>
                    <a:gd name="connsiteY263" fmla="*/ 288735 h 1016771"/>
                    <a:gd name="connsiteX264" fmla="*/ 97426 w 761692"/>
                    <a:gd name="connsiteY264" fmla="*/ 279878 h 1016771"/>
                    <a:gd name="connsiteX265" fmla="*/ 85026 w 761692"/>
                    <a:gd name="connsiteY265" fmla="*/ 276335 h 1016771"/>
                    <a:gd name="connsiteX266" fmla="*/ 76169 w 761692"/>
                    <a:gd name="connsiteY266" fmla="*/ 271021 h 1016771"/>
                    <a:gd name="connsiteX267" fmla="*/ 76169 w 761692"/>
                    <a:gd name="connsiteY267" fmla="*/ 262164 h 1016771"/>
                    <a:gd name="connsiteX268" fmla="*/ 81483 w 761692"/>
                    <a:gd name="connsiteY268" fmla="*/ 251536 h 1016771"/>
                    <a:gd name="connsiteX269" fmla="*/ 86797 w 761692"/>
                    <a:gd name="connsiteY269" fmla="*/ 255079 h 1016771"/>
                    <a:gd name="connsiteX270" fmla="*/ 104511 w 761692"/>
                    <a:gd name="connsiteY270" fmla="*/ 262164 h 1016771"/>
                    <a:gd name="connsiteX271" fmla="*/ 116911 w 761692"/>
                    <a:gd name="connsiteY271" fmla="*/ 265707 h 1016771"/>
                    <a:gd name="connsiteX272" fmla="*/ 132853 w 761692"/>
                    <a:gd name="connsiteY272" fmla="*/ 269250 h 1016771"/>
                    <a:gd name="connsiteX273" fmla="*/ 138167 w 761692"/>
                    <a:gd name="connsiteY273" fmla="*/ 265707 h 1016771"/>
                    <a:gd name="connsiteX274" fmla="*/ 150567 w 761692"/>
                    <a:gd name="connsiteY274" fmla="*/ 255079 h 1016771"/>
                    <a:gd name="connsiteX275" fmla="*/ 166509 w 761692"/>
                    <a:gd name="connsiteY275" fmla="*/ 255079 h 1016771"/>
                    <a:gd name="connsiteX276" fmla="*/ 166509 w 761692"/>
                    <a:gd name="connsiteY276" fmla="*/ 265707 h 1016771"/>
                    <a:gd name="connsiteX277" fmla="*/ 177138 w 761692"/>
                    <a:gd name="connsiteY277" fmla="*/ 272792 h 1016771"/>
                    <a:gd name="connsiteX278" fmla="*/ 194851 w 761692"/>
                    <a:gd name="connsiteY278" fmla="*/ 276335 h 1016771"/>
                    <a:gd name="connsiteX279" fmla="*/ 209022 w 761692"/>
                    <a:gd name="connsiteY279" fmla="*/ 279878 h 1016771"/>
                    <a:gd name="connsiteX280" fmla="*/ 221422 w 761692"/>
                    <a:gd name="connsiteY280" fmla="*/ 276335 h 1016771"/>
                    <a:gd name="connsiteX281" fmla="*/ 226736 w 761692"/>
                    <a:gd name="connsiteY281" fmla="*/ 269250 h 1016771"/>
                    <a:gd name="connsiteX282" fmla="*/ 226736 w 761692"/>
                    <a:gd name="connsiteY282" fmla="*/ 251536 h 1016771"/>
                    <a:gd name="connsiteX283" fmla="*/ 224965 w 761692"/>
                    <a:gd name="connsiteY283" fmla="*/ 239136 h 1016771"/>
                    <a:gd name="connsiteX284" fmla="*/ 214337 w 761692"/>
                    <a:gd name="connsiteY284" fmla="*/ 230279 h 1016771"/>
                    <a:gd name="connsiteX285" fmla="*/ 210794 w 761692"/>
                    <a:gd name="connsiteY285" fmla="*/ 217880 h 1016771"/>
                    <a:gd name="connsiteX286" fmla="*/ 221422 w 761692"/>
                    <a:gd name="connsiteY286" fmla="*/ 207251 h 1016771"/>
                    <a:gd name="connsiteX287" fmla="*/ 235593 w 761692"/>
                    <a:gd name="connsiteY287" fmla="*/ 214337 h 1016771"/>
                    <a:gd name="connsiteX288" fmla="*/ 246221 w 761692"/>
                    <a:gd name="connsiteY288" fmla="*/ 219651 h 1016771"/>
                    <a:gd name="connsiteX289" fmla="*/ 253307 w 761692"/>
                    <a:gd name="connsiteY289" fmla="*/ 221422 h 1016771"/>
                    <a:gd name="connsiteX290" fmla="*/ 262164 w 761692"/>
                    <a:gd name="connsiteY290" fmla="*/ 210794 h 1016771"/>
                    <a:gd name="connsiteX291" fmla="*/ 263935 w 761692"/>
                    <a:gd name="connsiteY291" fmla="*/ 201937 h 1016771"/>
                    <a:gd name="connsiteX292" fmla="*/ 274563 w 761692"/>
                    <a:gd name="connsiteY292" fmla="*/ 189538 h 1016771"/>
                    <a:gd name="connsiteX293" fmla="*/ 283420 w 761692"/>
                    <a:gd name="connsiteY293" fmla="*/ 178909 h 1016771"/>
                    <a:gd name="connsiteX294" fmla="*/ 286963 w 761692"/>
                    <a:gd name="connsiteY294" fmla="*/ 173595 h 1016771"/>
                    <a:gd name="connsiteX295" fmla="*/ 311762 w 761692"/>
                    <a:gd name="connsiteY295" fmla="*/ 168281 h 1016771"/>
                    <a:gd name="connsiteX296" fmla="*/ 325933 w 761692"/>
                    <a:gd name="connsiteY296" fmla="*/ 164738 h 1016771"/>
                    <a:gd name="connsiteX297" fmla="*/ 336562 w 761692"/>
                    <a:gd name="connsiteY297" fmla="*/ 159424 h 1016771"/>
                    <a:gd name="connsiteX298" fmla="*/ 348961 w 761692"/>
                    <a:gd name="connsiteY298" fmla="*/ 145253 h 1016771"/>
                    <a:gd name="connsiteX299" fmla="*/ 359589 w 761692"/>
                    <a:gd name="connsiteY299" fmla="*/ 143482 h 1016771"/>
                    <a:gd name="connsiteX300" fmla="*/ 371989 w 761692"/>
                    <a:gd name="connsiteY300" fmla="*/ 143482 h 1016771"/>
                    <a:gd name="connsiteX301" fmla="*/ 391474 w 761692"/>
                    <a:gd name="connsiteY301" fmla="*/ 143482 h 1016771"/>
                    <a:gd name="connsiteX302" fmla="*/ 396788 w 761692"/>
                    <a:gd name="connsiteY302" fmla="*/ 141710 h 1016771"/>
                    <a:gd name="connsiteX303" fmla="*/ 403874 w 761692"/>
                    <a:gd name="connsiteY303" fmla="*/ 134625 h 1016771"/>
                    <a:gd name="connsiteX304" fmla="*/ 409188 w 761692"/>
                    <a:gd name="connsiteY304" fmla="*/ 129311 h 1016771"/>
                    <a:gd name="connsiteX305" fmla="*/ 409188 w 761692"/>
                    <a:gd name="connsiteY305" fmla="*/ 123997 h 1016771"/>
                    <a:gd name="connsiteX306" fmla="*/ 414502 w 761692"/>
                    <a:gd name="connsiteY306" fmla="*/ 115140 h 1016771"/>
                    <a:gd name="connsiteX307" fmla="*/ 428673 w 761692"/>
                    <a:gd name="connsiteY307" fmla="*/ 115140 h 1016771"/>
                    <a:gd name="connsiteX308" fmla="*/ 432216 w 761692"/>
                    <a:gd name="connsiteY308" fmla="*/ 109826 h 1016771"/>
                    <a:gd name="connsiteX309" fmla="*/ 437530 w 761692"/>
                    <a:gd name="connsiteY309" fmla="*/ 100969 h 1016771"/>
                    <a:gd name="connsiteX310" fmla="*/ 448158 w 761692"/>
                    <a:gd name="connsiteY310" fmla="*/ 99197 h 1016771"/>
                    <a:gd name="connsiteX311" fmla="*/ 460558 w 761692"/>
                    <a:gd name="connsiteY311" fmla="*/ 97426 h 1016771"/>
                    <a:gd name="connsiteX312" fmla="*/ 472958 w 761692"/>
                    <a:gd name="connsiteY312" fmla="*/ 93883 h 1016771"/>
                    <a:gd name="connsiteX313" fmla="*/ 492443 w 761692"/>
                    <a:gd name="connsiteY313" fmla="*/ 93883 h 1016771"/>
                    <a:gd name="connsiteX314" fmla="*/ 501300 w 761692"/>
                    <a:gd name="connsiteY314" fmla="*/ 83255 h 1016771"/>
                    <a:gd name="connsiteX315" fmla="*/ 517242 w 761692"/>
                    <a:gd name="connsiteY315" fmla="*/ 81484 h 1016771"/>
                    <a:gd name="connsiteX316" fmla="*/ 522556 w 761692"/>
                    <a:gd name="connsiteY316" fmla="*/ 81484 h 1016771"/>
                    <a:gd name="connsiteX317" fmla="*/ 522556 w 761692"/>
                    <a:gd name="connsiteY317" fmla="*/ 60227 h 1016771"/>
                    <a:gd name="connsiteX318" fmla="*/ 526099 w 761692"/>
                    <a:gd name="connsiteY318" fmla="*/ 54913 h 1016771"/>
                    <a:gd name="connsiteX319" fmla="*/ 529642 w 761692"/>
                    <a:gd name="connsiteY319" fmla="*/ 46056 h 1016771"/>
                    <a:gd name="connsiteX320" fmla="*/ 538499 w 761692"/>
                    <a:gd name="connsiteY320" fmla="*/ 40742 h 1016771"/>
                    <a:gd name="connsiteX321" fmla="*/ 540270 w 761692"/>
                    <a:gd name="connsiteY321" fmla="*/ 30114 h 1016771"/>
                    <a:gd name="connsiteX322" fmla="*/ 536727 w 761692"/>
                    <a:gd name="connsiteY322" fmla="*/ 19485 h 1016771"/>
                    <a:gd name="connsiteX323" fmla="*/ 543813 w 761692"/>
                    <a:gd name="connsiteY323" fmla="*/ 5314 h 1016771"/>
                    <a:gd name="connsiteX324" fmla="*/ 554441 w 761692"/>
                    <a:gd name="connsiteY324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9645 w 761692"/>
                    <a:gd name="connsiteY9" fmla="*/ 860925 h 1016771"/>
                    <a:gd name="connsiteX10" fmla="*/ 148122 w 761692"/>
                    <a:gd name="connsiteY10" fmla="*/ 867707 h 1016771"/>
                    <a:gd name="connsiteX11" fmla="*/ 158294 w 761692"/>
                    <a:gd name="connsiteY11" fmla="*/ 879574 h 1016771"/>
                    <a:gd name="connsiteX12" fmla="*/ 175247 w 761692"/>
                    <a:gd name="connsiteY12" fmla="*/ 889746 h 1016771"/>
                    <a:gd name="connsiteX13" fmla="*/ 188810 w 761692"/>
                    <a:gd name="connsiteY13" fmla="*/ 893137 h 1016771"/>
                    <a:gd name="connsiteX14" fmla="*/ 195591 w 761692"/>
                    <a:gd name="connsiteY14" fmla="*/ 893137 h 1016771"/>
                    <a:gd name="connsiteX15" fmla="*/ 202372 w 761692"/>
                    <a:gd name="connsiteY15" fmla="*/ 886355 h 1016771"/>
                    <a:gd name="connsiteX16" fmla="*/ 200677 w 761692"/>
                    <a:gd name="connsiteY16" fmla="*/ 877879 h 1016771"/>
                    <a:gd name="connsiteX17" fmla="*/ 209154 w 761692"/>
                    <a:gd name="connsiteY17" fmla="*/ 874488 h 1016771"/>
                    <a:gd name="connsiteX18" fmla="*/ 201937 w 761692"/>
                    <a:gd name="connsiteY18" fmla="*/ 878604 h 1016771"/>
                    <a:gd name="connsiteX19" fmla="*/ 203708 w 761692"/>
                    <a:gd name="connsiteY19" fmla="*/ 887461 h 1016771"/>
                    <a:gd name="connsiteX20" fmla="*/ 196623 w 761692"/>
                    <a:gd name="connsiteY20" fmla="*/ 894546 h 1016771"/>
                    <a:gd name="connsiteX21" fmla="*/ 189537 w 761692"/>
                    <a:gd name="connsiteY21" fmla="*/ 894546 h 1016771"/>
                    <a:gd name="connsiteX22" fmla="*/ 175366 w 761692"/>
                    <a:gd name="connsiteY22" fmla="*/ 891003 h 1016771"/>
                    <a:gd name="connsiteX23" fmla="*/ 157653 w 761692"/>
                    <a:gd name="connsiteY23" fmla="*/ 880375 h 1016771"/>
                    <a:gd name="connsiteX24" fmla="*/ 147024 w 761692"/>
                    <a:gd name="connsiteY24" fmla="*/ 867975 h 1016771"/>
                    <a:gd name="connsiteX25" fmla="*/ 138167 w 761692"/>
                    <a:gd name="connsiteY25" fmla="*/ 860890 h 1016771"/>
                    <a:gd name="connsiteX26" fmla="*/ 138167 w 761692"/>
                    <a:gd name="connsiteY26" fmla="*/ 852033 h 1016771"/>
                    <a:gd name="connsiteX27" fmla="*/ 139939 w 761692"/>
                    <a:gd name="connsiteY27" fmla="*/ 850262 h 1016771"/>
                    <a:gd name="connsiteX28" fmla="*/ 139939 w 761692"/>
                    <a:gd name="connsiteY28" fmla="*/ 848490 h 1016771"/>
                    <a:gd name="connsiteX29" fmla="*/ 145253 w 761692"/>
                    <a:gd name="connsiteY29" fmla="*/ 843176 h 1016771"/>
                    <a:gd name="connsiteX30" fmla="*/ 147024 w 761692"/>
                    <a:gd name="connsiteY30" fmla="*/ 841405 h 1016771"/>
                    <a:gd name="connsiteX31" fmla="*/ 148796 w 761692"/>
                    <a:gd name="connsiteY31" fmla="*/ 839633 h 1016771"/>
                    <a:gd name="connsiteX32" fmla="*/ 150567 w 761692"/>
                    <a:gd name="connsiteY32" fmla="*/ 837862 h 1016771"/>
                    <a:gd name="connsiteX33" fmla="*/ 159250 w 761692"/>
                    <a:gd name="connsiteY33" fmla="*/ 829179 h 1016771"/>
                    <a:gd name="connsiteX34" fmla="*/ 116476 w 761692"/>
                    <a:gd name="connsiteY34" fmla="*/ 741349 h 1016771"/>
                    <a:gd name="connsiteX35" fmla="*/ 117606 w 761692"/>
                    <a:gd name="connsiteY35" fmla="*/ 742253 h 1016771"/>
                    <a:gd name="connsiteX36" fmla="*/ 122692 w 761692"/>
                    <a:gd name="connsiteY36" fmla="*/ 759206 h 1016771"/>
                    <a:gd name="connsiteX37" fmla="*/ 126082 w 761692"/>
                    <a:gd name="connsiteY37" fmla="*/ 771073 h 1016771"/>
                    <a:gd name="connsiteX38" fmla="*/ 129473 w 761692"/>
                    <a:gd name="connsiteY38" fmla="*/ 782940 h 1016771"/>
                    <a:gd name="connsiteX39" fmla="*/ 132864 w 761692"/>
                    <a:gd name="connsiteY39" fmla="*/ 793112 h 1016771"/>
                    <a:gd name="connsiteX40" fmla="*/ 136254 w 761692"/>
                    <a:gd name="connsiteY40" fmla="*/ 810066 h 1016771"/>
                    <a:gd name="connsiteX41" fmla="*/ 139058 w 761692"/>
                    <a:gd name="connsiteY41" fmla="*/ 818476 h 1016771"/>
                    <a:gd name="connsiteX42" fmla="*/ 138167 w 761692"/>
                    <a:gd name="connsiteY42" fmla="*/ 818377 h 1016771"/>
                    <a:gd name="connsiteX43" fmla="*/ 134625 w 761692"/>
                    <a:gd name="connsiteY43" fmla="*/ 807749 h 1016771"/>
                    <a:gd name="connsiteX44" fmla="*/ 131082 w 761692"/>
                    <a:gd name="connsiteY44" fmla="*/ 790035 h 1016771"/>
                    <a:gd name="connsiteX45" fmla="*/ 127539 w 761692"/>
                    <a:gd name="connsiteY45" fmla="*/ 779407 h 1016771"/>
                    <a:gd name="connsiteX46" fmla="*/ 123996 w 761692"/>
                    <a:gd name="connsiteY46" fmla="*/ 767007 h 1016771"/>
                    <a:gd name="connsiteX47" fmla="*/ 120454 w 761692"/>
                    <a:gd name="connsiteY47" fmla="*/ 754607 h 1016771"/>
                    <a:gd name="connsiteX48" fmla="*/ 116476 w 761692"/>
                    <a:gd name="connsiteY48" fmla="*/ 741349 h 1016771"/>
                    <a:gd name="connsiteX49" fmla="*/ 554441 w 761692"/>
                    <a:gd name="connsiteY49" fmla="*/ 0 h 1016771"/>
                    <a:gd name="connsiteX50" fmla="*/ 570383 w 761692"/>
                    <a:gd name="connsiteY50" fmla="*/ 3543 h 1016771"/>
                    <a:gd name="connsiteX51" fmla="*/ 577469 w 761692"/>
                    <a:gd name="connsiteY51" fmla="*/ 8857 h 1016771"/>
                    <a:gd name="connsiteX52" fmla="*/ 582783 w 761692"/>
                    <a:gd name="connsiteY52" fmla="*/ 17714 h 1016771"/>
                    <a:gd name="connsiteX53" fmla="*/ 582783 w 761692"/>
                    <a:gd name="connsiteY53" fmla="*/ 24799 h 1016771"/>
                    <a:gd name="connsiteX54" fmla="*/ 588097 w 761692"/>
                    <a:gd name="connsiteY54" fmla="*/ 33656 h 1016771"/>
                    <a:gd name="connsiteX55" fmla="*/ 598725 w 761692"/>
                    <a:gd name="connsiteY55" fmla="*/ 31885 h 1016771"/>
                    <a:gd name="connsiteX56" fmla="*/ 612896 w 761692"/>
                    <a:gd name="connsiteY56" fmla="*/ 37199 h 1016771"/>
                    <a:gd name="connsiteX57" fmla="*/ 618211 w 761692"/>
                    <a:gd name="connsiteY57" fmla="*/ 46056 h 1016771"/>
                    <a:gd name="connsiteX58" fmla="*/ 619982 w 761692"/>
                    <a:gd name="connsiteY58" fmla="*/ 54913 h 1016771"/>
                    <a:gd name="connsiteX59" fmla="*/ 618211 w 761692"/>
                    <a:gd name="connsiteY59" fmla="*/ 74398 h 1016771"/>
                    <a:gd name="connsiteX60" fmla="*/ 616439 w 761692"/>
                    <a:gd name="connsiteY60" fmla="*/ 85026 h 1016771"/>
                    <a:gd name="connsiteX61" fmla="*/ 621753 w 761692"/>
                    <a:gd name="connsiteY61" fmla="*/ 97426 h 1016771"/>
                    <a:gd name="connsiteX62" fmla="*/ 637696 w 761692"/>
                    <a:gd name="connsiteY62" fmla="*/ 113368 h 1016771"/>
                    <a:gd name="connsiteX63" fmla="*/ 644781 w 761692"/>
                    <a:gd name="connsiteY63" fmla="*/ 120454 h 1016771"/>
                    <a:gd name="connsiteX64" fmla="*/ 650095 w 761692"/>
                    <a:gd name="connsiteY64" fmla="*/ 136396 h 1016771"/>
                    <a:gd name="connsiteX65" fmla="*/ 655409 w 761692"/>
                    <a:gd name="connsiteY65" fmla="*/ 155881 h 1016771"/>
                    <a:gd name="connsiteX66" fmla="*/ 662495 w 761692"/>
                    <a:gd name="connsiteY66" fmla="*/ 171824 h 1016771"/>
                    <a:gd name="connsiteX67" fmla="*/ 660724 w 761692"/>
                    <a:gd name="connsiteY67" fmla="*/ 185995 h 1016771"/>
                    <a:gd name="connsiteX68" fmla="*/ 635924 w 761692"/>
                    <a:gd name="connsiteY68" fmla="*/ 194852 h 1016771"/>
                    <a:gd name="connsiteX69" fmla="*/ 619982 w 761692"/>
                    <a:gd name="connsiteY69" fmla="*/ 207251 h 1016771"/>
                    <a:gd name="connsiteX70" fmla="*/ 614668 w 761692"/>
                    <a:gd name="connsiteY70" fmla="*/ 223194 h 1016771"/>
                    <a:gd name="connsiteX71" fmla="*/ 618211 w 761692"/>
                    <a:gd name="connsiteY71" fmla="*/ 242679 h 1016771"/>
                    <a:gd name="connsiteX72" fmla="*/ 612896 w 761692"/>
                    <a:gd name="connsiteY72" fmla="*/ 256850 h 1016771"/>
                    <a:gd name="connsiteX73" fmla="*/ 625296 w 761692"/>
                    <a:gd name="connsiteY73" fmla="*/ 267478 h 1016771"/>
                    <a:gd name="connsiteX74" fmla="*/ 641238 w 761692"/>
                    <a:gd name="connsiteY74" fmla="*/ 269250 h 1016771"/>
                    <a:gd name="connsiteX75" fmla="*/ 658952 w 761692"/>
                    <a:gd name="connsiteY75" fmla="*/ 286963 h 1016771"/>
                    <a:gd name="connsiteX76" fmla="*/ 653638 w 761692"/>
                    <a:gd name="connsiteY76" fmla="*/ 309991 h 1016771"/>
                    <a:gd name="connsiteX77" fmla="*/ 653638 w 761692"/>
                    <a:gd name="connsiteY77" fmla="*/ 329476 h 1016771"/>
                    <a:gd name="connsiteX78" fmla="*/ 643010 w 761692"/>
                    <a:gd name="connsiteY78" fmla="*/ 338333 h 1016771"/>
                    <a:gd name="connsiteX79" fmla="*/ 632382 w 761692"/>
                    <a:gd name="connsiteY79" fmla="*/ 338333 h 1016771"/>
                    <a:gd name="connsiteX80" fmla="*/ 618211 w 761692"/>
                    <a:gd name="connsiteY80" fmla="*/ 357819 h 1016771"/>
                    <a:gd name="connsiteX81" fmla="*/ 609354 w 761692"/>
                    <a:gd name="connsiteY81" fmla="*/ 361361 h 1016771"/>
                    <a:gd name="connsiteX82" fmla="*/ 596954 w 761692"/>
                    <a:gd name="connsiteY82" fmla="*/ 363133 h 1016771"/>
                    <a:gd name="connsiteX83" fmla="*/ 581012 w 761692"/>
                    <a:gd name="connsiteY83" fmla="*/ 379075 h 1016771"/>
                    <a:gd name="connsiteX84" fmla="*/ 589868 w 761692"/>
                    <a:gd name="connsiteY84" fmla="*/ 393246 h 1016771"/>
                    <a:gd name="connsiteX85" fmla="*/ 586326 w 761692"/>
                    <a:gd name="connsiteY85" fmla="*/ 409189 h 1016771"/>
                    <a:gd name="connsiteX86" fmla="*/ 570383 w 761692"/>
                    <a:gd name="connsiteY86" fmla="*/ 398560 h 1016771"/>
                    <a:gd name="connsiteX87" fmla="*/ 550898 w 761692"/>
                    <a:gd name="connsiteY87" fmla="*/ 405646 h 1016771"/>
                    <a:gd name="connsiteX88" fmla="*/ 531413 w 761692"/>
                    <a:gd name="connsiteY88" fmla="*/ 425131 h 1016771"/>
                    <a:gd name="connsiteX89" fmla="*/ 543813 w 761692"/>
                    <a:gd name="connsiteY89" fmla="*/ 444616 h 1016771"/>
                    <a:gd name="connsiteX90" fmla="*/ 557984 w 761692"/>
                    <a:gd name="connsiteY90" fmla="*/ 462330 h 1016771"/>
                    <a:gd name="connsiteX91" fmla="*/ 570383 w 761692"/>
                    <a:gd name="connsiteY91" fmla="*/ 478272 h 1016771"/>
                    <a:gd name="connsiteX92" fmla="*/ 579240 w 761692"/>
                    <a:gd name="connsiteY92" fmla="*/ 485358 h 1016771"/>
                    <a:gd name="connsiteX93" fmla="*/ 602268 w 761692"/>
                    <a:gd name="connsiteY93" fmla="*/ 483586 h 1016771"/>
                    <a:gd name="connsiteX94" fmla="*/ 623525 w 761692"/>
                    <a:gd name="connsiteY94" fmla="*/ 474730 h 1016771"/>
                    <a:gd name="connsiteX95" fmla="*/ 639467 w 761692"/>
                    <a:gd name="connsiteY95" fmla="*/ 464101 h 1016771"/>
                    <a:gd name="connsiteX96" fmla="*/ 662495 w 761692"/>
                    <a:gd name="connsiteY96" fmla="*/ 464101 h 1016771"/>
                    <a:gd name="connsiteX97" fmla="*/ 673123 w 761692"/>
                    <a:gd name="connsiteY97" fmla="*/ 464101 h 1016771"/>
                    <a:gd name="connsiteX98" fmla="*/ 681980 w 761692"/>
                    <a:gd name="connsiteY98" fmla="*/ 467644 h 1016771"/>
                    <a:gd name="connsiteX99" fmla="*/ 703237 w 761692"/>
                    <a:gd name="connsiteY99" fmla="*/ 471187 h 1016771"/>
                    <a:gd name="connsiteX100" fmla="*/ 708551 w 761692"/>
                    <a:gd name="connsiteY100" fmla="*/ 474730 h 1016771"/>
                    <a:gd name="connsiteX101" fmla="*/ 722722 w 761692"/>
                    <a:gd name="connsiteY101" fmla="*/ 501300 h 1016771"/>
                    <a:gd name="connsiteX102" fmla="*/ 724493 w 761692"/>
                    <a:gd name="connsiteY102" fmla="*/ 522557 h 1016771"/>
                    <a:gd name="connsiteX103" fmla="*/ 722722 w 761692"/>
                    <a:gd name="connsiteY103" fmla="*/ 540271 h 1016771"/>
                    <a:gd name="connsiteX104" fmla="*/ 735121 w 761692"/>
                    <a:gd name="connsiteY104" fmla="*/ 552670 h 1016771"/>
                    <a:gd name="connsiteX105" fmla="*/ 735121 w 761692"/>
                    <a:gd name="connsiteY105" fmla="*/ 570384 h 1016771"/>
                    <a:gd name="connsiteX106" fmla="*/ 751064 w 761692"/>
                    <a:gd name="connsiteY106" fmla="*/ 581012 h 1016771"/>
                    <a:gd name="connsiteX107" fmla="*/ 761692 w 761692"/>
                    <a:gd name="connsiteY107" fmla="*/ 604040 h 1016771"/>
                    <a:gd name="connsiteX108" fmla="*/ 747521 w 761692"/>
                    <a:gd name="connsiteY108" fmla="*/ 616440 h 1016771"/>
                    <a:gd name="connsiteX109" fmla="*/ 728036 w 761692"/>
                    <a:gd name="connsiteY109" fmla="*/ 627068 h 1016771"/>
                    <a:gd name="connsiteX110" fmla="*/ 726264 w 761692"/>
                    <a:gd name="connsiteY110" fmla="*/ 650096 h 1016771"/>
                    <a:gd name="connsiteX111" fmla="*/ 728036 w 761692"/>
                    <a:gd name="connsiteY111" fmla="*/ 673124 h 1016771"/>
                    <a:gd name="connsiteX112" fmla="*/ 742207 w 761692"/>
                    <a:gd name="connsiteY112" fmla="*/ 689066 h 1016771"/>
                    <a:gd name="connsiteX113" fmla="*/ 742207 w 761692"/>
                    <a:gd name="connsiteY113" fmla="*/ 712094 h 1016771"/>
                    <a:gd name="connsiteX114" fmla="*/ 740435 w 761692"/>
                    <a:gd name="connsiteY114" fmla="*/ 735122 h 1016771"/>
                    <a:gd name="connsiteX115" fmla="*/ 742207 w 761692"/>
                    <a:gd name="connsiteY115" fmla="*/ 751065 h 1016771"/>
                    <a:gd name="connsiteX116" fmla="*/ 747521 w 761692"/>
                    <a:gd name="connsiteY116" fmla="*/ 768778 h 1016771"/>
                    <a:gd name="connsiteX117" fmla="*/ 759921 w 761692"/>
                    <a:gd name="connsiteY117" fmla="*/ 777635 h 1016771"/>
                    <a:gd name="connsiteX118" fmla="*/ 758149 w 761692"/>
                    <a:gd name="connsiteY118" fmla="*/ 802434 h 1016771"/>
                    <a:gd name="connsiteX119" fmla="*/ 752835 w 761692"/>
                    <a:gd name="connsiteY119" fmla="*/ 814834 h 1016771"/>
                    <a:gd name="connsiteX120" fmla="*/ 743978 w 761692"/>
                    <a:gd name="connsiteY120" fmla="*/ 827234 h 1016771"/>
                    <a:gd name="connsiteX121" fmla="*/ 743978 w 761692"/>
                    <a:gd name="connsiteY121" fmla="*/ 837862 h 1016771"/>
                    <a:gd name="connsiteX122" fmla="*/ 747521 w 761692"/>
                    <a:gd name="connsiteY122" fmla="*/ 853804 h 1016771"/>
                    <a:gd name="connsiteX123" fmla="*/ 733350 w 761692"/>
                    <a:gd name="connsiteY123" fmla="*/ 867975 h 1016771"/>
                    <a:gd name="connsiteX124" fmla="*/ 724493 w 761692"/>
                    <a:gd name="connsiteY124" fmla="*/ 880375 h 1016771"/>
                    <a:gd name="connsiteX125" fmla="*/ 722722 w 761692"/>
                    <a:gd name="connsiteY125" fmla="*/ 899860 h 1016771"/>
                    <a:gd name="connsiteX126" fmla="*/ 722722 w 761692"/>
                    <a:gd name="connsiteY126" fmla="*/ 919345 h 1016771"/>
                    <a:gd name="connsiteX127" fmla="*/ 715636 w 761692"/>
                    <a:gd name="connsiteY127" fmla="*/ 940602 h 1016771"/>
                    <a:gd name="connsiteX128" fmla="*/ 708551 w 761692"/>
                    <a:gd name="connsiteY128" fmla="*/ 954773 h 1016771"/>
                    <a:gd name="connsiteX129" fmla="*/ 699694 w 761692"/>
                    <a:gd name="connsiteY129" fmla="*/ 965401 h 1016771"/>
                    <a:gd name="connsiteX130" fmla="*/ 692608 w 761692"/>
                    <a:gd name="connsiteY130" fmla="*/ 984886 h 1016771"/>
                    <a:gd name="connsiteX131" fmla="*/ 683751 w 761692"/>
                    <a:gd name="connsiteY131" fmla="*/ 997286 h 1016771"/>
                    <a:gd name="connsiteX132" fmla="*/ 673123 w 761692"/>
                    <a:gd name="connsiteY132" fmla="*/ 1002600 h 1016771"/>
                    <a:gd name="connsiteX133" fmla="*/ 662495 w 761692"/>
                    <a:gd name="connsiteY133" fmla="*/ 1013228 h 1016771"/>
                    <a:gd name="connsiteX134" fmla="*/ 644781 w 761692"/>
                    <a:gd name="connsiteY134" fmla="*/ 1016771 h 1016771"/>
                    <a:gd name="connsiteX135" fmla="*/ 635924 w 761692"/>
                    <a:gd name="connsiteY135" fmla="*/ 1004372 h 1016771"/>
                    <a:gd name="connsiteX136" fmla="*/ 623525 w 761692"/>
                    <a:gd name="connsiteY136" fmla="*/ 997286 h 1016771"/>
                    <a:gd name="connsiteX137" fmla="*/ 614668 w 761692"/>
                    <a:gd name="connsiteY137" fmla="*/ 986658 h 1016771"/>
                    <a:gd name="connsiteX138" fmla="*/ 593411 w 761692"/>
                    <a:gd name="connsiteY138" fmla="*/ 970715 h 1016771"/>
                    <a:gd name="connsiteX139" fmla="*/ 582783 w 761692"/>
                    <a:gd name="connsiteY139" fmla="*/ 965401 h 1016771"/>
                    <a:gd name="connsiteX140" fmla="*/ 531413 w 761692"/>
                    <a:gd name="connsiteY140" fmla="*/ 965401 h 1016771"/>
                    <a:gd name="connsiteX141" fmla="*/ 511928 w 761692"/>
                    <a:gd name="connsiteY141" fmla="*/ 965401 h 1016771"/>
                    <a:gd name="connsiteX142" fmla="*/ 492443 w 761692"/>
                    <a:gd name="connsiteY142" fmla="*/ 963630 h 1016771"/>
                    <a:gd name="connsiteX143" fmla="*/ 483586 w 761692"/>
                    <a:gd name="connsiteY143" fmla="*/ 958316 h 1016771"/>
                    <a:gd name="connsiteX144" fmla="*/ 469415 w 761692"/>
                    <a:gd name="connsiteY144" fmla="*/ 954773 h 1016771"/>
                    <a:gd name="connsiteX145" fmla="*/ 460558 w 761692"/>
                    <a:gd name="connsiteY145" fmla="*/ 942373 h 1016771"/>
                    <a:gd name="connsiteX146" fmla="*/ 446387 w 761692"/>
                    <a:gd name="connsiteY146" fmla="*/ 935288 h 1016771"/>
                    <a:gd name="connsiteX147" fmla="*/ 428673 w 761692"/>
                    <a:gd name="connsiteY147" fmla="*/ 928202 h 1016771"/>
                    <a:gd name="connsiteX148" fmla="*/ 418045 w 761692"/>
                    <a:gd name="connsiteY148" fmla="*/ 917574 h 1016771"/>
                    <a:gd name="connsiteX149" fmla="*/ 421588 w 761692"/>
                    <a:gd name="connsiteY149" fmla="*/ 903403 h 1016771"/>
                    <a:gd name="connsiteX150" fmla="*/ 418045 w 761692"/>
                    <a:gd name="connsiteY150" fmla="*/ 898089 h 1016771"/>
                    <a:gd name="connsiteX151" fmla="*/ 396788 w 761692"/>
                    <a:gd name="connsiteY151" fmla="*/ 898089 h 1016771"/>
                    <a:gd name="connsiteX152" fmla="*/ 382617 w 761692"/>
                    <a:gd name="connsiteY152" fmla="*/ 896318 h 1016771"/>
                    <a:gd name="connsiteX153" fmla="*/ 380846 w 761692"/>
                    <a:gd name="connsiteY153" fmla="*/ 906946 h 1016771"/>
                    <a:gd name="connsiteX154" fmla="*/ 373601 w 761692"/>
                    <a:gd name="connsiteY154" fmla="*/ 894832 h 1016771"/>
                    <a:gd name="connsiteX155" fmla="*/ 387164 w 761692"/>
                    <a:gd name="connsiteY155" fmla="*/ 896527 h 1016771"/>
                    <a:gd name="connsiteX156" fmla="*/ 383773 w 761692"/>
                    <a:gd name="connsiteY156" fmla="*/ 886355 h 1016771"/>
                    <a:gd name="connsiteX157" fmla="*/ 387164 w 761692"/>
                    <a:gd name="connsiteY157" fmla="*/ 876183 h 1016771"/>
                    <a:gd name="connsiteX158" fmla="*/ 388859 w 761692"/>
                    <a:gd name="connsiteY158" fmla="*/ 867707 h 1016771"/>
                    <a:gd name="connsiteX159" fmla="*/ 380382 w 761692"/>
                    <a:gd name="connsiteY159" fmla="*/ 859230 h 1016771"/>
                    <a:gd name="connsiteX160" fmla="*/ 373601 w 761692"/>
                    <a:gd name="connsiteY160" fmla="*/ 849058 h 1016771"/>
                    <a:gd name="connsiteX161" fmla="*/ 380382 w 761692"/>
                    <a:gd name="connsiteY161" fmla="*/ 838886 h 1016771"/>
                    <a:gd name="connsiteX162" fmla="*/ 383773 w 761692"/>
                    <a:gd name="connsiteY162" fmla="*/ 833800 h 1016771"/>
                    <a:gd name="connsiteX163" fmla="*/ 388859 w 761692"/>
                    <a:gd name="connsiteY163" fmla="*/ 825324 h 1016771"/>
                    <a:gd name="connsiteX164" fmla="*/ 387164 w 761692"/>
                    <a:gd name="connsiteY164" fmla="*/ 810066 h 1016771"/>
                    <a:gd name="connsiteX165" fmla="*/ 387164 w 761692"/>
                    <a:gd name="connsiteY165" fmla="*/ 796503 h 1016771"/>
                    <a:gd name="connsiteX166" fmla="*/ 378687 w 761692"/>
                    <a:gd name="connsiteY166" fmla="*/ 789722 h 1016771"/>
                    <a:gd name="connsiteX167" fmla="*/ 366820 w 761692"/>
                    <a:gd name="connsiteY167" fmla="*/ 782940 h 1016771"/>
                    <a:gd name="connsiteX168" fmla="*/ 356648 w 761692"/>
                    <a:gd name="connsiteY168" fmla="*/ 781245 h 1016771"/>
                    <a:gd name="connsiteX169" fmla="*/ 349866 w 761692"/>
                    <a:gd name="connsiteY169" fmla="*/ 771073 h 1016771"/>
                    <a:gd name="connsiteX170" fmla="*/ 349866 w 761692"/>
                    <a:gd name="connsiteY170" fmla="*/ 752425 h 1016771"/>
                    <a:gd name="connsiteX171" fmla="*/ 353257 w 761692"/>
                    <a:gd name="connsiteY171" fmla="*/ 743948 h 1016771"/>
                    <a:gd name="connsiteX172" fmla="*/ 354952 w 761692"/>
                    <a:gd name="connsiteY172" fmla="*/ 730385 h 1016771"/>
                    <a:gd name="connsiteX173" fmla="*/ 353257 w 761692"/>
                    <a:gd name="connsiteY173" fmla="*/ 713432 h 1016771"/>
                    <a:gd name="connsiteX174" fmla="*/ 346476 w 761692"/>
                    <a:gd name="connsiteY174" fmla="*/ 701565 h 1016771"/>
                    <a:gd name="connsiteX175" fmla="*/ 332913 w 761692"/>
                    <a:gd name="connsiteY175" fmla="*/ 689697 h 1016771"/>
                    <a:gd name="connsiteX176" fmla="*/ 324436 w 761692"/>
                    <a:gd name="connsiteY176" fmla="*/ 681221 h 1016771"/>
                    <a:gd name="connsiteX177" fmla="*/ 314264 w 761692"/>
                    <a:gd name="connsiteY177" fmla="*/ 676135 h 1016771"/>
                    <a:gd name="connsiteX178" fmla="*/ 293920 w 761692"/>
                    <a:gd name="connsiteY178" fmla="*/ 669354 h 1016771"/>
                    <a:gd name="connsiteX179" fmla="*/ 282053 w 761692"/>
                    <a:gd name="connsiteY179" fmla="*/ 667658 h 1016771"/>
                    <a:gd name="connsiteX180" fmla="*/ 266795 w 761692"/>
                    <a:gd name="connsiteY180" fmla="*/ 672744 h 1016771"/>
                    <a:gd name="connsiteX181" fmla="*/ 265100 w 761692"/>
                    <a:gd name="connsiteY181" fmla="*/ 672744 h 1016771"/>
                    <a:gd name="connsiteX182" fmla="*/ 263404 w 761692"/>
                    <a:gd name="connsiteY182" fmla="*/ 671049 h 1016771"/>
                    <a:gd name="connsiteX183" fmla="*/ 260014 w 761692"/>
                    <a:gd name="connsiteY183" fmla="*/ 671049 h 1016771"/>
                    <a:gd name="connsiteX184" fmla="*/ 258318 w 761692"/>
                    <a:gd name="connsiteY184" fmla="*/ 671049 h 1016771"/>
                    <a:gd name="connsiteX185" fmla="*/ 253232 w 761692"/>
                    <a:gd name="connsiteY185" fmla="*/ 671049 h 1016771"/>
                    <a:gd name="connsiteX186" fmla="*/ 248146 w 761692"/>
                    <a:gd name="connsiteY186" fmla="*/ 672744 h 1016771"/>
                    <a:gd name="connsiteX187" fmla="*/ 248146 w 761692"/>
                    <a:gd name="connsiteY187" fmla="*/ 674440 h 1016771"/>
                    <a:gd name="connsiteX188" fmla="*/ 246451 w 761692"/>
                    <a:gd name="connsiteY188" fmla="*/ 674440 h 1016771"/>
                    <a:gd name="connsiteX189" fmla="*/ 236279 w 761692"/>
                    <a:gd name="connsiteY189" fmla="*/ 679526 h 1016771"/>
                    <a:gd name="connsiteX190" fmla="*/ 226107 w 761692"/>
                    <a:gd name="connsiteY190" fmla="*/ 684612 h 1016771"/>
                    <a:gd name="connsiteX191" fmla="*/ 217630 w 761692"/>
                    <a:gd name="connsiteY191" fmla="*/ 684612 h 1016771"/>
                    <a:gd name="connsiteX192" fmla="*/ 207458 w 761692"/>
                    <a:gd name="connsiteY192" fmla="*/ 693088 h 1016771"/>
                    <a:gd name="connsiteX193" fmla="*/ 198982 w 761692"/>
                    <a:gd name="connsiteY193" fmla="*/ 694783 h 1016771"/>
                    <a:gd name="connsiteX194" fmla="*/ 192200 w 761692"/>
                    <a:gd name="connsiteY194" fmla="*/ 699869 h 1016771"/>
                    <a:gd name="connsiteX195" fmla="*/ 178638 w 761692"/>
                    <a:gd name="connsiteY195" fmla="*/ 706651 h 1016771"/>
                    <a:gd name="connsiteX196" fmla="*/ 163380 w 761692"/>
                    <a:gd name="connsiteY196" fmla="*/ 710041 h 1016771"/>
                    <a:gd name="connsiteX197" fmla="*/ 141340 w 761692"/>
                    <a:gd name="connsiteY197" fmla="*/ 710041 h 1016771"/>
                    <a:gd name="connsiteX198" fmla="*/ 134559 w 761692"/>
                    <a:gd name="connsiteY198" fmla="*/ 716823 h 1016771"/>
                    <a:gd name="connsiteX199" fmla="*/ 127778 w 761692"/>
                    <a:gd name="connsiteY199" fmla="*/ 718518 h 1016771"/>
                    <a:gd name="connsiteX200" fmla="*/ 120996 w 761692"/>
                    <a:gd name="connsiteY200" fmla="*/ 725299 h 1016771"/>
                    <a:gd name="connsiteX201" fmla="*/ 111172 w 761692"/>
                    <a:gd name="connsiteY201" fmla="*/ 733720 h 1016771"/>
                    <a:gd name="connsiteX202" fmla="*/ 106283 w 761692"/>
                    <a:gd name="connsiteY202" fmla="*/ 729808 h 1016771"/>
                    <a:gd name="connsiteX203" fmla="*/ 92112 w 761692"/>
                    <a:gd name="connsiteY203" fmla="*/ 724494 h 1016771"/>
                    <a:gd name="connsiteX204" fmla="*/ 77941 w 761692"/>
                    <a:gd name="connsiteY204" fmla="*/ 726265 h 1016771"/>
                    <a:gd name="connsiteX205" fmla="*/ 70855 w 761692"/>
                    <a:gd name="connsiteY205" fmla="*/ 719180 h 1016771"/>
                    <a:gd name="connsiteX206" fmla="*/ 70855 w 761692"/>
                    <a:gd name="connsiteY206" fmla="*/ 699695 h 1016771"/>
                    <a:gd name="connsiteX207" fmla="*/ 81483 w 761692"/>
                    <a:gd name="connsiteY207" fmla="*/ 685524 h 1016771"/>
                    <a:gd name="connsiteX208" fmla="*/ 85026 w 761692"/>
                    <a:gd name="connsiteY208" fmla="*/ 673124 h 1016771"/>
                    <a:gd name="connsiteX209" fmla="*/ 86797 w 761692"/>
                    <a:gd name="connsiteY209" fmla="*/ 660724 h 1016771"/>
                    <a:gd name="connsiteX210" fmla="*/ 97426 w 761692"/>
                    <a:gd name="connsiteY210" fmla="*/ 650096 h 1016771"/>
                    <a:gd name="connsiteX211" fmla="*/ 102740 w 761692"/>
                    <a:gd name="connsiteY211" fmla="*/ 635925 h 1016771"/>
                    <a:gd name="connsiteX212" fmla="*/ 113368 w 761692"/>
                    <a:gd name="connsiteY212" fmla="*/ 625297 h 1016771"/>
                    <a:gd name="connsiteX213" fmla="*/ 115139 w 761692"/>
                    <a:gd name="connsiteY213" fmla="*/ 612897 h 1016771"/>
                    <a:gd name="connsiteX214" fmla="*/ 127539 w 761692"/>
                    <a:gd name="connsiteY214" fmla="*/ 609354 h 1016771"/>
                    <a:gd name="connsiteX215" fmla="*/ 136396 w 761692"/>
                    <a:gd name="connsiteY215" fmla="*/ 604040 h 1016771"/>
                    <a:gd name="connsiteX216" fmla="*/ 132853 w 761692"/>
                    <a:gd name="connsiteY216" fmla="*/ 593412 h 1016771"/>
                    <a:gd name="connsiteX217" fmla="*/ 134625 w 761692"/>
                    <a:gd name="connsiteY217" fmla="*/ 584555 h 1016771"/>
                    <a:gd name="connsiteX218" fmla="*/ 131082 w 761692"/>
                    <a:gd name="connsiteY218" fmla="*/ 575698 h 1016771"/>
                    <a:gd name="connsiteX219" fmla="*/ 120454 w 761692"/>
                    <a:gd name="connsiteY219" fmla="*/ 568613 h 1016771"/>
                    <a:gd name="connsiteX220" fmla="*/ 125768 w 761692"/>
                    <a:gd name="connsiteY220" fmla="*/ 552670 h 1016771"/>
                    <a:gd name="connsiteX221" fmla="*/ 118682 w 761692"/>
                    <a:gd name="connsiteY221" fmla="*/ 543813 h 1016771"/>
                    <a:gd name="connsiteX222" fmla="*/ 90340 w 761692"/>
                    <a:gd name="connsiteY222" fmla="*/ 543813 h 1016771"/>
                    <a:gd name="connsiteX223" fmla="*/ 86797 w 761692"/>
                    <a:gd name="connsiteY223" fmla="*/ 542042 h 1016771"/>
                    <a:gd name="connsiteX224" fmla="*/ 83255 w 761692"/>
                    <a:gd name="connsiteY224" fmla="*/ 542042 h 1016771"/>
                    <a:gd name="connsiteX225" fmla="*/ 81483 w 761692"/>
                    <a:gd name="connsiteY225" fmla="*/ 540271 h 1016771"/>
                    <a:gd name="connsiteX226" fmla="*/ 81483 w 761692"/>
                    <a:gd name="connsiteY226" fmla="*/ 536728 h 1016771"/>
                    <a:gd name="connsiteX227" fmla="*/ 79712 w 761692"/>
                    <a:gd name="connsiteY227" fmla="*/ 531414 h 1016771"/>
                    <a:gd name="connsiteX228" fmla="*/ 77941 w 761692"/>
                    <a:gd name="connsiteY228" fmla="*/ 529642 h 1016771"/>
                    <a:gd name="connsiteX229" fmla="*/ 70855 w 761692"/>
                    <a:gd name="connsiteY229" fmla="*/ 527871 h 1016771"/>
                    <a:gd name="connsiteX230" fmla="*/ 60227 w 761692"/>
                    <a:gd name="connsiteY230" fmla="*/ 536728 h 1016771"/>
                    <a:gd name="connsiteX231" fmla="*/ 47827 w 761692"/>
                    <a:gd name="connsiteY231" fmla="*/ 526100 h 1016771"/>
                    <a:gd name="connsiteX232" fmla="*/ 42513 w 761692"/>
                    <a:gd name="connsiteY232" fmla="*/ 515471 h 1016771"/>
                    <a:gd name="connsiteX233" fmla="*/ 33656 w 761692"/>
                    <a:gd name="connsiteY233" fmla="*/ 506614 h 1016771"/>
                    <a:gd name="connsiteX234" fmla="*/ 31885 w 761692"/>
                    <a:gd name="connsiteY234" fmla="*/ 490672 h 1016771"/>
                    <a:gd name="connsiteX235" fmla="*/ 26571 w 761692"/>
                    <a:gd name="connsiteY235" fmla="*/ 476501 h 1016771"/>
                    <a:gd name="connsiteX236" fmla="*/ 24799 w 761692"/>
                    <a:gd name="connsiteY236" fmla="*/ 471187 h 1016771"/>
                    <a:gd name="connsiteX237" fmla="*/ 12400 w 761692"/>
                    <a:gd name="connsiteY237" fmla="*/ 472958 h 1016771"/>
                    <a:gd name="connsiteX238" fmla="*/ 7086 w 761692"/>
                    <a:gd name="connsiteY238" fmla="*/ 464101 h 1016771"/>
                    <a:gd name="connsiteX239" fmla="*/ 8857 w 761692"/>
                    <a:gd name="connsiteY239" fmla="*/ 446388 h 1016771"/>
                    <a:gd name="connsiteX240" fmla="*/ 3543 w 761692"/>
                    <a:gd name="connsiteY240" fmla="*/ 435759 h 1016771"/>
                    <a:gd name="connsiteX241" fmla="*/ 5314 w 761692"/>
                    <a:gd name="connsiteY241" fmla="*/ 412731 h 1016771"/>
                    <a:gd name="connsiteX242" fmla="*/ 0 w 761692"/>
                    <a:gd name="connsiteY242" fmla="*/ 396789 h 1016771"/>
                    <a:gd name="connsiteX243" fmla="*/ 3543 w 761692"/>
                    <a:gd name="connsiteY243" fmla="*/ 384389 h 1016771"/>
                    <a:gd name="connsiteX244" fmla="*/ 14171 w 761692"/>
                    <a:gd name="connsiteY244" fmla="*/ 380846 h 1016771"/>
                    <a:gd name="connsiteX245" fmla="*/ 24799 w 761692"/>
                    <a:gd name="connsiteY245" fmla="*/ 364904 h 1016771"/>
                    <a:gd name="connsiteX246" fmla="*/ 30113 w 761692"/>
                    <a:gd name="connsiteY246" fmla="*/ 350733 h 1016771"/>
                    <a:gd name="connsiteX247" fmla="*/ 35428 w 761692"/>
                    <a:gd name="connsiteY247" fmla="*/ 341876 h 1016771"/>
                    <a:gd name="connsiteX248" fmla="*/ 42513 w 761692"/>
                    <a:gd name="connsiteY248" fmla="*/ 327705 h 1016771"/>
                    <a:gd name="connsiteX249" fmla="*/ 42513 w 761692"/>
                    <a:gd name="connsiteY249" fmla="*/ 315305 h 1016771"/>
                    <a:gd name="connsiteX250" fmla="*/ 56684 w 761692"/>
                    <a:gd name="connsiteY250" fmla="*/ 309991 h 1016771"/>
                    <a:gd name="connsiteX251" fmla="*/ 60227 w 761692"/>
                    <a:gd name="connsiteY251" fmla="*/ 309991 h 1016771"/>
                    <a:gd name="connsiteX252" fmla="*/ 61998 w 761692"/>
                    <a:gd name="connsiteY252" fmla="*/ 311763 h 1016771"/>
                    <a:gd name="connsiteX253" fmla="*/ 67312 w 761692"/>
                    <a:gd name="connsiteY253" fmla="*/ 311763 h 1016771"/>
                    <a:gd name="connsiteX254" fmla="*/ 67312 w 761692"/>
                    <a:gd name="connsiteY254" fmla="*/ 309991 h 1016771"/>
                    <a:gd name="connsiteX255" fmla="*/ 67312 w 761692"/>
                    <a:gd name="connsiteY255" fmla="*/ 308220 h 1016771"/>
                    <a:gd name="connsiteX256" fmla="*/ 69084 w 761692"/>
                    <a:gd name="connsiteY256" fmla="*/ 302906 h 1016771"/>
                    <a:gd name="connsiteX257" fmla="*/ 70855 w 761692"/>
                    <a:gd name="connsiteY257" fmla="*/ 301134 h 1016771"/>
                    <a:gd name="connsiteX258" fmla="*/ 70855 w 761692"/>
                    <a:gd name="connsiteY258" fmla="*/ 299363 h 1016771"/>
                    <a:gd name="connsiteX259" fmla="*/ 77941 w 761692"/>
                    <a:gd name="connsiteY259" fmla="*/ 295820 h 1016771"/>
                    <a:gd name="connsiteX260" fmla="*/ 85026 w 761692"/>
                    <a:gd name="connsiteY260" fmla="*/ 295820 h 1016771"/>
                    <a:gd name="connsiteX261" fmla="*/ 93883 w 761692"/>
                    <a:gd name="connsiteY261" fmla="*/ 297592 h 1016771"/>
                    <a:gd name="connsiteX262" fmla="*/ 100968 w 761692"/>
                    <a:gd name="connsiteY262" fmla="*/ 288735 h 1016771"/>
                    <a:gd name="connsiteX263" fmla="*/ 97426 w 761692"/>
                    <a:gd name="connsiteY263" fmla="*/ 279878 h 1016771"/>
                    <a:gd name="connsiteX264" fmla="*/ 85026 w 761692"/>
                    <a:gd name="connsiteY264" fmla="*/ 276335 h 1016771"/>
                    <a:gd name="connsiteX265" fmla="*/ 76169 w 761692"/>
                    <a:gd name="connsiteY265" fmla="*/ 271021 h 1016771"/>
                    <a:gd name="connsiteX266" fmla="*/ 76169 w 761692"/>
                    <a:gd name="connsiteY266" fmla="*/ 262164 h 1016771"/>
                    <a:gd name="connsiteX267" fmla="*/ 81483 w 761692"/>
                    <a:gd name="connsiteY267" fmla="*/ 251536 h 1016771"/>
                    <a:gd name="connsiteX268" fmla="*/ 86797 w 761692"/>
                    <a:gd name="connsiteY268" fmla="*/ 255079 h 1016771"/>
                    <a:gd name="connsiteX269" fmla="*/ 104511 w 761692"/>
                    <a:gd name="connsiteY269" fmla="*/ 262164 h 1016771"/>
                    <a:gd name="connsiteX270" fmla="*/ 116911 w 761692"/>
                    <a:gd name="connsiteY270" fmla="*/ 265707 h 1016771"/>
                    <a:gd name="connsiteX271" fmla="*/ 132853 w 761692"/>
                    <a:gd name="connsiteY271" fmla="*/ 269250 h 1016771"/>
                    <a:gd name="connsiteX272" fmla="*/ 138167 w 761692"/>
                    <a:gd name="connsiteY272" fmla="*/ 265707 h 1016771"/>
                    <a:gd name="connsiteX273" fmla="*/ 150567 w 761692"/>
                    <a:gd name="connsiteY273" fmla="*/ 255079 h 1016771"/>
                    <a:gd name="connsiteX274" fmla="*/ 166509 w 761692"/>
                    <a:gd name="connsiteY274" fmla="*/ 255079 h 1016771"/>
                    <a:gd name="connsiteX275" fmla="*/ 166509 w 761692"/>
                    <a:gd name="connsiteY275" fmla="*/ 265707 h 1016771"/>
                    <a:gd name="connsiteX276" fmla="*/ 177138 w 761692"/>
                    <a:gd name="connsiteY276" fmla="*/ 272792 h 1016771"/>
                    <a:gd name="connsiteX277" fmla="*/ 194851 w 761692"/>
                    <a:gd name="connsiteY277" fmla="*/ 276335 h 1016771"/>
                    <a:gd name="connsiteX278" fmla="*/ 209022 w 761692"/>
                    <a:gd name="connsiteY278" fmla="*/ 279878 h 1016771"/>
                    <a:gd name="connsiteX279" fmla="*/ 221422 w 761692"/>
                    <a:gd name="connsiteY279" fmla="*/ 276335 h 1016771"/>
                    <a:gd name="connsiteX280" fmla="*/ 226736 w 761692"/>
                    <a:gd name="connsiteY280" fmla="*/ 269250 h 1016771"/>
                    <a:gd name="connsiteX281" fmla="*/ 226736 w 761692"/>
                    <a:gd name="connsiteY281" fmla="*/ 251536 h 1016771"/>
                    <a:gd name="connsiteX282" fmla="*/ 224965 w 761692"/>
                    <a:gd name="connsiteY282" fmla="*/ 239136 h 1016771"/>
                    <a:gd name="connsiteX283" fmla="*/ 214337 w 761692"/>
                    <a:gd name="connsiteY283" fmla="*/ 230279 h 1016771"/>
                    <a:gd name="connsiteX284" fmla="*/ 210794 w 761692"/>
                    <a:gd name="connsiteY284" fmla="*/ 217880 h 1016771"/>
                    <a:gd name="connsiteX285" fmla="*/ 221422 w 761692"/>
                    <a:gd name="connsiteY285" fmla="*/ 207251 h 1016771"/>
                    <a:gd name="connsiteX286" fmla="*/ 235593 w 761692"/>
                    <a:gd name="connsiteY286" fmla="*/ 214337 h 1016771"/>
                    <a:gd name="connsiteX287" fmla="*/ 246221 w 761692"/>
                    <a:gd name="connsiteY287" fmla="*/ 219651 h 1016771"/>
                    <a:gd name="connsiteX288" fmla="*/ 253307 w 761692"/>
                    <a:gd name="connsiteY288" fmla="*/ 221422 h 1016771"/>
                    <a:gd name="connsiteX289" fmla="*/ 262164 w 761692"/>
                    <a:gd name="connsiteY289" fmla="*/ 210794 h 1016771"/>
                    <a:gd name="connsiteX290" fmla="*/ 263935 w 761692"/>
                    <a:gd name="connsiteY290" fmla="*/ 201937 h 1016771"/>
                    <a:gd name="connsiteX291" fmla="*/ 274563 w 761692"/>
                    <a:gd name="connsiteY291" fmla="*/ 189538 h 1016771"/>
                    <a:gd name="connsiteX292" fmla="*/ 283420 w 761692"/>
                    <a:gd name="connsiteY292" fmla="*/ 178909 h 1016771"/>
                    <a:gd name="connsiteX293" fmla="*/ 286963 w 761692"/>
                    <a:gd name="connsiteY293" fmla="*/ 173595 h 1016771"/>
                    <a:gd name="connsiteX294" fmla="*/ 311762 w 761692"/>
                    <a:gd name="connsiteY294" fmla="*/ 168281 h 1016771"/>
                    <a:gd name="connsiteX295" fmla="*/ 325933 w 761692"/>
                    <a:gd name="connsiteY295" fmla="*/ 164738 h 1016771"/>
                    <a:gd name="connsiteX296" fmla="*/ 336562 w 761692"/>
                    <a:gd name="connsiteY296" fmla="*/ 159424 h 1016771"/>
                    <a:gd name="connsiteX297" fmla="*/ 348961 w 761692"/>
                    <a:gd name="connsiteY297" fmla="*/ 145253 h 1016771"/>
                    <a:gd name="connsiteX298" fmla="*/ 359589 w 761692"/>
                    <a:gd name="connsiteY298" fmla="*/ 143482 h 1016771"/>
                    <a:gd name="connsiteX299" fmla="*/ 371989 w 761692"/>
                    <a:gd name="connsiteY299" fmla="*/ 143482 h 1016771"/>
                    <a:gd name="connsiteX300" fmla="*/ 391474 w 761692"/>
                    <a:gd name="connsiteY300" fmla="*/ 143482 h 1016771"/>
                    <a:gd name="connsiteX301" fmla="*/ 396788 w 761692"/>
                    <a:gd name="connsiteY301" fmla="*/ 141710 h 1016771"/>
                    <a:gd name="connsiteX302" fmla="*/ 403874 w 761692"/>
                    <a:gd name="connsiteY302" fmla="*/ 134625 h 1016771"/>
                    <a:gd name="connsiteX303" fmla="*/ 409188 w 761692"/>
                    <a:gd name="connsiteY303" fmla="*/ 129311 h 1016771"/>
                    <a:gd name="connsiteX304" fmla="*/ 409188 w 761692"/>
                    <a:gd name="connsiteY304" fmla="*/ 123997 h 1016771"/>
                    <a:gd name="connsiteX305" fmla="*/ 414502 w 761692"/>
                    <a:gd name="connsiteY305" fmla="*/ 115140 h 1016771"/>
                    <a:gd name="connsiteX306" fmla="*/ 428673 w 761692"/>
                    <a:gd name="connsiteY306" fmla="*/ 115140 h 1016771"/>
                    <a:gd name="connsiteX307" fmla="*/ 432216 w 761692"/>
                    <a:gd name="connsiteY307" fmla="*/ 109826 h 1016771"/>
                    <a:gd name="connsiteX308" fmla="*/ 437530 w 761692"/>
                    <a:gd name="connsiteY308" fmla="*/ 100969 h 1016771"/>
                    <a:gd name="connsiteX309" fmla="*/ 448158 w 761692"/>
                    <a:gd name="connsiteY309" fmla="*/ 99197 h 1016771"/>
                    <a:gd name="connsiteX310" fmla="*/ 460558 w 761692"/>
                    <a:gd name="connsiteY310" fmla="*/ 97426 h 1016771"/>
                    <a:gd name="connsiteX311" fmla="*/ 472958 w 761692"/>
                    <a:gd name="connsiteY311" fmla="*/ 93883 h 1016771"/>
                    <a:gd name="connsiteX312" fmla="*/ 492443 w 761692"/>
                    <a:gd name="connsiteY312" fmla="*/ 93883 h 1016771"/>
                    <a:gd name="connsiteX313" fmla="*/ 501300 w 761692"/>
                    <a:gd name="connsiteY313" fmla="*/ 83255 h 1016771"/>
                    <a:gd name="connsiteX314" fmla="*/ 517242 w 761692"/>
                    <a:gd name="connsiteY314" fmla="*/ 81484 h 1016771"/>
                    <a:gd name="connsiteX315" fmla="*/ 522556 w 761692"/>
                    <a:gd name="connsiteY315" fmla="*/ 81484 h 1016771"/>
                    <a:gd name="connsiteX316" fmla="*/ 522556 w 761692"/>
                    <a:gd name="connsiteY316" fmla="*/ 60227 h 1016771"/>
                    <a:gd name="connsiteX317" fmla="*/ 526099 w 761692"/>
                    <a:gd name="connsiteY317" fmla="*/ 54913 h 1016771"/>
                    <a:gd name="connsiteX318" fmla="*/ 529642 w 761692"/>
                    <a:gd name="connsiteY318" fmla="*/ 46056 h 1016771"/>
                    <a:gd name="connsiteX319" fmla="*/ 538499 w 761692"/>
                    <a:gd name="connsiteY319" fmla="*/ 40742 h 1016771"/>
                    <a:gd name="connsiteX320" fmla="*/ 540270 w 761692"/>
                    <a:gd name="connsiteY320" fmla="*/ 30114 h 1016771"/>
                    <a:gd name="connsiteX321" fmla="*/ 536727 w 761692"/>
                    <a:gd name="connsiteY321" fmla="*/ 19485 h 1016771"/>
                    <a:gd name="connsiteX322" fmla="*/ 543813 w 761692"/>
                    <a:gd name="connsiteY322" fmla="*/ 5314 h 1016771"/>
                    <a:gd name="connsiteX323" fmla="*/ 554441 w 761692"/>
                    <a:gd name="connsiteY323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9645 w 761692"/>
                    <a:gd name="connsiteY9" fmla="*/ 860925 h 1016771"/>
                    <a:gd name="connsiteX10" fmla="*/ 148122 w 761692"/>
                    <a:gd name="connsiteY10" fmla="*/ 867707 h 1016771"/>
                    <a:gd name="connsiteX11" fmla="*/ 158294 w 761692"/>
                    <a:gd name="connsiteY11" fmla="*/ 879574 h 1016771"/>
                    <a:gd name="connsiteX12" fmla="*/ 175247 w 761692"/>
                    <a:gd name="connsiteY12" fmla="*/ 889746 h 1016771"/>
                    <a:gd name="connsiteX13" fmla="*/ 188810 w 761692"/>
                    <a:gd name="connsiteY13" fmla="*/ 893137 h 1016771"/>
                    <a:gd name="connsiteX14" fmla="*/ 195591 w 761692"/>
                    <a:gd name="connsiteY14" fmla="*/ 893137 h 1016771"/>
                    <a:gd name="connsiteX15" fmla="*/ 202372 w 761692"/>
                    <a:gd name="connsiteY15" fmla="*/ 886355 h 1016771"/>
                    <a:gd name="connsiteX16" fmla="*/ 200677 w 761692"/>
                    <a:gd name="connsiteY16" fmla="*/ 877879 h 1016771"/>
                    <a:gd name="connsiteX17" fmla="*/ 209154 w 761692"/>
                    <a:gd name="connsiteY17" fmla="*/ 874488 h 1016771"/>
                    <a:gd name="connsiteX18" fmla="*/ 201937 w 761692"/>
                    <a:gd name="connsiteY18" fmla="*/ 878604 h 1016771"/>
                    <a:gd name="connsiteX19" fmla="*/ 203708 w 761692"/>
                    <a:gd name="connsiteY19" fmla="*/ 887461 h 1016771"/>
                    <a:gd name="connsiteX20" fmla="*/ 189537 w 761692"/>
                    <a:gd name="connsiteY20" fmla="*/ 894546 h 1016771"/>
                    <a:gd name="connsiteX21" fmla="*/ 175366 w 761692"/>
                    <a:gd name="connsiteY21" fmla="*/ 891003 h 1016771"/>
                    <a:gd name="connsiteX22" fmla="*/ 157653 w 761692"/>
                    <a:gd name="connsiteY22" fmla="*/ 880375 h 1016771"/>
                    <a:gd name="connsiteX23" fmla="*/ 147024 w 761692"/>
                    <a:gd name="connsiteY23" fmla="*/ 867975 h 1016771"/>
                    <a:gd name="connsiteX24" fmla="*/ 138167 w 761692"/>
                    <a:gd name="connsiteY24" fmla="*/ 860890 h 1016771"/>
                    <a:gd name="connsiteX25" fmla="*/ 138167 w 761692"/>
                    <a:gd name="connsiteY25" fmla="*/ 852033 h 1016771"/>
                    <a:gd name="connsiteX26" fmla="*/ 139939 w 761692"/>
                    <a:gd name="connsiteY26" fmla="*/ 850262 h 1016771"/>
                    <a:gd name="connsiteX27" fmla="*/ 139939 w 761692"/>
                    <a:gd name="connsiteY27" fmla="*/ 848490 h 1016771"/>
                    <a:gd name="connsiteX28" fmla="*/ 145253 w 761692"/>
                    <a:gd name="connsiteY28" fmla="*/ 843176 h 1016771"/>
                    <a:gd name="connsiteX29" fmla="*/ 147024 w 761692"/>
                    <a:gd name="connsiteY29" fmla="*/ 841405 h 1016771"/>
                    <a:gd name="connsiteX30" fmla="*/ 148796 w 761692"/>
                    <a:gd name="connsiteY30" fmla="*/ 839633 h 1016771"/>
                    <a:gd name="connsiteX31" fmla="*/ 150567 w 761692"/>
                    <a:gd name="connsiteY31" fmla="*/ 837862 h 1016771"/>
                    <a:gd name="connsiteX32" fmla="*/ 159250 w 761692"/>
                    <a:gd name="connsiteY32" fmla="*/ 829179 h 1016771"/>
                    <a:gd name="connsiteX33" fmla="*/ 116476 w 761692"/>
                    <a:gd name="connsiteY33" fmla="*/ 741349 h 1016771"/>
                    <a:gd name="connsiteX34" fmla="*/ 117606 w 761692"/>
                    <a:gd name="connsiteY34" fmla="*/ 742253 h 1016771"/>
                    <a:gd name="connsiteX35" fmla="*/ 122692 w 761692"/>
                    <a:gd name="connsiteY35" fmla="*/ 759206 h 1016771"/>
                    <a:gd name="connsiteX36" fmla="*/ 126082 w 761692"/>
                    <a:gd name="connsiteY36" fmla="*/ 771073 h 1016771"/>
                    <a:gd name="connsiteX37" fmla="*/ 129473 w 761692"/>
                    <a:gd name="connsiteY37" fmla="*/ 782940 h 1016771"/>
                    <a:gd name="connsiteX38" fmla="*/ 132864 w 761692"/>
                    <a:gd name="connsiteY38" fmla="*/ 793112 h 1016771"/>
                    <a:gd name="connsiteX39" fmla="*/ 136254 w 761692"/>
                    <a:gd name="connsiteY39" fmla="*/ 810066 h 1016771"/>
                    <a:gd name="connsiteX40" fmla="*/ 139058 w 761692"/>
                    <a:gd name="connsiteY40" fmla="*/ 818476 h 1016771"/>
                    <a:gd name="connsiteX41" fmla="*/ 138167 w 761692"/>
                    <a:gd name="connsiteY41" fmla="*/ 818377 h 1016771"/>
                    <a:gd name="connsiteX42" fmla="*/ 134625 w 761692"/>
                    <a:gd name="connsiteY42" fmla="*/ 807749 h 1016771"/>
                    <a:gd name="connsiteX43" fmla="*/ 131082 w 761692"/>
                    <a:gd name="connsiteY43" fmla="*/ 790035 h 1016771"/>
                    <a:gd name="connsiteX44" fmla="*/ 127539 w 761692"/>
                    <a:gd name="connsiteY44" fmla="*/ 779407 h 1016771"/>
                    <a:gd name="connsiteX45" fmla="*/ 123996 w 761692"/>
                    <a:gd name="connsiteY45" fmla="*/ 767007 h 1016771"/>
                    <a:gd name="connsiteX46" fmla="*/ 120454 w 761692"/>
                    <a:gd name="connsiteY46" fmla="*/ 754607 h 1016771"/>
                    <a:gd name="connsiteX47" fmla="*/ 116476 w 761692"/>
                    <a:gd name="connsiteY47" fmla="*/ 741349 h 1016771"/>
                    <a:gd name="connsiteX48" fmla="*/ 554441 w 761692"/>
                    <a:gd name="connsiteY48" fmla="*/ 0 h 1016771"/>
                    <a:gd name="connsiteX49" fmla="*/ 570383 w 761692"/>
                    <a:gd name="connsiteY49" fmla="*/ 3543 h 1016771"/>
                    <a:gd name="connsiteX50" fmla="*/ 577469 w 761692"/>
                    <a:gd name="connsiteY50" fmla="*/ 8857 h 1016771"/>
                    <a:gd name="connsiteX51" fmla="*/ 582783 w 761692"/>
                    <a:gd name="connsiteY51" fmla="*/ 17714 h 1016771"/>
                    <a:gd name="connsiteX52" fmla="*/ 582783 w 761692"/>
                    <a:gd name="connsiteY52" fmla="*/ 24799 h 1016771"/>
                    <a:gd name="connsiteX53" fmla="*/ 588097 w 761692"/>
                    <a:gd name="connsiteY53" fmla="*/ 33656 h 1016771"/>
                    <a:gd name="connsiteX54" fmla="*/ 598725 w 761692"/>
                    <a:gd name="connsiteY54" fmla="*/ 31885 h 1016771"/>
                    <a:gd name="connsiteX55" fmla="*/ 612896 w 761692"/>
                    <a:gd name="connsiteY55" fmla="*/ 37199 h 1016771"/>
                    <a:gd name="connsiteX56" fmla="*/ 618211 w 761692"/>
                    <a:gd name="connsiteY56" fmla="*/ 46056 h 1016771"/>
                    <a:gd name="connsiteX57" fmla="*/ 619982 w 761692"/>
                    <a:gd name="connsiteY57" fmla="*/ 54913 h 1016771"/>
                    <a:gd name="connsiteX58" fmla="*/ 618211 w 761692"/>
                    <a:gd name="connsiteY58" fmla="*/ 74398 h 1016771"/>
                    <a:gd name="connsiteX59" fmla="*/ 616439 w 761692"/>
                    <a:gd name="connsiteY59" fmla="*/ 85026 h 1016771"/>
                    <a:gd name="connsiteX60" fmla="*/ 621753 w 761692"/>
                    <a:gd name="connsiteY60" fmla="*/ 97426 h 1016771"/>
                    <a:gd name="connsiteX61" fmla="*/ 637696 w 761692"/>
                    <a:gd name="connsiteY61" fmla="*/ 113368 h 1016771"/>
                    <a:gd name="connsiteX62" fmla="*/ 644781 w 761692"/>
                    <a:gd name="connsiteY62" fmla="*/ 120454 h 1016771"/>
                    <a:gd name="connsiteX63" fmla="*/ 650095 w 761692"/>
                    <a:gd name="connsiteY63" fmla="*/ 136396 h 1016771"/>
                    <a:gd name="connsiteX64" fmla="*/ 655409 w 761692"/>
                    <a:gd name="connsiteY64" fmla="*/ 155881 h 1016771"/>
                    <a:gd name="connsiteX65" fmla="*/ 662495 w 761692"/>
                    <a:gd name="connsiteY65" fmla="*/ 171824 h 1016771"/>
                    <a:gd name="connsiteX66" fmla="*/ 660724 w 761692"/>
                    <a:gd name="connsiteY66" fmla="*/ 185995 h 1016771"/>
                    <a:gd name="connsiteX67" fmla="*/ 635924 w 761692"/>
                    <a:gd name="connsiteY67" fmla="*/ 194852 h 1016771"/>
                    <a:gd name="connsiteX68" fmla="*/ 619982 w 761692"/>
                    <a:gd name="connsiteY68" fmla="*/ 207251 h 1016771"/>
                    <a:gd name="connsiteX69" fmla="*/ 614668 w 761692"/>
                    <a:gd name="connsiteY69" fmla="*/ 223194 h 1016771"/>
                    <a:gd name="connsiteX70" fmla="*/ 618211 w 761692"/>
                    <a:gd name="connsiteY70" fmla="*/ 242679 h 1016771"/>
                    <a:gd name="connsiteX71" fmla="*/ 612896 w 761692"/>
                    <a:gd name="connsiteY71" fmla="*/ 256850 h 1016771"/>
                    <a:gd name="connsiteX72" fmla="*/ 625296 w 761692"/>
                    <a:gd name="connsiteY72" fmla="*/ 267478 h 1016771"/>
                    <a:gd name="connsiteX73" fmla="*/ 641238 w 761692"/>
                    <a:gd name="connsiteY73" fmla="*/ 269250 h 1016771"/>
                    <a:gd name="connsiteX74" fmla="*/ 658952 w 761692"/>
                    <a:gd name="connsiteY74" fmla="*/ 286963 h 1016771"/>
                    <a:gd name="connsiteX75" fmla="*/ 653638 w 761692"/>
                    <a:gd name="connsiteY75" fmla="*/ 309991 h 1016771"/>
                    <a:gd name="connsiteX76" fmla="*/ 653638 w 761692"/>
                    <a:gd name="connsiteY76" fmla="*/ 329476 h 1016771"/>
                    <a:gd name="connsiteX77" fmla="*/ 643010 w 761692"/>
                    <a:gd name="connsiteY77" fmla="*/ 338333 h 1016771"/>
                    <a:gd name="connsiteX78" fmla="*/ 632382 w 761692"/>
                    <a:gd name="connsiteY78" fmla="*/ 338333 h 1016771"/>
                    <a:gd name="connsiteX79" fmla="*/ 618211 w 761692"/>
                    <a:gd name="connsiteY79" fmla="*/ 357819 h 1016771"/>
                    <a:gd name="connsiteX80" fmla="*/ 609354 w 761692"/>
                    <a:gd name="connsiteY80" fmla="*/ 361361 h 1016771"/>
                    <a:gd name="connsiteX81" fmla="*/ 596954 w 761692"/>
                    <a:gd name="connsiteY81" fmla="*/ 363133 h 1016771"/>
                    <a:gd name="connsiteX82" fmla="*/ 581012 w 761692"/>
                    <a:gd name="connsiteY82" fmla="*/ 379075 h 1016771"/>
                    <a:gd name="connsiteX83" fmla="*/ 589868 w 761692"/>
                    <a:gd name="connsiteY83" fmla="*/ 393246 h 1016771"/>
                    <a:gd name="connsiteX84" fmla="*/ 586326 w 761692"/>
                    <a:gd name="connsiteY84" fmla="*/ 409189 h 1016771"/>
                    <a:gd name="connsiteX85" fmla="*/ 570383 w 761692"/>
                    <a:gd name="connsiteY85" fmla="*/ 398560 h 1016771"/>
                    <a:gd name="connsiteX86" fmla="*/ 550898 w 761692"/>
                    <a:gd name="connsiteY86" fmla="*/ 405646 h 1016771"/>
                    <a:gd name="connsiteX87" fmla="*/ 531413 w 761692"/>
                    <a:gd name="connsiteY87" fmla="*/ 425131 h 1016771"/>
                    <a:gd name="connsiteX88" fmla="*/ 543813 w 761692"/>
                    <a:gd name="connsiteY88" fmla="*/ 444616 h 1016771"/>
                    <a:gd name="connsiteX89" fmla="*/ 557984 w 761692"/>
                    <a:gd name="connsiteY89" fmla="*/ 462330 h 1016771"/>
                    <a:gd name="connsiteX90" fmla="*/ 570383 w 761692"/>
                    <a:gd name="connsiteY90" fmla="*/ 478272 h 1016771"/>
                    <a:gd name="connsiteX91" fmla="*/ 579240 w 761692"/>
                    <a:gd name="connsiteY91" fmla="*/ 485358 h 1016771"/>
                    <a:gd name="connsiteX92" fmla="*/ 602268 w 761692"/>
                    <a:gd name="connsiteY92" fmla="*/ 483586 h 1016771"/>
                    <a:gd name="connsiteX93" fmla="*/ 623525 w 761692"/>
                    <a:gd name="connsiteY93" fmla="*/ 474730 h 1016771"/>
                    <a:gd name="connsiteX94" fmla="*/ 639467 w 761692"/>
                    <a:gd name="connsiteY94" fmla="*/ 464101 h 1016771"/>
                    <a:gd name="connsiteX95" fmla="*/ 662495 w 761692"/>
                    <a:gd name="connsiteY95" fmla="*/ 464101 h 1016771"/>
                    <a:gd name="connsiteX96" fmla="*/ 673123 w 761692"/>
                    <a:gd name="connsiteY96" fmla="*/ 464101 h 1016771"/>
                    <a:gd name="connsiteX97" fmla="*/ 681980 w 761692"/>
                    <a:gd name="connsiteY97" fmla="*/ 467644 h 1016771"/>
                    <a:gd name="connsiteX98" fmla="*/ 703237 w 761692"/>
                    <a:gd name="connsiteY98" fmla="*/ 471187 h 1016771"/>
                    <a:gd name="connsiteX99" fmla="*/ 708551 w 761692"/>
                    <a:gd name="connsiteY99" fmla="*/ 474730 h 1016771"/>
                    <a:gd name="connsiteX100" fmla="*/ 722722 w 761692"/>
                    <a:gd name="connsiteY100" fmla="*/ 501300 h 1016771"/>
                    <a:gd name="connsiteX101" fmla="*/ 724493 w 761692"/>
                    <a:gd name="connsiteY101" fmla="*/ 522557 h 1016771"/>
                    <a:gd name="connsiteX102" fmla="*/ 722722 w 761692"/>
                    <a:gd name="connsiteY102" fmla="*/ 540271 h 1016771"/>
                    <a:gd name="connsiteX103" fmla="*/ 735121 w 761692"/>
                    <a:gd name="connsiteY103" fmla="*/ 552670 h 1016771"/>
                    <a:gd name="connsiteX104" fmla="*/ 735121 w 761692"/>
                    <a:gd name="connsiteY104" fmla="*/ 570384 h 1016771"/>
                    <a:gd name="connsiteX105" fmla="*/ 751064 w 761692"/>
                    <a:gd name="connsiteY105" fmla="*/ 581012 h 1016771"/>
                    <a:gd name="connsiteX106" fmla="*/ 761692 w 761692"/>
                    <a:gd name="connsiteY106" fmla="*/ 604040 h 1016771"/>
                    <a:gd name="connsiteX107" fmla="*/ 747521 w 761692"/>
                    <a:gd name="connsiteY107" fmla="*/ 616440 h 1016771"/>
                    <a:gd name="connsiteX108" fmla="*/ 728036 w 761692"/>
                    <a:gd name="connsiteY108" fmla="*/ 627068 h 1016771"/>
                    <a:gd name="connsiteX109" fmla="*/ 726264 w 761692"/>
                    <a:gd name="connsiteY109" fmla="*/ 650096 h 1016771"/>
                    <a:gd name="connsiteX110" fmla="*/ 728036 w 761692"/>
                    <a:gd name="connsiteY110" fmla="*/ 673124 h 1016771"/>
                    <a:gd name="connsiteX111" fmla="*/ 742207 w 761692"/>
                    <a:gd name="connsiteY111" fmla="*/ 689066 h 1016771"/>
                    <a:gd name="connsiteX112" fmla="*/ 742207 w 761692"/>
                    <a:gd name="connsiteY112" fmla="*/ 712094 h 1016771"/>
                    <a:gd name="connsiteX113" fmla="*/ 740435 w 761692"/>
                    <a:gd name="connsiteY113" fmla="*/ 735122 h 1016771"/>
                    <a:gd name="connsiteX114" fmla="*/ 742207 w 761692"/>
                    <a:gd name="connsiteY114" fmla="*/ 751065 h 1016771"/>
                    <a:gd name="connsiteX115" fmla="*/ 747521 w 761692"/>
                    <a:gd name="connsiteY115" fmla="*/ 768778 h 1016771"/>
                    <a:gd name="connsiteX116" fmla="*/ 759921 w 761692"/>
                    <a:gd name="connsiteY116" fmla="*/ 777635 h 1016771"/>
                    <a:gd name="connsiteX117" fmla="*/ 758149 w 761692"/>
                    <a:gd name="connsiteY117" fmla="*/ 802434 h 1016771"/>
                    <a:gd name="connsiteX118" fmla="*/ 752835 w 761692"/>
                    <a:gd name="connsiteY118" fmla="*/ 814834 h 1016771"/>
                    <a:gd name="connsiteX119" fmla="*/ 743978 w 761692"/>
                    <a:gd name="connsiteY119" fmla="*/ 827234 h 1016771"/>
                    <a:gd name="connsiteX120" fmla="*/ 743978 w 761692"/>
                    <a:gd name="connsiteY120" fmla="*/ 837862 h 1016771"/>
                    <a:gd name="connsiteX121" fmla="*/ 747521 w 761692"/>
                    <a:gd name="connsiteY121" fmla="*/ 853804 h 1016771"/>
                    <a:gd name="connsiteX122" fmla="*/ 733350 w 761692"/>
                    <a:gd name="connsiteY122" fmla="*/ 867975 h 1016771"/>
                    <a:gd name="connsiteX123" fmla="*/ 724493 w 761692"/>
                    <a:gd name="connsiteY123" fmla="*/ 880375 h 1016771"/>
                    <a:gd name="connsiteX124" fmla="*/ 722722 w 761692"/>
                    <a:gd name="connsiteY124" fmla="*/ 899860 h 1016771"/>
                    <a:gd name="connsiteX125" fmla="*/ 722722 w 761692"/>
                    <a:gd name="connsiteY125" fmla="*/ 919345 h 1016771"/>
                    <a:gd name="connsiteX126" fmla="*/ 715636 w 761692"/>
                    <a:gd name="connsiteY126" fmla="*/ 940602 h 1016771"/>
                    <a:gd name="connsiteX127" fmla="*/ 708551 w 761692"/>
                    <a:gd name="connsiteY127" fmla="*/ 954773 h 1016771"/>
                    <a:gd name="connsiteX128" fmla="*/ 699694 w 761692"/>
                    <a:gd name="connsiteY128" fmla="*/ 965401 h 1016771"/>
                    <a:gd name="connsiteX129" fmla="*/ 692608 w 761692"/>
                    <a:gd name="connsiteY129" fmla="*/ 984886 h 1016771"/>
                    <a:gd name="connsiteX130" fmla="*/ 683751 w 761692"/>
                    <a:gd name="connsiteY130" fmla="*/ 997286 h 1016771"/>
                    <a:gd name="connsiteX131" fmla="*/ 673123 w 761692"/>
                    <a:gd name="connsiteY131" fmla="*/ 1002600 h 1016771"/>
                    <a:gd name="connsiteX132" fmla="*/ 662495 w 761692"/>
                    <a:gd name="connsiteY132" fmla="*/ 1013228 h 1016771"/>
                    <a:gd name="connsiteX133" fmla="*/ 644781 w 761692"/>
                    <a:gd name="connsiteY133" fmla="*/ 1016771 h 1016771"/>
                    <a:gd name="connsiteX134" fmla="*/ 635924 w 761692"/>
                    <a:gd name="connsiteY134" fmla="*/ 1004372 h 1016771"/>
                    <a:gd name="connsiteX135" fmla="*/ 623525 w 761692"/>
                    <a:gd name="connsiteY135" fmla="*/ 997286 h 1016771"/>
                    <a:gd name="connsiteX136" fmla="*/ 614668 w 761692"/>
                    <a:gd name="connsiteY136" fmla="*/ 986658 h 1016771"/>
                    <a:gd name="connsiteX137" fmla="*/ 593411 w 761692"/>
                    <a:gd name="connsiteY137" fmla="*/ 970715 h 1016771"/>
                    <a:gd name="connsiteX138" fmla="*/ 582783 w 761692"/>
                    <a:gd name="connsiteY138" fmla="*/ 965401 h 1016771"/>
                    <a:gd name="connsiteX139" fmla="*/ 531413 w 761692"/>
                    <a:gd name="connsiteY139" fmla="*/ 965401 h 1016771"/>
                    <a:gd name="connsiteX140" fmla="*/ 511928 w 761692"/>
                    <a:gd name="connsiteY140" fmla="*/ 965401 h 1016771"/>
                    <a:gd name="connsiteX141" fmla="*/ 492443 w 761692"/>
                    <a:gd name="connsiteY141" fmla="*/ 963630 h 1016771"/>
                    <a:gd name="connsiteX142" fmla="*/ 483586 w 761692"/>
                    <a:gd name="connsiteY142" fmla="*/ 958316 h 1016771"/>
                    <a:gd name="connsiteX143" fmla="*/ 469415 w 761692"/>
                    <a:gd name="connsiteY143" fmla="*/ 954773 h 1016771"/>
                    <a:gd name="connsiteX144" fmla="*/ 460558 w 761692"/>
                    <a:gd name="connsiteY144" fmla="*/ 942373 h 1016771"/>
                    <a:gd name="connsiteX145" fmla="*/ 446387 w 761692"/>
                    <a:gd name="connsiteY145" fmla="*/ 935288 h 1016771"/>
                    <a:gd name="connsiteX146" fmla="*/ 428673 w 761692"/>
                    <a:gd name="connsiteY146" fmla="*/ 928202 h 1016771"/>
                    <a:gd name="connsiteX147" fmla="*/ 418045 w 761692"/>
                    <a:gd name="connsiteY147" fmla="*/ 917574 h 1016771"/>
                    <a:gd name="connsiteX148" fmla="*/ 421588 w 761692"/>
                    <a:gd name="connsiteY148" fmla="*/ 903403 h 1016771"/>
                    <a:gd name="connsiteX149" fmla="*/ 418045 w 761692"/>
                    <a:gd name="connsiteY149" fmla="*/ 898089 h 1016771"/>
                    <a:gd name="connsiteX150" fmla="*/ 396788 w 761692"/>
                    <a:gd name="connsiteY150" fmla="*/ 898089 h 1016771"/>
                    <a:gd name="connsiteX151" fmla="*/ 382617 w 761692"/>
                    <a:gd name="connsiteY151" fmla="*/ 896318 h 1016771"/>
                    <a:gd name="connsiteX152" fmla="*/ 380846 w 761692"/>
                    <a:gd name="connsiteY152" fmla="*/ 906946 h 1016771"/>
                    <a:gd name="connsiteX153" fmla="*/ 373601 w 761692"/>
                    <a:gd name="connsiteY153" fmla="*/ 894832 h 1016771"/>
                    <a:gd name="connsiteX154" fmla="*/ 387164 w 761692"/>
                    <a:gd name="connsiteY154" fmla="*/ 896527 h 1016771"/>
                    <a:gd name="connsiteX155" fmla="*/ 383773 w 761692"/>
                    <a:gd name="connsiteY155" fmla="*/ 886355 h 1016771"/>
                    <a:gd name="connsiteX156" fmla="*/ 387164 w 761692"/>
                    <a:gd name="connsiteY156" fmla="*/ 876183 h 1016771"/>
                    <a:gd name="connsiteX157" fmla="*/ 388859 w 761692"/>
                    <a:gd name="connsiteY157" fmla="*/ 867707 h 1016771"/>
                    <a:gd name="connsiteX158" fmla="*/ 380382 w 761692"/>
                    <a:gd name="connsiteY158" fmla="*/ 859230 h 1016771"/>
                    <a:gd name="connsiteX159" fmla="*/ 373601 w 761692"/>
                    <a:gd name="connsiteY159" fmla="*/ 849058 h 1016771"/>
                    <a:gd name="connsiteX160" fmla="*/ 380382 w 761692"/>
                    <a:gd name="connsiteY160" fmla="*/ 838886 h 1016771"/>
                    <a:gd name="connsiteX161" fmla="*/ 383773 w 761692"/>
                    <a:gd name="connsiteY161" fmla="*/ 833800 h 1016771"/>
                    <a:gd name="connsiteX162" fmla="*/ 388859 w 761692"/>
                    <a:gd name="connsiteY162" fmla="*/ 825324 h 1016771"/>
                    <a:gd name="connsiteX163" fmla="*/ 387164 w 761692"/>
                    <a:gd name="connsiteY163" fmla="*/ 810066 h 1016771"/>
                    <a:gd name="connsiteX164" fmla="*/ 387164 w 761692"/>
                    <a:gd name="connsiteY164" fmla="*/ 796503 h 1016771"/>
                    <a:gd name="connsiteX165" fmla="*/ 378687 w 761692"/>
                    <a:gd name="connsiteY165" fmla="*/ 789722 h 1016771"/>
                    <a:gd name="connsiteX166" fmla="*/ 366820 w 761692"/>
                    <a:gd name="connsiteY166" fmla="*/ 782940 h 1016771"/>
                    <a:gd name="connsiteX167" fmla="*/ 356648 w 761692"/>
                    <a:gd name="connsiteY167" fmla="*/ 781245 h 1016771"/>
                    <a:gd name="connsiteX168" fmla="*/ 349866 w 761692"/>
                    <a:gd name="connsiteY168" fmla="*/ 771073 h 1016771"/>
                    <a:gd name="connsiteX169" fmla="*/ 349866 w 761692"/>
                    <a:gd name="connsiteY169" fmla="*/ 752425 h 1016771"/>
                    <a:gd name="connsiteX170" fmla="*/ 353257 w 761692"/>
                    <a:gd name="connsiteY170" fmla="*/ 743948 h 1016771"/>
                    <a:gd name="connsiteX171" fmla="*/ 354952 w 761692"/>
                    <a:gd name="connsiteY171" fmla="*/ 730385 h 1016771"/>
                    <a:gd name="connsiteX172" fmla="*/ 353257 w 761692"/>
                    <a:gd name="connsiteY172" fmla="*/ 713432 h 1016771"/>
                    <a:gd name="connsiteX173" fmla="*/ 346476 w 761692"/>
                    <a:gd name="connsiteY173" fmla="*/ 701565 h 1016771"/>
                    <a:gd name="connsiteX174" fmla="*/ 332913 w 761692"/>
                    <a:gd name="connsiteY174" fmla="*/ 689697 h 1016771"/>
                    <a:gd name="connsiteX175" fmla="*/ 324436 w 761692"/>
                    <a:gd name="connsiteY175" fmla="*/ 681221 h 1016771"/>
                    <a:gd name="connsiteX176" fmla="*/ 314264 w 761692"/>
                    <a:gd name="connsiteY176" fmla="*/ 676135 h 1016771"/>
                    <a:gd name="connsiteX177" fmla="*/ 293920 w 761692"/>
                    <a:gd name="connsiteY177" fmla="*/ 669354 h 1016771"/>
                    <a:gd name="connsiteX178" fmla="*/ 282053 w 761692"/>
                    <a:gd name="connsiteY178" fmla="*/ 667658 h 1016771"/>
                    <a:gd name="connsiteX179" fmla="*/ 266795 w 761692"/>
                    <a:gd name="connsiteY179" fmla="*/ 672744 h 1016771"/>
                    <a:gd name="connsiteX180" fmla="*/ 265100 w 761692"/>
                    <a:gd name="connsiteY180" fmla="*/ 672744 h 1016771"/>
                    <a:gd name="connsiteX181" fmla="*/ 263404 w 761692"/>
                    <a:gd name="connsiteY181" fmla="*/ 671049 h 1016771"/>
                    <a:gd name="connsiteX182" fmla="*/ 260014 w 761692"/>
                    <a:gd name="connsiteY182" fmla="*/ 671049 h 1016771"/>
                    <a:gd name="connsiteX183" fmla="*/ 258318 w 761692"/>
                    <a:gd name="connsiteY183" fmla="*/ 671049 h 1016771"/>
                    <a:gd name="connsiteX184" fmla="*/ 253232 w 761692"/>
                    <a:gd name="connsiteY184" fmla="*/ 671049 h 1016771"/>
                    <a:gd name="connsiteX185" fmla="*/ 248146 w 761692"/>
                    <a:gd name="connsiteY185" fmla="*/ 672744 h 1016771"/>
                    <a:gd name="connsiteX186" fmla="*/ 248146 w 761692"/>
                    <a:gd name="connsiteY186" fmla="*/ 674440 h 1016771"/>
                    <a:gd name="connsiteX187" fmla="*/ 246451 w 761692"/>
                    <a:gd name="connsiteY187" fmla="*/ 674440 h 1016771"/>
                    <a:gd name="connsiteX188" fmla="*/ 236279 w 761692"/>
                    <a:gd name="connsiteY188" fmla="*/ 679526 h 1016771"/>
                    <a:gd name="connsiteX189" fmla="*/ 226107 w 761692"/>
                    <a:gd name="connsiteY189" fmla="*/ 684612 h 1016771"/>
                    <a:gd name="connsiteX190" fmla="*/ 217630 w 761692"/>
                    <a:gd name="connsiteY190" fmla="*/ 684612 h 1016771"/>
                    <a:gd name="connsiteX191" fmla="*/ 207458 w 761692"/>
                    <a:gd name="connsiteY191" fmla="*/ 693088 h 1016771"/>
                    <a:gd name="connsiteX192" fmla="*/ 198982 w 761692"/>
                    <a:gd name="connsiteY192" fmla="*/ 694783 h 1016771"/>
                    <a:gd name="connsiteX193" fmla="*/ 192200 w 761692"/>
                    <a:gd name="connsiteY193" fmla="*/ 699869 h 1016771"/>
                    <a:gd name="connsiteX194" fmla="*/ 178638 w 761692"/>
                    <a:gd name="connsiteY194" fmla="*/ 706651 h 1016771"/>
                    <a:gd name="connsiteX195" fmla="*/ 163380 w 761692"/>
                    <a:gd name="connsiteY195" fmla="*/ 710041 h 1016771"/>
                    <a:gd name="connsiteX196" fmla="*/ 141340 w 761692"/>
                    <a:gd name="connsiteY196" fmla="*/ 710041 h 1016771"/>
                    <a:gd name="connsiteX197" fmla="*/ 134559 w 761692"/>
                    <a:gd name="connsiteY197" fmla="*/ 716823 h 1016771"/>
                    <a:gd name="connsiteX198" fmla="*/ 127778 w 761692"/>
                    <a:gd name="connsiteY198" fmla="*/ 718518 h 1016771"/>
                    <a:gd name="connsiteX199" fmla="*/ 120996 w 761692"/>
                    <a:gd name="connsiteY199" fmla="*/ 725299 h 1016771"/>
                    <a:gd name="connsiteX200" fmla="*/ 111172 w 761692"/>
                    <a:gd name="connsiteY200" fmla="*/ 733720 h 1016771"/>
                    <a:gd name="connsiteX201" fmla="*/ 106283 w 761692"/>
                    <a:gd name="connsiteY201" fmla="*/ 729808 h 1016771"/>
                    <a:gd name="connsiteX202" fmla="*/ 92112 w 761692"/>
                    <a:gd name="connsiteY202" fmla="*/ 724494 h 1016771"/>
                    <a:gd name="connsiteX203" fmla="*/ 77941 w 761692"/>
                    <a:gd name="connsiteY203" fmla="*/ 726265 h 1016771"/>
                    <a:gd name="connsiteX204" fmla="*/ 70855 w 761692"/>
                    <a:gd name="connsiteY204" fmla="*/ 719180 h 1016771"/>
                    <a:gd name="connsiteX205" fmla="*/ 70855 w 761692"/>
                    <a:gd name="connsiteY205" fmla="*/ 699695 h 1016771"/>
                    <a:gd name="connsiteX206" fmla="*/ 81483 w 761692"/>
                    <a:gd name="connsiteY206" fmla="*/ 685524 h 1016771"/>
                    <a:gd name="connsiteX207" fmla="*/ 85026 w 761692"/>
                    <a:gd name="connsiteY207" fmla="*/ 673124 h 1016771"/>
                    <a:gd name="connsiteX208" fmla="*/ 86797 w 761692"/>
                    <a:gd name="connsiteY208" fmla="*/ 660724 h 1016771"/>
                    <a:gd name="connsiteX209" fmla="*/ 97426 w 761692"/>
                    <a:gd name="connsiteY209" fmla="*/ 650096 h 1016771"/>
                    <a:gd name="connsiteX210" fmla="*/ 102740 w 761692"/>
                    <a:gd name="connsiteY210" fmla="*/ 635925 h 1016771"/>
                    <a:gd name="connsiteX211" fmla="*/ 113368 w 761692"/>
                    <a:gd name="connsiteY211" fmla="*/ 625297 h 1016771"/>
                    <a:gd name="connsiteX212" fmla="*/ 115139 w 761692"/>
                    <a:gd name="connsiteY212" fmla="*/ 612897 h 1016771"/>
                    <a:gd name="connsiteX213" fmla="*/ 127539 w 761692"/>
                    <a:gd name="connsiteY213" fmla="*/ 609354 h 1016771"/>
                    <a:gd name="connsiteX214" fmla="*/ 136396 w 761692"/>
                    <a:gd name="connsiteY214" fmla="*/ 604040 h 1016771"/>
                    <a:gd name="connsiteX215" fmla="*/ 132853 w 761692"/>
                    <a:gd name="connsiteY215" fmla="*/ 593412 h 1016771"/>
                    <a:gd name="connsiteX216" fmla="*/ 134625 w 761692"/>
                    <a:gd name="connsiteY216" fmla="*/ 584555 h 1016771"/>
                    <a:gd name="connsiteX217" fmla="*/ 131082 w 761692"/>
                    <a:gd name="connsiteY217" fmla="*/ 575698 h 1016771"/>
                    <a:gd name="connsiteX218" fmla="*/ 120454 w 761692"/>
                    <a:gd name="connsiteY218" fmla="*/ 568613 h 1016771"/>
                    <a:gd name="connsiteX219" fmla="*/ 125768 w 761692"/>
                    <a:gd name="connsiteY219" fmla="*/ 552670 h 1016771"/>
                    <a:gd name="connsiteX220" fmla="*/ 118682 w 761692"/>
                    <a:gd name="connsiteY220" fmla="*/ 543813 h 1016771"/>
                    <a:gd name="connsiteX221" fmla="*/ 90340 w 761692"/>
                    <a:gd name="connsiteY221" fmla="*/ 543813 h 1016771"/>
                    <a:gd name="connsiteX222" fmla="*/ 86797 w 761692"/>
                    <a:gd name="connsiteY222" fmla="*/ 542042 h 1016771"/>
                    <a:gd name="connsiteX223" fmla="*/ 83255 w 761692"/>
                    <a:gd name="connsiteY223" fmla="*/ 542042 h 1016771"/>
                    <a:gd name="connsiteX224" fmla="*/ 81483 w 761692"/>
                    <a:gd name="connsiteY224" fmla="*/ 540271 h 1016771"/>
                    <a:gd name="connsiteX225" fmla="*/ 81483 w 761692"/>
                    <a:gd name="connsiteY225" fmla="*/ 536728 h 1016771"/>
                    <a:gd name="connsiteX226" fmla="*/ 79712 w 761692"/>
                    <a:gd name="connsiteY226" fmla="*/ 531414 h 1016771"/>
                    <a:gd name="connsiteX227" fmla="*/ 77941 w 761692"/>
                    <a:gd name="connsiteY227" fmla="*/ 529642 h 1016771"/>
                    <a:gd name="connsiteX228" fmla="*/ 70855 w 761692"/>
                    <a:gd name="connsiteY228" fmla="*/ 527871 h 1016771"/>
                    <a:gd name="connsiteX229" fmla="*/ 60227 w 761692"/>
                    <a:gd name="connsiteY229" fmla="*/ 536728 h 1016771"/>
                    <a:gd name="connsiteX230" fmla="*/ 47827 w 761692"/>
                    <a:gd name="connsiteY230" fmla="*/ 526100 h 1016771"/>
                    <a:gd name="connsiteX231" fmla="*/ 42513 w 761692"/>
                    <a:gd name="connsiteY231" fmla="*/ 515471 h 1016771"/>
                    <a:gd name="connsiteX232" fmla="*/ 33656 w 761692"/>
                    <a:gd name="connsiteY232" fmla="*/ 506614 h 1016771"/>
                    <a:gd name="connsiteX233" fmla="*/ 31885 w 761692"/>
                    <a:gd name="connsiteY233" fmla="*/ 490672 h 1016771"/>
                    <a:gd name="connsiteX234" fmla="*/ 26571 w 761692"/>
                    <a:gd name="connsiteY234" fmla="*/ 476501 h 1016771"/>
                    <a:gd name="connsiteX235" fmla="*/ 24799 w 761692"/>
                    <a:gd name="connsiteY235" fmla="*/ 471187 h 1016771"/>
                    <a:gd name="connsiteX236" fmla="*/ 12400 w 761692"/>
                    <a:gd name="connsiteY236" fmla="*/ 472958 h 1016771"/>
                    <a:gd name="connsiteX237" fmla="*/ 7086 w 761692"/>
                    <a:gd name="connsiteY237" fmla="*/ 464101 h 1016771"/>
                    <a:gd name="connsiteX238" fmla="*/ 8857 w 761692"/>
                    <a:gd name="connsiteY238" fmla="*/ 446388 h 1016771"/>
                    <a:gd name="connsiteX239" fmla="*/ 3543 w 761692"/>
                    <a:gd name="connsiteY239" fmla="*/ 435759 h 1016771"/>
                    <a:gd name="connsiteX240" fmla="*/ 5314 w 761692"/>
                    <a:gd name="connsiteY240" fmla="*/ 412731 h 1016771"/>
                    <a:gd name="connsiteX241" fmla="*/ 0 w 761692"/>
                    <a:gd name="connsiteY241" fmla="*/ 396789 h 1016771"/>
                    <a:gd name="connsiteX242" fmla="*/ 3543 w 761692"/>
                    <a:gd name="connsiteY242" fmla="*/ 384389 h 1016771"/>
                    <a:gd name="connsiteX243" fmla="*/ 14171 w 761692"/>
                    <a:gd name="connsiteY243" fmla="*/ 380846 h 1016771"/>
                    <a:gd name="connsiteX244" fmla="*/ 24799 w 761692"/>
                    <a:gd name="connsiteY244" fmla="*/ 364904 h 1016771"/>
                    <a:gd name="connsiteX245" fmla="*/ 30113 w 761692"/>
                    <a:gd name="connsiteY245" fmla="*/ 350733 h 1016771"/>
                    <a:gd name="connsiteX246" fmla="*/ 35428 w 761692"/>
                    <a:gd name="connsiteY246" fmla="*/ 341876 h 1016771"/>
                    <a:gd name="connsiteX247" fmla="*/ 42513 w 761692"/>
                    <a:gd name="connsiteY247" fmla="*/ 327705 h 1016771"/>
                    <a:gd name="connsiteX248" fmla="*/ 42513 w 761692"/>
                    <a:gd name="connsiteY248" fmla="*/ 315305 h 1016771"/>
                    <a:gd name="connsiteX249" fmla="*/ 56684 w 761692"/>
                    <a:gd name="connsiteY249" fmla="*/ 309991 h 1016771"/>
                    <a:gd name="connsiteX250" fmla="*/ 60227 w 761692"/>
                    <a:gd name="connsiteY250" fmla="*/ 309991 h 1016771"/>
                    <a:gd name="connsiteX251" fmla="*/ 61998 w 761692"/>
                    <a:gd name="connsiteY251" fmla="*/ 311763 h 1016771"/>
                    <a:gd name="connsiteX252" fmla="*/ 67312 w 761692"/>
                    <a:gd name="connsiteY252" fmla="*/ 311763 h 1016771"/>
                    <a:gd name="connsiteX253" fmla="*/ 67312 w 761692"/>
                    <a:gd name="connsiteY253" fmla="*/ 309991 h 1016771"/>
                    <a:gd name="connsiteX254" fmla="*/ 67312 w 761692"/>
                    <a:gd name="connsiteY254" fmla="*/ 308220 h 1016771"/>
                    <a:gd name="connsiteX255" fmla="*/ 69084 w 761692"/>
                    <a:gd name="connsiteY255" fmla="*/ 302906 h 1016771"/>
                    <a:gd name="connsiteX256" fmla="*/ 70855 w 761692"/>
                    <a:gd name="connsiteY256" fmla="*/ 301134 h 1016771"/>
                    <a:gd name="connsiteX257" fmla="*/ 70855 w 761692"/>
                    <a:gd name="connsiteY257" fmla="*/ 299363 h 1016771"/>
                    <a:gd name="connsiteX258" fmla="*/ 77941 w 761692"/>
                    <a:gd name="connsiteY258" fmla="*/ 295820 h 1016771"/>
                    <a:gd name="connsiteX259" fmla="*/ 85026 w 761692"/>
                    <a:gd name="connsiteY259" fmla="*/ 295820 h 1016771"/>
                    <a:gd name="connsiteX260" fmla="*/ 93883 w 761692"/>
                    <a:gd name="connsiteY260" fmla="*/ 297592 h 1016771"/>
                    <a:gd name="connsiteX261" fmla="*/ 100968 w 761692"/>
                    <a:gd name="connsiteY261" fmla="*/ 288735 h 1016771"/>
                    <a:gd name="connsiteX262" fmla="*/ 97426 w 761692"/>
                    <a:gd name="connsiteY262" fmla="*/ 279878 h 1016771"/>
                    <a:gd name="connsiteX263" fmla="*/ 85026 w 761692"/>
                    <a:gd name="connsiteY263" fmla="*/ 276335 h 1016771"/>
                    <a:gd name="connsiteX264" fmla="*/ 76169 w 761692"/>
                    <a:gd name="connsiteY264" fmla="*/ 271021 h 1016771"/>
                    <a:gd name="connsiteX265" fmla="*/ 76169 w 761692"/>
                    <a:gd name="connsiteY265" fmla="*/ 262164 h 1016771"/>
                    <a:gd name="connsiteX266" fmla="*/ 81483 w 761692"/>
                    <a:gd name="connsiteY266" fmla="*/ 251536 h 1016771"/>
                    <a:gd name="connsiteX267" fmla="*/ 86797 w 761692"/>
                    <a:gd name="connsiteY267" fmla="*/ 255079 h 1016771"/>
                    <a:gd name="connsiteX268" fmla="*/ 104511 w 761692"/>
                    <a:gd name="connsiteY268" fmla="*/ 262164 h 1016771"/>
                    <a:gd name="connsiteX269" fmla="*/ 116911 w 761692"/>
                    <a:gd name="connsiteY269" fmla="*/ 265707 h 1016771"/>
                    <a:gd name="connsiteX270" fmla="*/ 132853 w 761692"/>
                    <a:gd name="connsiteY270" fmla="*/ 269250 h 1016771"/>
                    <a:gd name="connsiteX271" fmla="*/ 138167 w 761692"/>
                    <a:gd name="connsiteY271" fmla="*/ 265707 h 1016771"/>
                    <a:gd name="connsiteX272" fmla="*/ 150567 w 761692"/>
                    <a:gd name="connsiteY272" fmla="*/ 255079 h 1016771"/>
                    <a:gd name="connsiteX273" fmla="*/ 166509 w 761692"/>
                    <a:gd name="connsiteY273" fmla="*/ 255079 h 1016771"/>
                    <a:gd name="connsiteX274" fmla="*/ 166509 w 761692"/>
                    <a:gd name="connsiteY274" fmla="*/ 265707 h 1016771"/>
                    <a:gd name="connsiteX275" fmla="*/ 177138 w 761692"/>
                    <a:gd name="connsiteY275" fmla="*/ 272792 h 1016771"/>
                    <a:gd name="connsiteX276" fmla="*/ 194851 w 761692"/>
                    <a:gd name="connsiteY276" fmla="*/ 276335 h 1016771"/>
                    <a:gd name="connsiteX277" fmla="*/ 209022 w 761692"/>
                    <a:gd name="connsiteY277" fmla="*/ 279878 h 1016771"/>
                    <a:gd name="connsiteX278" fmla="*/ 221422 w 761692"/>
                    <a:gd name="connsiteY278" fmla="*/ 276335 h 1016771"/>
                    <a:gd name="connsiteX279" fmla="*/ 226736 w 761692"/>
                    <a:gd name="connsiteY279" fmla="*/ 269250 h 1016771"/>
                    <a:gd name="connsiteX280" fmla="*/ 226736 w 761692"/>
                    <a:gd name="connsiteY280" fmla="*/ 251536 h 1016771"/>
                    <a:gd name="connsiteX281" fmla="*/ 224965 w 761692"/>
                    <a:gd name="connsiteY281" fmla="*/ 239136 h 1016771"/>
                    <a:gd name="connsiteX282" fmla="*/ 214337 w 761692"/>
                    <a:gd name="connsiteY282" fmla="*/ 230279 h 1016771"/>
                    <a:gd name="connsiteX283" fmla="*/ 210794 w 761692"/>
                    <a:gd name="connsiteY283" fmla="*/ 217880 h 1016771"/>
                    <a:gd name="connsiteX284" fmla="*/ 221422 w 761692"/>
                    <a:gd name="connsiteY284" fmla="*/ 207251 h 1016771"/>
                    <a:gd name="connsiteX285" fmla="*/ 235593 w 761692"/>
                    <a:gd name="connsiteY285" fmla="*/ 214337 h 1016771"/>
                    <a:gd name="connsiteX286" fmla="*/ 246221 w 761692"/>
                    <a:gd name="connsiteY286" fmla="*/ 219651 h 1016771"/>
                    <a:gd name="connsiteX287" fmla="*/ 253307 w 761692"/>
                    <a:gd name="connsiteY287" fmla="*/ 221422 h 1016771"/>
                    <a:gd name="connsiteX288" fmla="*/ 262164 w 761692"/>
                    <a:gd name="connsiteY288" fmla="*/ 210794 h 1016771"/>
                    <a:gd name="connsiteX289" fmla="*/ 263935 w 761692"/>
                    <a:gd name="connsiteY289" fmla="*/ 201937 h 1016771"/>
                    <a:gd name="connsiteX290" fmla="*/ 274563 w 761692"/>
                    <a:gd name="connsiteY290" fmla="*/ 189538 h 1016771"/>
                    <a:gd name="connsiteX291" fmla="*/ 283420 w 761692"/>
                    <a:gd name="connsiteY291" fmla="*/ 178909 h 1016771"/>
                    <a:gd name="connsiteX292" fmla="*/ 286963 w 761692"/>
                    <a:gd name="connsiteY292" fmla="*/ 173595 h 1016771"/>
                    <a:gd name="connsiteX293" fmla="*/ 311762 w 761692"/>
                    <a:gd name="connsiteY293" fmla="*/ 168281 h 1016771"/>
                    <a:gd name="connsiteX294" fmla="*/ 325933 w 761692"/>
                    <a:gd name="connsiteY294" fmla="*/ 164738 h 1016771"/>
                    <a:gd name="connsiteX295" fmla="*/ 336562 w 761692"/>
                    <a:gd name="connsiteY295" fmla="*/ 159424 h 1016771"/>
                    <a:gd name="connsiteX296" fmla="*/ 348961 w 761692"/>
                    <a:gd name="connsiteY296" fmla="*/ 145253 h 1016771"/>
                    <a:gd name="connsiteX297" fmla="*/ 359589 w 761692"/>
                    <a:gd name="connsiteY297" fmla="*/ 143482 h 1016771"/>
                    <a:gd name="connsiteX298" fmla="*/ 371989 w 761692"/>
                    <a:gd name="connsiteY298" fmla="*/ 143482 h 1016771"/>
                    <a:gd name="connsiteX299" fmla="*/ 391474 w 761692"/>
                    <a:gd name="connsiteY299" fmla="*/ 143482 h 1016771"/>
                    <a:gd name="connsiteX300" fmla="*/ 396788 w 761692"/>
                    <a:gd name="connsiteY300" fmla="*/ 141710 h 1016771"/>
                    <a:gd name="connsiteX301" fmla="*/ 403874 w 761692"/>
                    <a:gd name="connsiteY301" fmla="*/ 134625 h 1016771"/>
                    <a:gd name="connsiteX302" fmla="*/ 409188 w 761692"/>
                    <a:gd name="connsiteY302" fmla="*/ 129311 h 1016771"/>
                    <a:gd name="connsiteX303" fmla="*/ 409188 w 761692"/>
                    <a:gd name="connsiteY303" fmla="*/ 123997 h 1016771"/>
                    <a:gd name="connsiteX304" fmla="*/ 414502 w 761692"/>
                    <a:gd name="connsiteY304" fmla="*/ 115140 h 1016771"/>
                    <a:gd name="connsiteX305" fmla="*/ 428673 w 761692"/>
                    <a:gd name="connsiteY305" fmla="*/ 115140 h 1016771"/>
                    <a:gd name="connsiteX306" fmla="*/ 432216 w 761692"/>
                    <a:gd name="connsiteY306" fmla="*/ 109826 h 1016771"/>
                    <a:gd name="connsiteX307" fmla="*/ 437530 w 761692"/>
                    <a:gd name="connsiteY307" fmla="*/ 100969 h 1016771"/>
                    <a:gd name="connsiteX308" fmla="*/ 448158 w 761692"/>
                    <a:gd name="connsiteY308" fmla="*/ 99197 h 1016771"/>
                    <a:gd name="connsiteX309" fmla="*/ 460558 w 761692"/>
                    <a:gd name="connsiteY309" fmla="*/ 97426 h 1016771"/>
                    <a:gd name="connsiteX310" fmla="*/ 472958 w 761692"/>
                    <a:gd name="connsiteY310" fmla="*/ 93883 h 1016771"/>
                    <a:gd name="connsiteX311" fmla="*/ 492443 w 761692"/>
                    <a:gd name="connsiteY311" fmla="*/ 93883 h 1016771"/>
                    <a:gd name="connsiteX312" fmla="*/ 501300 w 761692"/>
                    <a:gd name="connsiteY312" fmla="*/ 83255 h 1016771"/>
                    <a:gd name="connsiteX313" fmla="*/ 517242 w 761692"/>
                    <a:gd name="connsiteY313" fmla="*/ 81484 h 1016771"/>
                    <a:gd name="connsiteX314" fmla="*/ 522556 w 761692"/>
                    <a:gd name="connsiteY314" fmla="*/ 81484 h 1016771"/>
                    <a:gd name="connsiteX315" fmla="*/ 522556 w 761692"/>
                    <a:gd name="connsiteY315" fmla="*/ 60227 h 1016771"/>
                    <a:gd name="connsiteX316" fmla="*/ 526099 w 761692"/>
                    <a:gd name="connsiteY316" fmla="*/ 54913 h 1016771"/>
                    <a:gd name="connsiteX317" fmla="*/ 529642 w 761692"/>
                    <a:gd name="connsiteY317" fmla="*/ 46056 h 1016771"/>
                    <a:gd name="connsiteX318" fmla="*/ 538499 w 761692"/>
                    <a:gd name="connsiteY318" fmla="*/ 40742 h 1016771"/>
                    <a:gd name="connsiteX319" fmla="*/ 540270 w 761692"/>
                    <a:gd name="connsiteY319" fmla="*/ 30114 h 1016771"/>
                    <a:gd name="connsiteX320" fmla="*/ 536727 w 761692"/>
                    <a:gd name="connsiteY320" fmla="*/ 19485 h 1016771"/>
                    <a:gd name="connsiteX321" fmla="*/ 543813 w 761692"/>
                    <a:gd name="connsiteY321" fmla="*/ 5314 h 1016771"/>
                    <a:gd name="connsiteX322" fmla="*/ 554441 w 761692"/>
                    <a:gd name="connsiteY322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9645 w 761692"/>
                    <a:gd name="connsiteY9" fmla="*/ 860925 h 1016771"/>
                    <a:gd name="connsiteX10" fmla="*/ 148122 w 761692"/>
                    <a:gd name="connsiteY10" fmla="*/ 867707 h 1016771"/>
                    <a:gd name="connsiteX11" fmla="*/ 158294 w 761692"/>
                    <a:gd name="connsiteY11" fmla="*/ 879574 h 1016771"/>
                    <a:gd name="connsiteX12" fmla="*/ 175247 w 761692"/>
                    <a:gd name="connsiteY12" fmla="*/ 889746 h 1016771"/>
                    <a:gd name="connsiteX13" fmla="*/ 188810 w 761692"/>
                    <a:gd name="connsiteY13" fmla="*/ 893137 h 1016771"/>
                    <a:gd name="connsiteX14" fmla="*/ 195591 w 761692"/>
                    <a:gd name="connsiteY14" fmla="*/ 893137 h 1016771"/>
                    <a:gd name="connsiteX15" fmla="*/ 202372 w 761692"/>
                    <a:gd name="connsiteY15" fmla="*/ 886355 h 1016771"/>
                    <a:gd name="connsiteX16" fmla="*/ 200677 w 761692"/>
                    <a:gd name="connsiteY16" fmla="*/ 877879 h 1016771"/>
                    <a:gd name="connsiteX17" fmla="*/ 209154 w 761692"/>
                    <a:gd name="connsiteY17" fmla="*/ 874488 h 1016771"/>
                    <a:gd name="connsiteX18" fmla="*/ 203708 w 761692"/>
                    <a:gd name="connsiteY18" fmla="*/ 887461 h 1016771"/>
                    <a:gd name="connsiteX19" fmla="*/ 189537 w 761692"/>
                    <a:gd name="connsiteY19" fmla="*/ 894546 h 1016771"/>
                    <a:gd name="connsiteX20" fmla="*/ 175366 w 761692"/>
                    <a:gd name="connsiteY20" fmla="*/ 891003 h 1016771"/>
                    <a:gd name="connsiteX21" fmla="*/ 157653 w 761692"/>
                    <a:gd name="connsiteY21" fmla="*/ 880375 h 1016771"/>
                    <a:gd name="connsiteX22" fmla="*/ 147024 w 761692"/>
                    <a:gd name="connsiteY22" fmla="*/ 867975 h 1016771"/>
                    <a:gd name="connsiteX23" fmla="*/ 138167 w 761692"/>
                    <a:gd name="connsiteY23" fmla="*/ 860890 h 1016771"/>
                    <a:gd name="connsiteX24" fmla="*/ 138167 w 761692"/>
                    <a:gd name="connsiteY24" fmla="*/ 852033 h 1016771"/>
                    <a:gd name="connsiteX25" fmla="*/ 139939 w 761692"/>
                    <a:gd name="connsiteY25" fmla="*/ 850262 h 1016771"/>
                    <a:gd name="connsiteX26" fmla="*/ 139939 w 761692"/>
                    <a:gd name="connsiteY26" fmla="*/ 848490 h 1016771"/>
                    <a:gd name="connsiteX27" fmla="*/ 145253 w 761692"/>
                    <a:gd name="connsiteY27" fmla="*/ 843176 h 1016771"/>
                    <a:gd name="connsiteX28" fmla="*/ 147024 w 761692"/>
                    <a:gd name="connsiteY28" fmla="*/ 841405 h 1016771"/>
                    <a:gd name="connsiteX29" fmla="*/ 148796 w 761692"/>
                    <a:gd name="connsiteY29" fmla="*/ 839633 h 1016771"/>
                    <a:gd name="connsiteX30" fmla="*/ 150567 w 761692"/>
                    <a:gd name="connsiteY30" fmla="*/ 837862 h 1016771"/>
                    <a:gd name="connsiteX31" fmla="*/ 159250 w 761692"/>
                    <a:gd name="connsiteY31" fmla="*/ 829179 h 1016771"/>
                    <a:gd name="connsiteX32" fmla="*/ 116476 w 761692"/>
                    <a:gd name="connsiteY32" fmla="*/ 741349 h 1016771"/>
                    <a:gd name="connsiteX33" fmla="*/ 117606 w 761692"/>
                    <a:gd name="connsiteY33" fmla="*/ 742253 h 1016771"/>
                    <a:gd name="connsiteX34" fmla="*/ 122692 w 761692"/>
                    <a:gd name="connsiteY34" fmla="*/ 759206 h 1016771"/>
                    <a:gd name="connsiteX35" fmla="*/ 126082 w 761692"/>
                    <a:gd name="connsiteY35" fmla="*/ 771073 h 1016771"/>
                    <a:gd name="connsiteX36" fmla="*/ 129473 w 761692"/>
                    <a:gd name="connsiteY36" fmla="*/ 782940 h 1016771"/>
                    <a:gd name="connsiteX37" fmla="*/ 132864 w 761692"/>
                    <a:gd name="connsiteY37" fmla="*/ 793112 h 1016771"/>
                    <a:gd name="connsiteX38" fmla="*/ 136254 w 761692"/>
                    <a:gd name="connsiteY38" fmla="*/ 810066 h 1016771"/>
                    <a:gd name="connsiteX39" fmla="*/ 139058 w 761692"/>
                    <a:gd name="connsiteY39" fmla="*/ 818476 h 1016771"/>
                    <a:gd name="connsiteX40" fmla="*/ 138167 w 761692"/>
                    <a:gd name="connsiteY40" fmla="*/ 818377 h 1016771"/>
                    <a:gd name="connsiteX41" fmla="*/ 134625 w 761692"/>
                    <a:gd name="connsiteY41" fmla="*/ 807749 h 1016771"/>
                    <a:gd name="connsiteX42" fmla="*/ 131082 w 761692"/>
                    <a:gd name="connsiteY42" fmla="*/ 790035 h 1016771"/>
                    <a:gd name="connsiteX43" fmla="*/ 127539 w 761692"/>
                    <a:gd name="connsiteY43" fmla="*/ 779407 h 1016771"/>
                    <a:gd name="connsiteX44" fmla="*/ 123996 w 761692"/>
                    <a:gd name="connsiteY44" fmla="*/ 767007 h 1016771"/>
                    <a:gd name="connsiteX45" fmla="*/ 120454 w 761692"/>
                    <a:gd name="connsiteY45" fmla="*/ 754607 h 1016771"/>
                    <a:gd name="connsiteX46" fmla="*/ 116476 w 761692"/>
                    <a:gd name="connsiteY46" fmla="*/ 741349 h 1016771"/>
                    <a:gd name="connsiteX47" fmla="*/ 554441 w 761692"/>
                    <a:gd name="connsiteY47" fmla="*/ 0 h 1016771"/>
                    <a:gd name="connsiteX48" fmla="*/ 570383 w 761692"/>
                    <a:gd name="connsiteY48" fmla="*/ 3543 h 1016771"/>
                    <a:gd name="connsiteX49" fmla="*/ 577469 w 761692"/>
                    <a:gd name="connsiteY49" fmla="*/ 8857 h 1016771"/>
                    <a:gd name="connsiteX50" fmla="*/ 582783 w 761692"/>
                    <a:gd name="connsiteY50" fmla="*/ 17714 h 1016771"/>
                    <a:gd name="connsiteX51" fmla="*/ 582783 w 761692"/>
                    <a:gd name="connsiteY51" fmla="*/ 24799 h 1016771"/>
                    <a:gd name="connsiteX52" fmla="*/ 588097 w 761692"/>
                    <a:gd name="connsiteY52" fmla="*/ 33656 h 1016771"/>
                    <a:gd name="connsiteX53" fmla="*/ 598725 w 761692"/>
                    <a:gd name="connsiteY53" fmla="*/ 31885 h 1016771"/>
                    <a:gd name="connsiteX54" fmla="*/ 612896 w 761692"/>
                    <a:gd name="connsiteY54" fmla="*/ 37199 h 1016771"/>
                    <a:gd name="connsiteX55" fmla="*/ 618211 w 761692"/>
                    <a:gd name="connsiteY55" fmla="*/ 46056 h 1016771"/>
                    <a:gd name="connsiteX56" fmla="*/ 619982 w 761692"/>
                    <a:gd name="connsiteY56" fmla="*/ 54913 h 1016771"/>
                    <a:gd name="connsiteX57" fmla="*/ 618211 w 761692"/>
                    <a:gd name="connsiteY57" fmla="*/ 74398 h 1016771"/>
                    <a:gd name="connsiteX58" fmla="*/ 616439 w 761692"/>
                    <a:gd name="connsiteY58" fmla="*/ 85026 h 1016771"/>
                    <a:gd name="connsiteX59" fmla="*/ 621753 w 761692"/>
                    <a:gd name="connsiteY59" fmla="*/ 97426 h 1016771"/>
                    <a:gd name="connsiteX60" fmla="*/ 637696 w 761692"/>
                    <a:gd name="connsiteY60" fmla="*/ 113368 h 1016771"/>
                    <a:gd name="connsiteX61" fmla="*/ 644781 w 761692"/>
                    <a:gd name="connsiteY61" fmla="*/ 120454 h 1016771"/>
                    <a:gd name="connsiteX62" fmla="*/ 650095 w 761692"/>
                    <a:gd name="connsiteY62" fmla="*/ 136396 h 1016771"/>
                    <a:gd name="connsiteX63" fmla="*/ 655409 w 761692"/>
                    <a:gd name="connsiteY63" fmla="*/ 155881 h 1016771"/>
                    <a:gd name="connsiteX64" fmla="*/ 662495 w 761692"/>
                    <a:gd name="connsiteY64" fmla="*/ 171824 h 1016771"/>
                    <a:gd name="connsiteX65" fmla="*/ 660724 w 761692"/>
                    <a:gd name="connsiteY65" fmla="*/ 185995 h 1016771"/>
                    <a:gd name="connsiteX66" fmla="*/ 635924 w 761692"/>
                    <a:gd name="connsiteY66" fmla="*/ 194852 h 1016771"/>
                    <a:gd name="connsiteX67" fmla="*/ 619982 w 761692"/>
                    <a:gd name="connsiteY67" fmla="*/ 207251 h 1016771"/>
                    <a:gd name="connsiteX68" fmla="*/ 614668 w 761692"/>
                    <a:gd name="connsiteY68" fmla="*/ 223194 h 1016771"/>
                    <a:gd name="connsiteX69" fmla="*/ 618211 w 761692"/>
                    <a:gd name="connsiteY69" fmla="*/ 242679 h 1016771"/>
                    <a:gd name="connsiteX70" fmla="*/ 612896 w 761692"/>
                    <a:gd name="connsiteY70" fmla="*/ 256850 h 1016771"/>
                    <a:gd name="connsiteX71" fmla="*/ 625296 w 761692"/>
                    <a:gd name="connsiteY71" fmla="*/ 267478 h 1016771"/>
                    <a:gd name="connsiteX72" fmla="*/ 641238 w 761692"/>
                    <a:gd name="connsiteY72" fmla="*/ 269250 h 1016771"/>
                    <a:gd name="connsiteX73" fmla="*/ 658952 w 761692"/>
                    <a:gd name="connsiteY73" fmla="*/ 286963 h 1016771"/>
                    <a:gd name="connsiteX74" fmla="*/ 653638 w 761692"/>
                    <a:gd name="connsiteY74" fmla="*/ 309991 h 1016771"/>
                    <a:gd name="connsiteX75" fmla="*/ 653638 w 761692"/>
                    <a:gd name="connsiteY75" fmla="*/ 329476 h 1016771"/>
                    <a:gd name="connsiteX76" fmla="*/ 643010 w 761692"/>
                    <a:gd name="connsiteY76" fmla="*/ 338333 h 1016771"/>
                    <a:gd name="connsiteX77" fmla="*/ 632382 w 761692"/>
                    <a:gd name="connsiteY77" fmla="*/ 338333 h 1016771"/>
                    <a:gd name="connsiteX78" fmla="*/ 618211 w 761692"/>
                    <a:gd name="connsiteY78" fmla="*/ 357819 h 1016771"/>
                    <a:gd name="connsiteX79" fmla="*/ 609354 w 761692"/>
                    <a:gd name="connsiteY79" fmla="*/ 361361 h 1016771"/>
                    <a:gd name="connsiteX80" fmla="*/ 596954 w 761692"/>
                    <a:gd name="connsiteY80" fmla="*/ 363133 h 1016771"/>
                    <a:gd name="connsiteX81" fmla="*/ 581012 w 761692"/>
                    <a:gd name="connsiteY81" fmla="*/ 379075 h 1016771"/>
                    <a:gd name="connsiteX82" fmla="*/ 589868 w 761692"/>
                    <a:gd name="connsiteY82" fmla="*/ 393246 h 1016771"/>
                    <a:gd name="connsiteX83" fmla="*/ 586326 w 761692"/>
                    <a:gd name="connsiteY83" fmla="*/ 409189 h 1016771"/>
                    <a:gd name="connsiteX84" fmla="*/ 570383 w 761692"/>
                    <a:gd name="connsiteY84" fmla="*/ 398560 h 1016771"/>
                    <a:gd name="connsiteX85" fmla="*/ 550898 w 761692"/>
                    <a:gd name="connsiteY85" fmla="*/ 405646 h 1016771"/>
                    <a:gd name="connsiteX86" fmla="*/ 531413 w 761692"/>
                    <a:gd name="connsiteY86" fmla="*/ 425131 h 1016771"/>
                    <a:gd name="connsiteX87" fmla="*/ 543813 w 761692"/>
                    <a:gd name="connsiteY87" fmla="*/ 444616 h 1016771"/>
                    <a:gd name="connsiteX88" fmla="*/ 557984 w 761692"/>
                    <a:gd name="connsiteY88" fmla="*/ 462330 h 1016771"/>
                    <a:gd name="connsiteX89" fmla="*/ 570383 w 761692"/>
                    <a:gd name="connsiteY89" fmla="*/ 478272 h 1016771"/>
                    <a:gd name="connsiteX90" fmla="*/ 579240 w 761692"/>
                    <a:gd name="connsiteY90" fmla="*/ 485358 h 1016771"/>
                    <a:gd name="connsiteX91" fmla="*/ 602268 w 761692"/>
                    <a:gd name="connsiteY91" fmla="*/ 483586 h 1016771"/>
                    <a:gd name="connsiteX92" fmla="*/ 623525 w 761692"/>
                    <a:gd name="connsiteY92" fmla="*/ 474730 h 1016771"/>
                    <a:gd name="connsiteX93" fmla="*/ 639467 w 761692"/>
                    <a:gd name="connsiteY93" fmla="*/ 464101 h 1016771"/>
                    <a:gd name="connsiteX94" fmla="*/ 662495 w 761692"/>
                    <a:gd name="connsiteY94" fmla="*/ 464101 h 1016771"/>
                    <a:gd name="connsiteX95" fmla="*/ 673123 w 761692"/>
                    <a:gd name="connsiteY95" fmla="*/ 464101 h 1016771"/>
                    <a:gd name="connsiteX96" fmla="*/ 681980 w 761692"/>
                    <a:gd name="connsiteY96" fmla="*/ 467644 h 1016771"/>
                    <a:gd name="connsiteX97" fmla="*/ 703237 w 761692"/>
                    <a:gd name="connsiteY97" fmla="*/ 471187 h 1016771"/>
                    <a:gd name="connsiteX98" fmla="*/ 708551 w 761692"/>
                    <a:gd name="connsiteY98" fmla="*/ 474730 h 1016771"/>
                    <a:gd name="connsiteX99" fmla="*/ 722722 w 761692"/>
                    <a:gd name="connsiteY99" fmla="*/ 501300 h 1016771"/>
                    <a:gd name="connsiteX100" fmla="*/ 724493 w 761692"/>
                    <a:gd name="connsiteY100" fmla="*/ 522557 h 1016771"/>
                    <a:gd name="connsiteX101" fmla="*/ 722722 w 761692"/>
                    <a:gd name="connsiteY101" fmla="*/ 540271 h 1016771"/>
                    <a:gd name="connsiteX102" fmla="*/ 735121 w 761692"/>
                    <a:gd name="connsiteY102" fmla="*/ 552670 h 1016771"/>
                    <a:gd name="connsiteX103" fmla="*/ 735121 w 761692"/>
                    <a:gd name="connsiteY103" fmla="*/ 570384 h 1016771"/>
                    <a:gd name="connsiteX104" fmla="*/ 751064 w 761692"/>
                    <a:gd name="connsiteY104" fmla="*/ 581012 h 1016771"/>
                    <a:gd name="connsiteX105" fmla="*/ 761692 w 761692"/>
                    <a:gd name="connsiteY105" fmla="*/ 604040 h 1016771"/>
                    <a:gd name="connsiteX106" fmla="*/ 747521 w 761692"/>
                    <a:gd name="connsiteY106" fmla="*/ 616440 h 1016771"/>
                    <a:gd name="connsiteX107" fmla="*/ 728036 w 761692"/>
                    <a:gd name="connsiteY107" fmla="*/ 627068 h 1016771"/>
                    <a:gd name="connsiteX108" fmla="*/ 726264 w 761692"/>
                    <a:gd name="connsiteY108" fmla="*/ 650096 h 1016771"/>
                    <a:gd name="connsiteX109" fmla="*/ 728036 w 761692"/>
                    <a:gd name="connsiteY109" fmla="*/ 673124 h 1016771"/>
                    <a:gd name="connsiteX110" fmla="*/ 742207 w 761692"/>
                    <a:gd name="connsiteY110" fmla="*/ 689066 h 1016771"/>
                    <a:gd name="connsiteX111" fmla="*/ 742207 w 761692"/>
                    <a:gd name="connsiteY111" fmla="*/ 712094 h 1016771"/>
                    <a:gd name="connsiteX112" fmla="*/ 740435 w 761692"/>
                    <a:gd name="connsiteY112" fmla="*/ 735122 h 1016771"/>
                    <a:gd name="connsiteX113" fmla="*/ 742207 w 761692"/>
                    <a:gd name="connsiteY113" fmla="*/ 751065 h 1016771"/>
                    <a:gd name="connsiteX114" fmla="*/ 747521 w 761692"/>
                    <a:gd name="connsiteY114" fmla="*/ 768778 h 1016771"/>
                    <a:gd name="connsiteX115" fmla="*/ 759921 w 761692"/>
                    <a:gd name="connsiteY115" fmla="*/ 777635 h 1016771"/>
                    <a:gd name="connsiteX116" fmla="*/ 758149 w 761692"/>
                    <a:gd name="connsiteY116" fmla="*/ 802434 h 1016771"/>
                    <a:gd name="connsiteX117" fmla="*/ 752835 w 761692"/>
                    <a:gd name="connsiteY117" fmla="*/ 814834 h 1016771"/>
                    <a:gd name="connsiteX118" fmla="*/ 743978 w 761692"/>
                    <a:gd name="connsiteY118" fmla="*/ 827234 h 1016771"/>
                    <a:gd name="connsiteX119" fmla="*/ 743978 w 761692"/>
                    <a:gd name="connsiteY119" fmla="*/ 837862 h 1016771"/>
                    <a:gd name="connsiteX120" fmla="*/ 747521 w 761692"/>
                    <a:gd name="connsiteY120" fmla="*/ 853804 h 1016771"/>
                    <a:gd name="connsiteX121" fmla="*/ 733350 w 761692"/>
                    <a:gd name="connsiteY121" fmla="*/ 867975 h 1016771"/>
                    <a:gd name="connsiteX122" fmla="*/ 724493 w 761692"/>
                    <a:gd name="connsiteY122" fmla="*/ 880375 h 1016771"/>
                    <a:gd name="connsiteX123" fmla="*/ 722722 w 761692"/>
                    <a:gd name="connsiteY123" fmla="*/ 899860 h 1016771"/>
                    <a:gd name="connsiteX124" fmla="*/ 722722 w 761692"/>
                    <a:gd name="connsiteY124" fmla="*/ 919345 h 1016771"/>
                    <a:gd name="connsiteX125" fmla="*/ 715636 w 761692"/>
                    <a:gd name="connsiteY125" fmla="*/ 940602 h 1016771"/>
                    <a:gd name="connsiteX126" fmla="*/ 708551 w 761692"/>
                    <a:gd name="connsiteY126" fmla="*/ 954773 h 1016771"/>
                    <a:gd name="connsiteX127" fmla="*/ 699694 w 761692"/>
                    <a:gd name="connsiteY127" fmla="*/ 965401 h 1016771"/>
                    <a:gd name="connsiteX128" fmla="*/ 692608 w 761692"/>
                    <a:gd name="connsiteY128" fmla="*/ 984886 h 1016771"/>
                    <a:gd name="connsiteX129" fmla="*/ 683751 w 761692"/>
                    <a:gd name="connsiteY129" fmla="*/ 997286 h 1016771"/>
                    <a:gd name="connsiteX130" fmla="*/ 673123 w 761692"/>
                    <a:gd name="connsiteY130" fmla="*/ 1002600 h 1016771"/>
                    <a:gd name="connsiteX131" fmla="*/ 662495 w 761692"/>
                    <a:gd name="connsiteY131" fmla="*/ 1013228 h 1016771"/>
                    <a:gd name="connsiteX132" fmla="*/ 644781 w 761692"/>
                    <a:gd name="connsiteY132" fmla="*/ 1016771 h 1016771"/>
                    <a:gd name="connsiteX133" fmla="*/ 635924 w 761692"/>
                    <a:gd name="connsiteY133" fmla="*/ 1004372 h 1016771"/>
                    <a:gd name="connsiteX134" fmla="*/ 623525 w 761692"/>
                    <a:gd name="connsiteY134" fmla="*/ 997286 h 1016771"/>
                    <a:gd name="connsiteX135" fmla="*/ 614668 w 761692"/>
                    <a:gd name="connsiteY135" fmla="*/ 986658 h 1016771"/>
                    <a:gd name="connsiteX136" fmla="*/ 593411 w 761692"/>
                    <a:gd name="connsiteY136" fmla="*/ 970715 h 1016771"/>
                    <a:gd name="connsiteX137" fmla="*/ 582783 w 761692"/>
                    <a:gd name="connsiteY137" fmla="*/ 965401 h 1016771"/>
                    <a:gd name="connsiteX138" fmla="*/ 531413 w 761692"/>
                    <a:gd name="connsiteY138" fmla="*/ 965401 h 1016771"/>
                    <a:gd name="connsiteX139" fmla="*/ 511928 w 761692"/>
                    <a:gd name="connsiteY139" fmla="*/ 965401 h 1016771"/>
                    <a:gd name="connsiteX140" fmla="*/ 492443 w 761692"/>
                    <a:gd name="connsiteY140" fmla="*/ 963630 h 1016771"/>
                    <a:gd name="connsiteX141" fmla="*/ 483586 w 761692"/>
                    <a:gd name="connsiteY141" fmla="*/ 958316 h 1016771"/>
                    <a:gd name="connsiteX142" fmla="*/ 469415 w 761692"/>
                    <a:gd name="connsiteY142" fmla="*/ 954773 h 1016771"/>
                    <a:gd name="connsiteX143" fmla="*/ 460558 w 761692"/>
                    <a:gd name="connsiteY143" fmla="*/ 942373 h 1016771"/>
                    <a:gd name="connsiteX144" fmla="*/ 446387 w 761692"/>
                    <a:gd name="connsiteY144" fmla="*/ 935288 h 1016771"/>
                    <a:gd name="connsiteX145" fmla="*/ 428673 w 761692"/>
                    <a:gd name="connsiteY145" fmla="*/ 928202 h 1016771"/>
                    <a:gd name="connsiteX146" fmla="*/ 418045 w 761692"/>
                    <a:gd name="connsiteY146" fmla="*/ 917574 h 1016771"/>
                    <a:gd name="connsiteX147" fmla="*/ 421588 w 761692"/>
                    <a:gd name="connsiteY147" fmla="*/ 903403 h 1016771"/>
                    <a:gd name="connsiteX148" fmla="*/ 418045 w 761692"/>
                    <a:gd name="connsiteY148" fmla="*/ 898089 h 1016771"/>
                    <a:gd name="connsiteX149" fmla="*/ 396788 w 761692"/>
                    <a:gd name="connsiteY149" fmla="*/ 898089 h 1016771"/>
                    <a:gd name="connsiteX150" fmla="*/ 382617 w 761692"/>
                    <a:gd name="connsiteY150" fmla="*/ 896318 h 1016771"/>
                    <a:gd name="connsiteX151" fmla="*/ 380846 w 761692"/>
                    <a:gd name="connsiteY151" fmla="*/ 906946 h 1016771"/>
                    <a:gd name="connsiteX152" fmla="*/ 373601 w 761692"/>
                    <a:gd name="connsiteY152" fmla="*/ 894832 h 1016771"/>
                    <a:gd name="connsiteX153" fmla="*/ 387164 w 761692"/>
                    <a:gd name="connsiteY153" fmla="*/ 896527 h 1016771"/>
                    <a:gd name="connsiteX154" fmla="*/ 383773 w 761692"/>
                    <a:gd name="connsiteY154" fmla="*/ 886355 h 1016771"/>
                    <a:gd name="connsiteX155" fmla="*/ 387164 w 761692"/>
                    <a:gd name="connsiteY155" fmla="*/ 876183 h 1016771"/>
                    <a:gd name="connsiteX156" fmla="*/ 388859 w 761692"/>
                    <a:gd name="connsiteY156" fmla="*/ 867707 h 1016771"/>
                    <a:gd name="connsiteX157" fmla="*/ 380382 w 761692"/>
                    <a:gd name="connsiteY157" fmla="*/ 859230 h 1016771"/>
                    <a:gd name="connsiteX158" fmla="*/ 373601 w 761692"/>
                    <a:gd name="connsiteY158" fmla="*/ 849058 h 1016771"/>
                    <a:gd name="connsiteX159" fmla="*/ 380382 w 761692"/>
                    <a:gd name="connsiteY159" fmla="*/ 838886 h 1016771"/>
                    <a:gd name="connsiteX160" fmla="*/ 383773 w 761692"/>
                    <a:gd name="connsiteY160" fmla="*/ 833800 h 1016771"/>
                    <a:gd name="connsiteX161" fmla="*/ 388859 w 761692"/>
                    <a:gd name="connsiteY161" fmla="*/ 825324 h 1016771"/>
                    <a:gd name="connsiteX162" fmla="*/ 387164 w 761692"/>
                    <a:gd name="connsiteY162" fmla="*/ 810066 h 1016771"/>
                    <a:gd name="connsiteX163" fmla="*/ 387164 w 761692"/>
                    <a:gd name="connsiteY163" fmla="*/ 796503 h 1016771"/>
                    <a:gd name="connsiteX164" fmla="*/ 378687 w 761692"/>
                    <a:gd name="connsiteY164" fmla="*/ 789722 h 1016771"/>
                    <a:gd name="connsiteX165" fmla="*/ 366820 w 761692"/>
                    <a:gd name="connsiteY165" fmla="*/ 782940 h 1016771"/>
                    <a:gd name="connsiteX166" fmla="*/ 356648 w 761692"/>
                    <a:gd name="connsiteY166" fmla="*/ 781245 h 1016771"/>
                    <a:gd name="connsiteX167" fmla="*/ 349866 w 761692"/>
                    <a:gd name="connsiteY167" fmla="*/ 771073 h 1016771"/>
                    <a:gd name="connsiteX168" fmla="*/ 349866 w 761692"/>
                    <a:gd name="connsiteY168" fmla="*/ 752425 h 1016771"/>
                    <a:gd name="connsiteX169" fmla="*/ 353257 w 761692"/>
                    <a:gd name="connsiteY169" fmla="*/ 743948 h 1016771"/>
                    <a:gd name="connsiteX170" fmla="*/ 354952 w 761692"/>
                    <a:gd name="connsiteY170" fmla="*/ 730385 h 1016771"/>
                    <a:gd name="connsiteX171" fmla="*/ 353257 w 761692"/>
                    <a:gd name="connsiteY171" fmla="*/ 713432 h 1016771"/>
                    <a:gd name="connsiteX172" fmla="*/ 346476 w 761692"/>
                    <a:gd name="connsiteY172" fmla="*/ 701565 h 1016771"/>
                    <a:gd name="connsiteX173" fmla="*/ 332913 w 761692"/>
                    <a:gd name="connsiteY173" fmla="*/ 689697 h 1016771"/>
                    <a:gd name="connsiteX174" fmla="*/ 324436 w 761692"/>
                    <a:gd name="connsiteY174" fmla="*/ 681221 h 1016771"/>
                    <a:gd name="connsiteX175" fmla="*/ 314264 w 761692"/>
                    <a:gd name="connsiteY175" fmla="*/ 676135 h 1016771"/>
                    <a:gd name="connsiteX176" fmla="*/ 293920 w 761692"/>
                    <a:gd name="connsiteY176" fmla="*/ 669354 h 1016771"/>
                    <a:gd name="connsiteX177" fmla="*/ 282053 w 761692"/>
                    <a:gd name="connsiteY177" fmla="*/ 667658 h 1016771"/>
                    <a:gd name="connsiteX178" fmla="*/ 266795 w 761692"/>
                    <a:gd name="connsiteY178" fmla="*/ 672744 h 1016771"/>
                    <a:gd name="connsiteX179" fmla="*/ 265100 w 761692"/>
                    <a:gd name="connsiteY179" fmla="*/ 672744 h 1016771"/>
                    <a:gd name="connsiteX180" fmla="*/ 263404 w 761692"/>
                    <a:gd name="connsiteY180" fmla="*/ 671049 h 1016771"/>
                    <a:gd name="connsiteX181" fmla="*/ 260014 w 761692"/>
                    <a:gd name="connsiteY181" fmla="*/ 671049 h 1016771"/>
                    <a:gd name="connsiteX182" fmla="*/ 258318 w 761692"/>
                    <a:gd name="connsiteY182" fmla="*/ 671049 h 1016771"/>
                    <a:gd name="connsiteX183" fmla="*/ 253232 w 761692"/>
                    <a:gd name="connsiteY183" fmla="*/ 671049 h 1016771"/>
                    <a:gd name="connsiteX184" fmla="*/ 248146 w 761692"/>
                    <a:gd name="connsiteY184" fmla="*/ 672744 h 1016771"/>
                    <a:gd name="connsiteX185" fmla="*/ 248146 w 761692"/>
                    <a:gd name="connsiteY185" fmla="*/ 674440 h 1016771"/>
                    <a:gd name="connsiteX186" fmla="*/ 246451 w 761692"/>
                    <a:gd name="connsiteY186" fmla="*/ 674440 h 1016771"/>
                    <a:gd name="connsiteX187" fmla="*/ 236279 w 761692"/>
                    <a:gd name="connsiteY187" fmla="*/ 679526 h 1016771"/>
                    <a:gd name="connsiteX188" fmla="*/ 226107 w 761692"/>
                    <a:gd name="connsiteY188" fmla="*/ 684612 h 1016771"/>
                    <a:gd name="connsiteX189" fmla="*/ 217630 w 761692"/>
                    <a:gd name="connsiteY189" fmla="*/ 684612 h 1016771"/>
                    <a:gd name="connsiteX190" fmla="*/ 207458 w 761692"/>
                    <a:gd name="connsiteY190" fmla="*/ 693088 h 1016771"/>
                    <a:gd name="connsiteX191" fmla="*/ 198982 w 761692"/>
                    <a:gd name="connsiteY191" fmla="*/ 694783 h 1016771"/>
                    <a:gd name="connsiteX192" fmla="*/ 192200 w 761692"/>
                    <a:gd name="connsiteY192" fmla="*/ 699869 h 1016771"/>
                    <a:gd name="connsiteX193" fmla="*/ 178638 w 761692"/>
                    <a:gd name="connsiteY193" fmla="*/ 706651 h 1016771"/>
                    <a:gd name="connsiteX194" fmla="*/ 163380 w 761692"/>
                    <a:gd name="connsiteY194" fmla="*/ 710041 h 1016771"/>
                    <a:gd name="connsiteX195" fmla="*/ 141340 w 761692"/>
                    <a:gd name="connsiteY195" fmla="*/ 710041 h 1016771"/>
                    <a:gd name="connsiteX196" fmla="*/ 134559 w 761692"/>
                    <a:gd name="connsiteY196" fmla="*/ 716823 h 1016771"/>
                    <a:gd name="connsiteX197" fmla="*/ 127778 w 761692"/>
                    <a:gd name="connsiteY197" fmla="*/ 718518 h 1016771"/>
                    <a:gd name="connsiteX198" fmla="*/ 120996 w 761692"/>
                    <a:gd name="connsiteY198" fmla="*/ 725299 h 1016771"/>
                    <a:gd name="connsiteX199" fmla="*/ 111172 w 761692"/>
                    <a:gd name="connsiteY199" fmla="*/ 733720 h 1016771"/>
                    <a:gd name="connsiteX200" fmla="*/ 106283 w 761692"/>
                    <a:gd name="connsiteY200" fmla="*/ 729808 h 1016771"/>
                    <a:gd name="connsiteX201" fmla="*/ 92112 w 761692"/>
                    <a:gd name="connsiteY201" fmla="*/ 724494 h 1016771"/>
                    <a:gd name="connsiteX202" fmla="*/ 77941 w 761692"/>
                    <a:gd name="connsiteY202" fmla="*/ 726265 h 1016771"/>
                    <a:gd name="connsiteX203" fmla="*/ 70855 w 761692"/>
                    <a:gd name="connsiteY203" fmla="*/ 719180 h 1016771"/>
                    <a:gd name="connsiteX204" fmla="*/ 70855 w 761692"/>
                    <a:gd name="connsiteY204" fmla="*/ 699695 h 1016771"/>
                    <a:gd name="connsiteX205" fmla="*/ 81483 w 761692"/>
                    <a:gd name="connsiteY205" fmla="*/ 685524 h 1016771"/>
                    <a:gd name="connsiteX206" fmla="*/ 85026 w 761692"/>
                    <a:gd name="connsiteY206" fmla="*/ 673124 h 1016771"/>
                    <a:gd name="connsiteX207" fmla="*/ 86797 w 761692"/>
                    <a:gd name="connsiteY207" fmla="*/ 660724 h 1016771"/>
                    <a:gd name="connsiteX208" fmla="*/ 97426 w 761692"/>
                    <a:gd name="connsiteY208" fmla="*/ 650096 h 1016771"/>
                    <a:gd name="connsiteX209" fmla="*/ 102740 w 761692"/>
                    <a:gd name="connsiteY209" fmla="*/ 635925 h 1016771"/>
                    <a:gd name="connsiteX210" fmla="*/ 113368 w 761692"/>
                    <a:gd name="connsiteY210" fmla="*/ 625297 h 1016771"/>
                    <a:gd name="connsiteX211" fmla="*/ 115139 w 761692"/>
                    <a:gd name="connsiteY211" fmla="*/ 612897 h 1016771"/>
                    <a:gd name="connsiteX212" fmla="*/ 127539 w 761692"/>
                    <a:gd name="connsiteY212" fmla="*/ 609354 h 1016771"/>
                    <a:gd name="connsiteX213" fmla="*/ 136396 w 761692"/>
                    <a:gd name="connsiteY213" fmla="*/ 604040 h 1016771"/>
                    <a:gd name="connsiteX214" fmla="*/ 132853 w 761692"/>
                    <a:gd name="connsiteY214" fmla="*/ 593412 h 1016771"/>
                    <a:gd name="connsiteX215" fmla="*/ 134625 w 761692"/>
                    <a:gd name="connsiteY215" fmla="*/ 584555 h 1016771"/>
                    <a:gd name="connsiteX216" fmla="*/ 131082 w 761692"/>
                    <a:gd name="connsiteY216" fmla="*/ 575698 h 1016771"/>
                    <a:gd name="connsiteX217" fmla="*/ 120454 w 761692"/>
                    <a:gd name="connsiteY217" fmla="*/ 568613 h 1016771"/>
                    <a:gd name="connsiteX218" fmla="*/ 125768 w 761692"/>
                    <a:gd name="connsiteY218" fmla="*/ 552670 h 1016771"/>
                    <a:gd name="connsiteX219" fmla="*/ 118682 w 761692"/>
                    <a:gd name="connsiteY219" fmla="*/ 543813 h 1016771"/>
                    <a:gd name="connsiteX220" fmla="*/ 90340 w 761692"/>
                    <a:gd name="connsiteY220" fmla="*/ 543813 h 1016771"/>
                    <a:gd name="connsiteX221" fmla="*/ 86797 w 761692"/>
                    <a:gd name="connsiteY221" fmla="*/ 542042 h 1016771"/>
                    <a:gd name="connsiteX222" fmla="*/ 83255 w 761692"/>
                    <a:gd name="connsiteY222" fmla="*/ 542042 h 1016771"/>
                    <a:gd name="connsiteX223" fmla="*/ 81483 w 761692"/>
                    <a:gd name="connsiteY223" fmla="*/ 540271 h 1016771"/>
                    <a:gd name="connsiteX224" fmla="*/ 81483 w 761692"/>
                    <a:gd name="connsiteY224" fmla="*/ 536728 h 1016771"/>
                    <a:gd name="connsiteX225" fmla="*/ 79712 w 761692"/>
                    <a:gd name="connsiteY225" fmla="*/ 531414 h 1016771"/>
                    <a:gd name="connsiteX226" fmla="*/ 77941 w 761692"/>
                    <a:gd name="connsiteY226" fmla="*/ 529642 h 1016771"/>
                    <a:gd name="connsiteX227" fmla="*/ 70855 w 761692"/>
                    <a:gd name="connsiteY227" fmla="*/ 527871 h 1016771"/>
                    <a:gd name="connsiteX228" fmla="*/ 60227 w 761692"/>
                    <a:gd name="connsiteY228" fmla="*/ 536728 h 1016771"/>
                    <a:gd name="connsiteX229" fmla="*/ 47827 w 761692"/>
                    <a:gd name="connsiteY229" fmla="*/ 526100 h 1016771"/>
                    <a:gd name="connsiteX230" fmla="*/ 42513 w 761692"/>
                    <a:gd name="connsiteY230" fmla="*/ 515471 h 1016771"/>
                    <a:gd name="connsiteX231" fmla="*/ 33656 w 761692"/>
                    <a:gd name="connsiteY231" fmla="*/ 506614 h 1016771"/>
                    <a:gd name="connsiteX232" fmla="*/ 31885 w 761692"/>
                    <a:gd name="connsiteY232" fmla="*/ 490672 h 1016771"/>
                    <a:gd name="connsiteX233" fmla="*/ 26571 w 761692"/>
                    <a:gd name="connsiteY233" fmla="*/ 476501 h 1016771"/>
                    <a:gd name="connsiteX234" fmla="*/ 24799 w 761692"/>
                    <a:gd name="connsiteY234" fmla="*/ 471187 h 1016771"/>
                    <a:gd name="connsiteX235" fmla="*/ 12400 w 761692"/>
                    <a:gd name="connsiteY235" fmla="*/ 472958 h 1016771"/>
                    <a:gd name="connsiteX236" fmla="*/ 7086 w 761692"/>
                    <a:gd name="connsiteY236" fmla="*/ 464101 h 1016771"/>
                    <a:gd name="connsiteX237" fmla="*/ 8857 w 761692"/>
                    <a:gd name="connsiteY237" fmla="*/ 446388 h 1016771"/>
                    <a:gd name="connsiteX238" fmla="*/ 3543 w 761692"/>
                    <a:gd name="connsiteY238" fmla="*/ 435759 h 1016771"/>
                    <a:gd name="connsiteX239" fmla="*/ 5314 w 761692"/>
                    <a:gd name="connsiteY239" fmla="*/ 412731 h 1016771"/>
                    <a:gd name="connsiteX240" fmla="*/ 0 w 761692"/>
                    <a:gd name="connsiteY240" fmla="*/ 396789 h 1016771"/>
                    <a:gd name="connsiteX241" fmla="*/ 3543 w 761692"/>
                    <a:gd name="connsiteY241" fmla="*/ 384389 h 1016771"/>
                    <a:gd name="connsiteX242" fmla="*/ 14171 w 761692"/>
                    <a:gd name="connsiteY242" fmla="*/ 380846 h 1016771"/>
                    <a:gd name="connsiteX243" fmla="*/ 24799 w 761692"/>
                    <a:gd name="connsiteY243" fmla="*/ 364904 h 1016771"/>
                    <a:gd name="connsiteX244" fmla="*/ 30113 w 761692"/>
                    <a:gd name="connsiteY244" fmla="*/ 350733 h 1016771"/>
                    <a:gd name="connsiteX245" fmla="*/ 35428 w 761692"/>
                    <a:gd name="connsiteY245" fmla="*/ 341876 h 1016771"/>
                    <a:gd name="connsiteX246" fmla="*/ 42513 w 761692"/>
                    <a:gd name="connsiteY246" fmla="*/ 327705 h 1016771"/>
                    <a:gd name="connsiteX247" fmla="*/ 42513 w 761692"/>
                    <a:gd name="connsiteY247" fmla="*/ 315305 h 1016771"/>
                    <a:gd name="connsiteX248" fmla="*/ 56684 w 761692"/>
                    <a:gd name="connsiteY248" fmla="*/ 309991 h 1016771"/>
                    <a:gd name="connsiteX249" fmla="*/ 60227 w 761692"/>
                    <a:gd name="connsiteY249" fmla="*/ 309991 h 1016771"/>
                    <a:gd name="connsiteX250" fmla="*/ 61998 w 761692"/>
                    <a:gd name="connsiteY250" fmla="*/ 311763 h 1016771"/>
                    <a:gd name="connsiteX251" fmla="*/ 67312 w 761692"/>
                    <a:gd name="connsiteY251" fmla="*/ 311763 h 1016771"/>
                    <a:gd name="connsiteX252" fmla="*/ 67312 w 761692"/>
                    <a:gd name="connsiteY252" fmla="*/ 309991 h 1016771"/>
                    <a:gd name="connsiteX253" fmla="*/ 67312 w 761692"/>
                    <a:gd name="connsiteY253" fmla="*/ 308220 h 1016771"/>
                    <a:gd name="connsiteX254" fmla="*/ 69084 w 761692"/>
                    <a:gd name="connsiteY254" fmla="*/ 302906 h 1016771"/>
                    <a:gd name="connsiteX255" fmla="*/ 70855 w 761692"/>
                    <a:gd name="connsiteY255" fmla="*/ 301134 h 1016771"/>
                    <a:gd name="connsiteX256" fmla="*/ 70855 w 761692"/>
                    <a:gd name="connsiteY256" fmla="*/ 299363 h 1016771"/>
                    <a:gd name="connsiteX257" fmla="*/ 77941 w 761692"/>
                    <a:gd name="connsiteY257" fmla="*/ 295820 h 1016771"/>
                    <a:gd name="connsiteX258" fmla="*/ 85026 w 761692"/>
                    <a:gd name="connsiteY258" fmla="*/ 295820 h 1016771"/>
                    <a:gd name="connsiteX259" fmla="*/ 93883 w 761692"/>
                    <a:gd name="connsiteY259" fmla="*/ 297592 h 1016771"/>
                    <a:gd name="connsiteX260" fmla="*/ 100968 w 761692"/>
                    <a:gd name="connsiteY260" fmla="*/ 288735 h 1016771"/>
                    <a:gd name="connsiteX261" fmla="*/ 97426 w 761692"/>
                    <a:gd name="connsiteY261" fmla="*/ 279878 h 1016771"/>
                    <a:gd name="connsiteX262" fmla="*/ 85026 w 761692"/>
                    <a:gd name="connsiteY262" fmla="*/ 276335 h 1016771"/>
                    <a:gd name="connsiteX263" fmla="*/ 76169 w 761692"/>
                    <a:gd name="connsiteY263" fmla="*/ 271021 h 1016771"/>
                    <a:gd name="connsiteX264" fmla="*/ 76169 w 761692"/>
                    <a:gd name="connsiteY264" fmla="*/ 262164 h 1016771"/>
                    <a:gd name="connsiteX265" fmla="*/ 81483 w 761692"/>
                    <a:gd name="connsiteY265" fmla="*/ 251536 h 1016771"/>
                    <a:gd name="connsiteX266" fmla="*/ 86797 w 761692"/>
                    <a:gd name="connsiteY266" fmla="*/ 255079 h 1016771"/>
                    <a:gd name="connsiteX267" fmla="*/ 104511 w 761692"/>
                    <a:gd name="connsiteY267" fmla="*/ 262164 h 1016771"/>
                    <a:gd name="connsiteX268" fmla="*/ 116911 w 761692"/>
                    <a:gd name="connsiteY268" fmla="*/ 265707 h 1016771"/>
                    <a:gd name="connsiteX269" fmla="*/ 132853 w 761692"/>
                    <a:gd name="connsiteY269" fmla="*/ 269250 h 1016771"/>
                    <a:gd name="connsiteX270" fmla="*/ 138167 w 761692"/>
                    <a:gd name="connsiteY270" fmla="*/ 265707 h 1016771"/>
                    <a:gd name="connsiteX271" fmla="*/ 150567 w 761692"/>
                    <a:gd name="connsiteY271" fmla="*/ 255079 h 1016771"/>
                    <a:gd name="connsiteX272" fmla="*/ 166509 w 761692"/>
                    <a:gd name="connsiteY272" fmla="*/ 255079 h 1016771"/>
                    <a:gd name="connsiteX273" fmla="*/ 166509 w 761692"/>
                    <a:gd name="connsiteY273" fmla="*/ 265707 h 1016771"/>
                    <a:gd name="connsiteX274" fmla="*/ 177138 w 761692"/>
                    <a:gd name="connsiteY274" fmla="*/ 272792 h 1016771"/>
                    <a:gd name="connsiteX275" fmla="*/ 194851 w 761692"/>
                    <a:gd name="connsiteY275" fmla="*/ 276335 h 1016771"/>
                    <a:gd name="connsiteX276" fmla="*/ 209022 w 761692"/>
                    <a:gd name="connsiteY276" fmla="*/ 279878 h 1016771"/>
                    <a:gd name="connsiteX277" fmla="*/ 221422 w 761692"/>
                    <a:gd name="connsiteY277" fmla="*/ 276335 h 1016771"/>
                    <a:gd name="connsiteX278" fmla="*/ 226736 w 761692"/>
                    <a:gd name="connsiteY278" fmla="*/ 269250 h 1016771"/>
                    <a:gd name="connsiteX279" fmla="*/ 226736 w 761692"/>
                    <a:gd name="connsiteY279" fmla="*/ 251536 h 1016771"/>
                    <a:gd name="connsiteX280" fmla="*/ 224965 w 761692"/>
                    <a:gd name="connsiteY280" fmla="*/ 239136 h 1016771"/>
                    <a:gd name="connsiteX281" fmla="*/ 214337 w 761692"/>
                    <a:gd name="connsiteY281" fmla="*/ 230279 h 1016771"/>
                    <a:gd name="connsiteX282" fmla="*/ 210794 w 761692"/>
                    <a:gd name="connsiteY282" fmla="*/ 217880 h 1016771"/>
                    <a:gd name="connsiteX283" fmla="*/ 221422 w 761692"/>
                    <a:gd name="connsiteY283" fmla="*/ 207251 h 1016771"/>
                    <a:gd name="connsiteX284" fmla="*/ 235593 w 761692"/>
                    <a:gd name="connsiteY284" fmla="*/ 214337 h 1016771"/>
                    <a:gd name="connsiteX285" fmla="*/ 246221 w 761692"/>
                    <a:gd name="connsiteY285" fmla="*/ 219651 h 1016771"/>
                    <a:gd name="connsiteX286" fmla="*/ 253307 w 761692"/>
                    <a:gd name="connsiteY286" fmla="*/ 221422 h 1016771"/>
                    <a:gd name="connsiteX287" fmla="*/ 262164 w 761692"/>
                    <a:gd name="connsiteY287" fmla="*/ 210794 h 1016771"/>
                    <a:gd name="connsiteX288" fmla="*/ 263935 w 761692"/>
                    <a:gd name="connsiteY288" fmla="*/ 201937 h 1016771"/>
                    <a:gd name="connsiteX289" fmla="*/ 274563 w 761692"/>
                    <a:gd name="connsiteY289" fmla="*/ 189538 h 1016771"/>
                    <a:gd name="connsiteX290" fmla="*/ 283420 w 761692"/>
                    <a:gd name="connsiteY290" fmla="*/ 178909 h 1016771"/>
                    <a:gd name="connsiteX291" fmla="*/ 286963 w 761692"/>
                    <a:gd name="connsiteY291" fmla="*/ 173595 h 1016771"/>
                    <a:gd name="connsiteX292" fmla="*/ 311762 w 761692"/>
                    <a:gd name="connsiteY292" fmla="*/ 168281 h 1016771"/>
                    <a:gd name="connsiteX293" fmla="*/ 325933 w 761692"/>
                    <a:gd name="connsiteY293" fmla="*/ 164738 h 1016771"/>
                    <a:gd name="connsiteX294" fmla="*/ 336562 w 761692"/>
                    <a:gd name="connsiteY294" fmla="*/ 159424 h 1016771"/>
                    <a:gd name="connsiteX295" fmla="*/ 348961 w 761692"/>
                    <a:gd name="connsiteY295" fmla="*/ 145253 h 1016771"/>
                    <a:gd name="connsiteX296" fmla="*/ 359589 w 761692"/>
                    <a:gd name="connsiteY296" fmla="*/ 143482 h 1016771"/>
                    <a:gd name="connsiteX297" fmla="*/ 371989 w 761692"/>
                    <a:gd name="connsiteY297" fmla="*/ 143482 h 1016771"/>
                    <a:gd name="connsiteX298" fmla="*/ 391474 w 761692"/>
                    <a:gd name="connsiteY298" fmla="*/ 143482 h 1016771"/>
                    <a:gd name="connsiteX299" fmla="*/ 396788 w 761692"/>
                    <a:gd name="connsiteY299" fmla="*/ 141710 h 1016771"/>
                    <a:gd name="connsiteX300" fmla="*/ 403874 w 761692"/>
                    <a:gd name="connsiteY300" fmla="*/ 134625 h 1016771"/>
                    <a:gd name="connsiteX301" fmla="*/ 409188 w 761692"/>
                    <a:gd name="connsiteY301" fmla="*/ 129311 h 1016771"/>
                    <a:gd name="connsiteX302" fmla="*/ 409188 w 761692"/>
                    <a:gd name="connsiteY302" fmla="*/ 123997 h 1016771"/>
                    <a:gd name="connsiteX303" fmla="*/ 414502 w 761692"/>
                    <a:gd name="connsiteY303" fmla="*/ 115140 h 1016771"/>
                    <a:gd name="connsiteX304" fmla="*/ 428673 w 761692"/>
                    <a:gd name="connsiteY304" fmla="*/ 115140 h 1016771"/>
                    <a:gd name="connsiteX305" fmla="*/ 432216 w 761692"/>
                    <a:gd name="connsiteY305" fmla="*/ 109826 h 1016771"/>
                    <a:gd name="connsiteX306" fmla="*/ 437530 w 761692"/>
                    <a:gd name="connsiteY306" fmla="*/ 100969 h 1016771"/>
                    <a:gd name="connsiteX307" fmla="*/ 448158 w 761692"/>
                    <a:gd name="connsiteY307" fmla="*/ 99197 h 1016771"/>
                    <a:gd name="connsiteX308" fmla="*/ 460558 w 761692"/>
                    <a:gd name="connsiteY308" fmla="*/ 97426 h 1016771"/>
                    <a:gd name="connsiteX309" fmla="*/ 472958 w 761692"/>
                    <a:gd name="connsiteY309" fmla="*/ 93883 h 1016771"/>
                    <a:gd name="connsiteX310" fmla="*/ 492443 w 761692"/>
                    <a:gd name="connsiteY310" fmla="*/ 93883 h 1016771"/>
                    <a:gd name="connsiteX311" fmla="*/ 501300 w 761692"/>
                    <a:gd name="connsiteY311" fmla="*/ 83255 h 1016771"/>
                    <a:gd name="connsiteX312" fmla="*/ 517242 w 761692"/>
                    <a:gd name="connsiteY312" fmla="*/ 81484 h 1016771"/>
                    <a:gd name="connsiteX313" fmla="*/ 522556 w 761692"/>
                    <a:gd name="connsiteY313" fmla="*/ 81484 h 1016771"/>
                    <a:gd name="connsiteX314" fmla="*/ 522556 w 761692"/>
                    <a:gd name="connsiteY314" fmla="*/ 60227 h 1016771"/>
                    <a:gd name="connsiteX315" fmla="*/ 526099 w 761692"/>
                    <a:gd name="connsiteY315" fmla="*/ 54913 h 1016771"/>
                    <a:gd name="connsiteX316" fmla="*/ 529642 w 761692"/>
                    <a:gd name="connsiteY316" fmla="*/ 46056 h 1016771"/>
                    <a:gd name="connsiteX317" fmla="*/ 538499 w 761692"/>
                    <a:gd name="connsiteY317" fmla="*/ 40742 h 1016771"/>
                    <a:gd name="connsiteX318" fmla="*/ 540270 w 761692"/>
                    <a:gd name="connsiteY318" fmla="*/ 30114 h 1016771"/>
                    <a:gd name="connsiteX319" fmla="*/ 536727 w 761692"/>
                    <a:gd name="connsiteY319" fmla="*/ 19485 h 1016771"/>
                    <a:gd name="connsiteX320" fmla="*/ 543813 w 761692"/>
                    <a:gd name="connsiteY320" fmla="*/ 5314 h 1016771"/>
                    <a:gd name="connsiteX321" fmla="*/ 554441 w 761692"/>
                    <a:gd name="connsiteY321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9645 w 761692"/>
                    <a:gd name="connsiteY9" fmla="*/ 860925 h 1016771"/>
                    <a:gd name="connsiteX10" fmla="*/ 148122 w 761692"/>
                    <a:gd name="connsiteY10" fmla="*/ 867707 h 1016771"/>
                    <a:gd name="connsiteX11" fmla="*/ 158294 w 761692"/>
                    <a:gd name="connsiteY11" fmla="*/ 879574 h 1016771"/>
                    <a:gd name="connsiteX12" fmla="*/ 175247 w 761692"/>
                    <a:gd name="connsiteY12" fmla="*/ 889746 h 1016771"/>
                    <a:gd name="connsiteX13" fmla="*/ 188810 w 761692"/>
                    <a:gd name="connsiteY13" fmla="*/ 893137 h 1016771"/>
                    <a:gd name="connsiteX14" fmla="*/ 195591 w 761692"/>
                    <a:gd name="connsiteY14" fmla="*/ 893137 h 1016771"/>
                    <a:gd name="connsiteX15" fmla="*/ 202372 w 761692"/>
                    <a:gd name="connsiteY15" fmla="*/ 886355 h 1016771"/>
                    <a:gd name="connsiteX16" fmla="*/ 200677 w 761692"/>
                    <a:gd name="connsiteY16" fmla="*/ 877879 h 1016771"/>
                    <a:gd name="connsiteX17" fmla="*/ 209154 w 761692"/>
                    <a:gd name="connsiteY17" fmla="*/ 874488 h 1016771"/>
                    <a:gd name="connsiteX18" fmla="*/ 189537 w 761692"/>
                    <a:gd name="connsiteY18" fmla="*/ 894546 h 1016771"/>
                    <a:gd name="connsiteX19" fmla="*/ 175366 w 761692"/>
                    <a:gd name="connsiteY19" fmla="*/ 891003 h 1016771"/>
                    <a:gd name="connsiteX20" fmla="*/ 157653 w 761692"/>
                    <a:gd name="connsiteY20" fmla="*/ 880375 h 1016771"/>
                    <a:gd name="connsiteX21" fmla="*/ 147024 w 761692"/>
                    <a:gd name="connsiteY21" fmla="*/ 867975 h 1016771"/>
                    <a:gd name="connsiteX22" fmla="*/ 138167 w 761692"/>
                    <a:gd name="connsiteY22" fmla="*/ 860890 h 1016771"/>
                    <a:gd name="connsiteX23" fmla="*/ 138167 w 761692"/>
                    <a:gd name="connsiteY23" fmla="*/ 852033 h 1016771"/>
                    <a:gd name="connsiteX24" fmla="*/ 139939 w 761692"/>
                    <a:gd name="connsiteY24" fmla="*/ 850262 h 1016771"/>
                    <a:gd name="connsiteX25" fmla="*/ 139939 w 761692"/>
                    <a:gd name="connsiteY25" fmla="*/ 848490 h 1016771"/>
                    <a:gd name="connsiteX26" fmla="*/ 145253 w 761692"/>
                    <a:gd name="connsiteY26" fmla="*/ 843176 h 1016771"/>
                    <a:gd name="connsiteX27" fmla="*/ 147024 w 761692"/>
                    <a:gd name="connsiteY27" fmla="*/ 841405 h 1016771"/>
                    <a:gd name="connsiteX28" fmla="*/ 148796 w 761692"/>
                    <a:gd name="connsiteY28" fmla="*/ 839633 h 1016771"/>
                    <a:gd name="connsiteX29" fmla="*/ 150567 w 761692"/>
                    <a:gd name="connsiteY29" fmla="*/ 837862 h 1016771"/>
                    <a:gd name="connsiteX30" fmla="*/ 159250 w 761692"/>
                    <a:gd name="connsiteY30" fmla="*/ 829179 h 1016771"/>
                    <a:gd name="connsiteX31" fmla="*/ 116476 w 761692"/>
                    <a:gd name="connsiteY31" fmla="*/ 741349 h 1016771"/>
                    <a:gd name="connsiteX32" fmla="*/ 117606 w 761692"/>
                    <a:gd name="connsiteY32" fmla="*/ 742253 h 1016771"/>
                    <a:gd name="connsiteX33" fmla="*/ 122692 w 761692"/>
                    <a:gd name="connsiteY33" fmla="*/ 759206 h 1016771"/>
                    <a:gd name="connsiteX34" fmla="*/ 126082 w 761692"/>
                    <a:gd name="connsiteY34" fmla="*/ 771073 h 1016771"/>
                    <a:gd name="connsiteX35" fmla="*/ 129473 w 761692"/>
                    <a:gd name="connsiteY35" fmla="*/ 782940 h 1016771"/>
                    <a:gd name="connsiteX36" fmla="*/ 132864 w 761692"/>
                    <a:gd name="connsiteY36" fmla="*/ 793112 h 1016771"/>
                    <a:gd name="connsiteX37" fmla="*/ 136254 w 761692"/>
                    <a:gd name="connsiteY37" fmla="*/ 810066 h 1016771"/>
                    <a:gd name="connsiteX38" fmla="*/ 139058 w 761692"/>
                    <a:gd name="connsiteY38" fmla="*/ 818476 h 1016771"/>
                    <a:gd name="connsiteX39" fmla="*/ 138167 w 761692"/>
                    <a:gd name="connsiteY39" fmla="*/ 818377 h 1016771"/>
                    <a:gd name="connsiteX40" fmla="*/ 134625 w 761692"/>
                    <a:gd name="connsiteY40" fmla="*/ 807749 h 1016771"/>
                    <a:gd name="connsiteX41" fmla="*/ 131082 w 761692"/>
                    <a:gd name="connsiteY41" fmla="*/ 790035 h 1016771"/>
                    <a:gd name="connsiteX42" fmla="*/ 127539 w 761692"/>
                    <a:gd name="connsiteY42" fmla="*/ 779407 h 1016771"/>
                    <a:gd name="connsiteX43" fmla="*/ 123996 w 761692"/>
                    <a:gd name="connsiteY43" fmla="*/ 767007 h 1016771"/>
                    <a:gd name="connsiteX44" fmla="*/ 120454 w 761692"/>
                    <a:gd name="connsiteY44" fmla="*/ 754607 h 1016771"/>
                    <a:gd name="connsiteX45" fmla="*/ 116476 w 761692"/>
                    <a:gd name="connsiteY45" fmla="*/ 741349 h 1016771"/>
                    <a:gd name="connsiteX46" fmla="*/ 554441 w 761692"/>
                    <a:gd name="connsiteY46" fmla="*/ 0 h 1016771"/>
                    <a:gd name="connsiteX47" fmla="*/ 570383 w 761692"/>
                    <a:gd name="connsiteY47" fmla="*/ 3543 h 1016771"/>
                    <a:gd name="connsiteX48" fmla="*/ 577469 w 761692"/>
                    <a:gd name="connsiteY48" fmla="*/ 8857 h 1016771"/>
                    <a:gd name="connsiteX49" fmla="*/ 582783 w 761692"/>
                    <a:gd name="connsiteY49" fmla="*/ 17714 h 1016771"/>
                    <a:gd name="connsiteX50" fmla="*/ 582783 w 761692"/>
                    <a:gd name="connsiteY50" fmla="*/ 24799 h 1016771"/>
                    <a:gd name="connsiteX51" fmla="*/ 588097 w 761692"/>
                    <a:gd name="connsiteY51" fmla="*/ 33656 h 1016771"/>
                    <a:gd name="connsiteX52" fmla="*/ 598725 w 761692"/>
                    <a:gd name="connsiteY52" fmla="*/ 31885 h 1016771"/>
                    <a:gd name="connsiteX53" fmla="*/ 612896 w 761692"/>
                    <a:gd name="connsiteY53" fmla="*/ 37199 h 1016771"/>
                    <a:gd name="connsiteX54" fmla="*/ 618211 w 761692"/>
                    <a:gd name="connsiteY54" fmla="*/ 46056 h 1016771"/>
                    <a:gd name="connsiteX55" fmla="*/ 619982 w 761692"/>
                    <a:gd name="connsiteY55" fmla="*/ 54913 h 1016771"/>
                    <a:gd name="connsiteX56" fmla="*/ 618211 w 761692"/>
                    <a:gd name="connsiteY56" fmla="*/ 74398 h 1016771"/>
                    <a:gd name="connsiteX57" fmla="*/ 616439 w 761692"/>
                    <a:gd name="connsiteY57" fmla="*/ 85026 h 1016771"/>
                    <a:gd name="connsiteX58" fmla="*/ 621753 w 761692"/>
                    <a:gd name="connsiteY58" fmla="*/ 97426 h 1016771"/>
                    <a:gd name="connsiteX59" fmla="*/ 637696 w 761692"/>
                    <a:gd name="connsiteY59" fmla="*/ 113368 h 1016771"/>
                    <a:gd name="connsiteX60" fmla="*/ 644781 w 761692"/>
                    <a:gd name="connsiteY60" fmla="*/ 120454 h 1016771"/>
                    <a:gd name="connsiteX61" fmla="*/ 650095 w 761692"/>
                    <a:gd name="connsiteY61" fmla="*/ 136396 h 1016771"/>
                    <a:gd name="connsiteX62" fmla="*/ 655409 w 761692"/>
                    <a:gd name="connsiteY62" fmla="*/ 155881 h 1016771"/>
                    <a:gd name="connsiteX63" fmla="*/ 662495 w 761692"/>
                    <a:gd name="connsiteY63" fmla="*/ 171824 h 1016771"/>
                    <a:gd name="connsiteX64" fmla="*/ 660724 w 761692"/>
                    <a:gd name="connsiteY64" fmla="*/ 185995 h 1016771"/>
                    <a:gd name="connsiteX65" fmla="*/ 635924 w 761692"/>
                    <a:gd name="connsiteY65" fmla="*/ 194852 h 1016771"/>
                    <a:gd name="connsiteX66" fmla="*/ 619982 w 761692"/>
                    <a:gd name="connsiteY66" fmla="*/ 207251 h 1016771"/>
                    <a:gd name="connsiteX67" fmla="*/ 614668 w 761692"/>
                    <a:gd name="connsiteY67" fmla="*/ 223194 h 1016771"/>
                    <a:gd name="connsiteX68" fmla="*/ 618211 w 761692"/>
                    <a:gd name="connsiteY68" fmla="*/ 242679 h 1016771"/>
                    <a:gd name="connsiteX69" fmla="*/ 612896 w 761692"/>
                    <a:gd name="connsiteY69" fmla="*/ 256850 h 1016771"/>
                    <a:gd name="connsiteX70" fmla="*/ 625296 w 761692"/>
                    <a:gd name="connsiteY70" fmla="*/ 267478 h 1016771"/>
                    <a:gd name="connsiteX71" fmla="*/ 641238 w 761692"/>
                    <a:gd name="connsiteY71" fmla="*/ 269250 h 1016771"/>
                    <a:gd name="connsiteX72" fmla="*/ 658952 w 761692"/>
                    <a:gd name="connsiteY72" fmla="*/ 286963 h 1016771"/>
                    <a:gd name="connsiteX73" fmla="*/ 653638 w 761692"/>
                    <a:gd name="connsiteY73" fmla="*/ 309991 h 1016771"/>
                    <a:gd name="connsiteX74" fmla="*/ 653638 w 761692"/>
                    <a:gd name="connsiteY74" fmla="*/ 329476 h 1016771"/>
                    <a:gd name="connsiteX75" fmla="*/ 643010 w 761692"/>
                    <a:gd name="connsiteY75" fmla="*/ 338333 h 1016771"/>
                    <a:gd name="connsiteX76" fmla="*/ 632382 w 761692"/>
                    <a:gd name="connsiteY76" fmla="*/ 338333 h 1016771"/>
                    <a:gd name="connsiteX77" fmla="*/ 618211 w 761692"/>
                    <a:gd name="connsiteY77" fmla="*/ 357819 h 1016771"/>
                    <a:gd name="connsiteX78" fmla="*/ 609354 w 761692"/>
                    <a:gd name="connsiteY78" fmla="*/ 361361 h 1016771"/>
                    <a:gd name="connsiteX79" fmla="*/ 596954 w 761692"/>
                    <a:gd name="connsiteY79" fmla="*/ 363133 h 1016771"/>
                    <a:gd name="connsiteX80" fmla="*/ 581012 w 761692"/>
                    <a:gd name="connsiteY80" fmla="*/ 379075 h 1016771"/>
                    <a:gd name="connsiteX81" fmla="*/ 589868 w 761692"/>
                    <a:gd name="connsiteY81" fmla="*/ 393246 h 1016771"/>
                    <a:gd name="connsiteX82" fmla="*/ 586326 w 761692"/>
                    <a:gd name="connsiteY82" fmla="*/ 409189 h 1016771"/>
                    <a:gd name="connsiteX83" fmla="*/ 570383 w 761692"/>
                    <a:gd name="connsiteY83" fmla="*/ 398560 h 1016771"/>
                    <a:gd name="connsiteX84" fmla="*/ 550898 w 761692"/>
                    <a:gd name="connsiteY84" fmla="*/ 405646 h 1016771"/>
                    <a:gd name="connsiteX85" fmla="*/ 531413 w 761692"/>
                    <a:gd name="connsiteY85" fmla="*/ 425131 h 1016771"/>
                    <a:gd name="connsiteX86" fmla="*/ 543813 w 761692"/>
                    <a:gd name="connsiteY86" fmla="*/ 444616 h 1016771"/>
                    <a:gd name="connsiteX87" fmla="*/ 557984 w 761692"/>
                    <a:gd name="connsiteY87" fmla="*/ 462330 h 1016771"/>
                    <a:gd name="connsiteX88" fmla="*/ 570383 w 761692"/>
                    <a:gd name="connsiteY88" fmla="*/ 478272 h 1016771"/>
                    <a:gd name="connsiteX89" fmla="*/ 579240 w 761692"/>
                    <a:gd name="connsiteY89" fmla="*/ 485358 h 1016771"/>
                    <a:gd name="connsiteX90" fmla="*/ 602268 w 761692"/>
                    <a:gd name="connsiteY90" fmla="*/ 483586 h 1016771"/>
                    <a:gd name="connsiteX91" fmla="*/ 623525 w 761692"/>
                    <a:gd name="connsiteY91" fmla="*/ 474730 h 1016771"/>
                    <a:gd name="connsiteX92" fmla="*/ 639467 w 761692"/>
                    <a:gd name="connsiteY92" fmla="*/ 464101 h 1016771"/>
                    <a:gd name="connsiteX93" fmla="*/ 662495 w 761692"/>
                    <a:gd name="connsiteY93" fmla="*/ 464101 h 1016771"/>
                    <a:gd name="connsiteX94" fmla="*/ 673123 w 761692"/>
                    <a:gd name="connsiteY94" fmla="*/ 464101 h 1016771"/>
                    <a:gd name="connsiteX95" fmla="*/ 681980 w 761692"/>
                    <a:gd name="connsiteY95" fmla="*/ 467644 h 1016771"/>
                    <a:gd name="connsiteX96" fmla="*/ 703237 w 761692"/>
                    <a:gd name="connsiteY96" fmla="*/ 471187 h 1016771"/>
                    <a:gd name="connsiteX97" fmla="*/ 708551 w 761692"/>
                    <a:gd name="connsiteY97" fmla="*/ 474730 h 1016771"/>
                    <a:gd name="connsiteX98" fmla="*/ 722722 w 761692"/>
                    <a:gd name="connsiteY98" fmla="*/ 501300 h 1016771"/>
                    <a:gd name="connsiteX99" fmla="*/ 724493 w 761692"/>
                    <a:gd name="connsiteY99" fmla="*/ 522557 h 1016771"/>
                    <a:gd name="connsiteX100" fmla="*/ 722722 w 761692"/>
                    <a:gd name="connsiteY100" fmla="*/ 540271 h 1016771"/>
                    <a:gd name="connsiteX101" fmla="*/ 735121 w 761692"/>
                    <a:gd name="connsiteY101" fmla="*/ 552670 h 1016771"/>
                    <a:gd name="connsiteX102" fmla="*/ 735121 w 761692"/>
                    <a:gd name="connsiteY102" fmla="*/ 570384 h 1016771"/>
                    <a:gd name="connsiteX103" fmla="*/ 751064 w 761692"/>
                    <a:gd name="connsiteY103" fmla="*/ 581012 h 1016771"/>
                    <a:gd name="connsiteX104" fmla="*/ 761692 w 761692"/>
                    <a:gd name="connsiteY104" fmla="*/ 604040 h 1016771"/>
                    <a:gd name="connsiteX105" fmla="*/ 747521 w 761692"/>
                    <a:gd name="connsiteY105" fmla="*/ 616440 h 1016771"/>
                    <a:gd name="connsiteX106" fmla="*/ 728036 w 761692"/>
                    <a:gd name="connsiteY106" fmla="*/ 627068 h 1016771"/>
                    <a:gd name="connsiteX107" fmla="*/ 726264 w 761692"/>
                    <a:gd name="connsiteY107" fmla="*/ 650096 h 1016771"/>
                    <a:gd name="connsiteX108" fmla="*/ 728036 w 761692"/>
                    <a:gd name="connsiteY108" fmla="*/ 673124 h 1016771"/>
                    <a:gd name="connsiteX109" fmla="*/ 742207 w 761692"/>
                    <a:gd name="connsiteY109" fmla="*/ 689066 h 1016771"/>
                    <a:gd name="connsiteX110" fmla="*/ 742207 w 761692"/>
                    <a:gd name="connsiteY110" fmla="*/ 712094 h 1016771"/>
                    <a:gd name="connsiteX111" fmla="*/ 740435 w 761692"/>
                    <a:gd name="connsiteY111" fmla="*/ 735122 h 1016771"/>
                    <a:gd name="connsiteX112" fmla="*/ 742207 w 761692"/>
                    <a:gd name="connsiteY112" fmla="*/ 751065 h 1016771"/>
                    <a:gd name="connsiteX113" fmla="*/ 747521 w 761692"/>
                    <a:gd name="connsiteY113" fmla="*/ 768778 h 1016771"/>
                    <a:gd name="connsiteX114" fmla="*/ 759921 w 761692"/>
                    <a:gd name="connsiteY114" fmla="*/ 777635 h 1016771"/>
                    <a:gd name="connsiteX115" fmla="*/ 758149 w 761692"/>
                    <a:gd name="connsiteY115" fmla="*/ 802434 h 1016771"/>
                    <a:gd name="connsiteX116" fmla="*/ 752835 w 761692"/>
                    <a:gd name="connsiteY116" fmla="*/ 814834 h 1016771"/>
                    <a:gd name="connsiteX117" fmla="*/ 743978 w 761692"/>
                    <a:gd name="connsiteY117" fmla="*/ 827234 h 1016771"/>
                    <a:gd name="connsiteX118" fmla="*/ 743978 w 761692"/>
                    <a:gd name="connsiteY118" fmla="*/ 837862 h 1016771"/>
                    <a:gd name="connsiteX119" fmla="*/ 747521 w 761692"/>
                    <a:gd name="connsiteY119" fmla="*/ 853804 h 1016771"/>
                    <a:gd name="connsiteX120" fmla="*/ 733350 w 761692"/>
                    <a:gd name="connsiteY120" fmla="*/ 867975 h 1016771"/>
                    <a:gd name="connsiteX121" fmla="*/ 724493 w 761692"/>
                    <a:gd name="connsiteY121" fmla="*/ 880375 h 1016771"/>
                    <a:gd name="connsiteX122" fmla="*/ 722722 w 761692"/>
                    <a:gd name="connsiteY122" fmla="*/ 899860 h 1016771"/>
                    <a:gd name="connsiteX123" fmla="*/ 722722 w 761692"/>
                    <a:gd name="connsiteY123" fmla="*/ 919345 h 1016771"/>
                    <a:gd name="connsiteX124" fmla="*/ 715636 w 761692"/>
                    <a:gd name="connsiteY124" fmla="*/ 940602 h 1016771"/>
                    <a:gd name="connsiteX125" fmla="*/ 708551 w 761692"/>
                    <a:gd name="connsiteY125" fmla="*/ 954773 h 1016771"/>
                    <a:gd name="connsiteX126" fmla="*/ 699694 w 761692"/>
                    <a:gd name="connsiteY126" fmla="*/ 965401 h 1016771"/>
                    <a:gd name="connsiteX127" fmla="*/ 692608 w 761692"/>
                    <a:gd name="connsiteY127" fmla="*/ 984886 h 1016771"/>
                    <a:gd name="connsiteX128" fmla="*/ 683751 w 761692"/>
                    <a:gd name="connsiteY128" fmla="*/ 997286 h 1016771"/>
                    <a:gd name="connsiteX129" fmla="*/ 673123 w 761692"/>
                    <a:gd name="connsiteY129" fmla="*/ 1002600 h 1016771"/>
                    <a:gd name="connsiteX130" fmla="*/ 662495 w 761692"/>
                    <a:gd name="connsiteY130" fmla="*/ 1013228 h 1016771"/>
                    <a:gd name="connsiteX131" fmla="*/ 644781 w 761692"/>
                    <a:gd name="connsiteY131" fmla="*/ 1016771 h 1016771"/>
                    <a:gd name="connsiteX132" fmla="*/ 635924 w 761692"/>
                    <a:gd name="connsiteY132" fmla="*/ 1004372 h 1016771"/>
                    <a:gd name="connsiteX133" fmla="*/ 623525 w 761692"/>
                    <a:gd name="connsiteY133" fmla="*/ 997286 h 1016771"/>
                    <a:gd name="connsiteX134" fmla="*/ 614668 w 761692"/>
                    <a:gd name="connsiteY134" fmla="*/ 986658 h 1016771"/>
                    <a:gd name="connsiteX135" fmla="*/ 593411 w 761692"/>
                    <a:gd name="connsiteY135" fmla="*/ 970715 h 1016771"/>
                    <a:gd name="connsiteX136" fmla="*/ 582783 w 761692"/>
                    <a:gd name="connsiteY136" fmla="*/ 965401 h 1016771"/>
                    <a:gd name="connsiteX137" fmla="*/ 531413 w 761692"/>
                    <a:gd name="connsiteY137" fmla="*/ 965401 h 1016771"/>
                    <a:gd name="connsiteX138" fmla="*/ 511928 w 761692"/>
                    <a:gd name="connsiteY138" fmla="*/ 965401 h 1016771"/>
                    <a:gd name="connsiteX139" fmla="*/ 492443 w 761692"/>
                    <a:gd name="connsiteY139" fmla="*/ 963630 h 1016771"/>
                    <a:gd name="connsiteX140" fmla="*/ 483586 w 761692"/>
                    <a:gd name="connsiteY140" fmla="*/ 958316 h 1016771"/>
                    <a:gd name="connsiteX141" fmla="*/ 469415 w 761692"/>
                    <a:gd name="connsiteY141" fmla="*/ 954773 h 1016771"/>
                    <a:gd name="connsiteX142" fmla="*/ 460558 w 761692"/>
                    <a:gd name="connsiteY142" fmla="*/ 942373 h 1016771"/>
                    <a:gd name="connsiteX143" fmla="*/ 446387 w 761692"/>
                    <a:gd name="connsiteY143" fmla="*/ 935288 h 1016771"/>
                    <a:gd name="connsiteX144" fmla="*/ 428673 w 761692"/>
                    <a:gd name="connsiteY144" fmla="*/ 928202 h 1016771"/>
                    <a:gd name="connsiteX145" fmla="*/ 418045 w 761692"/>
                    <a:gd name="connsiteY145" fmla="*/ 917574 h 1016771"/>
                    <a:gd name="connsiteX146" fmla="*/ 421588 w 761692"/>
                    <a:gd name="connsiteY146" fmla="*/ 903403 h 1016771"/>
                    <a:gd name="connsiteX147" fmla="*/ 418045 w 761692"/>
                    <a:gd name="connsiteY147" fmla="*/ 898089 h 1016771"/>
                    <a:gd name="connsiteX148" fmla="*/ 396788 w 761692"/>
                    <a:gd name="connsiteY148" fmla="*/ 898089 h 1016771"/>
                    <a:gd name="connsiteX149" fmla="*/ 382617 w 761692"/>
                    <a:gd name="connsiteY149" fmla="*/ 896318 h 1016771"/>
                    <a:gd name="connsiteX150" fmla="*/ 380846 w 761692"/>
                    <a:gd name="connsiteY150" fmla="*/ 906946 h 1016771"/>
                    <a:gd name="connsiteX151" fmla="*/ 373601 w 761692"/>
                    <a:gd name="connsiteY151" fmla="*/ 894832 h 1016771"/>
                    <a:gd name="connsiteX152" fmla="*/ 387164 w 761692"/>
                    <a:gd name="connsiteY152" fmla="*/ 896527 h 1016771"/>
                    <a:gd name="connsiteX153" fmla="*/ 383773 w 761692"/>
                    <a:gd name="connsiteY153" fmla="*/ 886355 h 1016771"/>
                    <a:gd name="connsiteX154" fmla="*/ 387164 w 761692"/>
                    <a:gd name="connsiteY154" fmla="*/ 876183 h 1016771"/>
                    <a:gd name="connsiteX155" fmla="*/ 388859 w 761692"/>
                    <a:gd name="connsiteY155" fmla="*/ 867707 h 1016771"/>
                    <a:gd name="connsiteX156" fmla="*/ 380382 w 761692"/>
                    <a:gd name="connsiteY156" fmla="*/ 859230 h 1016771"/>
                    <a:gd name="connsiteX157" fmla="*/ 373601 w 761692"/>
                    <a:gd name="connsiteY157" fmla="*/ 849058 h 1016771"/>
                    <a:gd name="connsiteX158" fmla="*/ 380382 w 761692"/>
                    <a:gd name="connsiteY158" fmla="*/ 838886 h 1016771"/>
                    <a:gd name="connsiteX159" fmla="*/ 383773 w 761692"/>
                    <a:gd name="connsiteY159" fmla="*/ 833800 h 1016771"/>
                    <a:gd name="connsiteX160" fmla="*/ 388859 w 761692"/>
                    <a:gd name="connsiteY160" fmla="*/ 825324 h 1016771"/>
                    <a:gd name="connsiteX161" fmla="*/ 387164 w 761692"/>
                    <a:gd name="connsiteY161" fmla="*/ 810066 h 1016771"/>
                    <a:gd name="connsiteX162" fmla="*/ 387164 w 761692"/>
                    <a:gd name="connsiteY162" fmla="*/ 796503 h 1016771"/>
                    <a:gd name="connsiteX163" fmla="*/ 378687 w 761692"/>
                    <a:gd name="connsiteY163" fmla="*/ 789722 h 1016771"/>
                    <a:gd name="connsiteX164" fmla="*/ 366820 w 761692"/>
                    <a:gd name="connsiteY164" fmla="*/ 782940 h 1016771"/>
                    <a:gd name="connsiteX165" fmla="*/ 356648 w 761692"/>
                    <a:gd name="connsiteY165" fmla="*/ 781245 h 1016771"/>
                    <a:gd name="connsiteX166" fmla="*/ 349866 w 761692"/>
                    <a:gd name="connsiteY166" fmla="*/ 771073 h 1016771"/>
                    <a:gd name="connsiteX167" fmla="*/ 349866 w 761692"/>
                    <a:gd name="connsiteY167" fmla="*/ 752425 h 1016771"/>
                    <a:gd name="connsiteX168" fmla="*/ 353257 w 761692"/>
                    <a:gd name="connsiteY168" fmla="*/ 743948 h 1016771"/>
                    <a:gd name="connsiteX169" fmla="*/ 354952 w 761692"/>
                    <a:gd name="connsiteY169" fmla="*/ 730385 h 1016771"/>
                    <a:gd name="connsiteX170" fmla="*/ 353257 w 761692"/>
                    <a:gd name="connsiteY170" fmla="*/ 713432 h 1016771"/>
                    <a:gd name="connsiteX171" fmla="*/ 346476 w 761692"/>
                    <a:gd name="connsiteY171" fmla="*/ 701565 h 1016771"/>
                    <a:gd name="connsiteX172" fmla="*/ 332913 w 761692"/>
                    <a:gd name="connsiteY172" fmla="*/ 689697 h 1016771"/>
                    <a:gd name="connsiteX173" fmla="*/ 324436 w 761692"/>
                    <a:gd name="connsiteY173" fmla="*/ 681221 h 1016771"/>
                    <a:gd name="connsiteX174" fmla="*/ 314264 w 761692"/>
                    <a:gd name="connsiteY174" fmla="*/ 676135 h 1016771"/>
                    <a:gd name="connsiteX175" fmla="*/ 293920 w 761692"/>
                    <a:gd name="connsiteY175" fmla="*/ 669354 h 1016771"/>
                    <a:gd name="connsiteX176" fmla="*/ 282053 w 761692"/>
                    <a:gd name="connsiteY176" fmla="*/ 667658 h 1016771"/>
                    <a:gd name="connsiteX177" fmla="*/ 266795 w 761692"/>
                    <a:gd name="connsiteY177" fmla="*/ 672744 h 1016771"/>
                    <a:gd name="connsiteX178" fmla="*/ 265100 w 761692"/>
                    <a:gd name="connsiteY178" fmla="*/ 672744 h 1016771"/>
                    <a:gd name="connsiteX179" fmla="*/ 263404 w 761692"/>
                    <a:gd name="connsiteY179" fmla="*/ 671049 h 1016771"/>
                    <a:gd name="connsiteX180" fmla="*/ 260014 w 761692"/>
                    <a:gd name="connsiteY180" fmla="*/ 671049 h 1016771"/>
                    <a:gd name="connsiteX181" fmla="*/ 258318 w 761692"/>
                    <a:gd name="connsiteY181" fmla="*/ 671049 h 1016771"/>
                    <a:gd name="connsiteX182" fmla="*/ 253232 w 761692"/>
                    <a:gd name="connsiteY182" fmla="*/ 671049 h 1016771"/>
                    <a:gd name="connsiteX183" fmla="*/ 248146 w 761692"/>
                    <a:gd name="connsiteY183" fmla="*/ 672744 h 1016771"/>
                    <a:gd name="connsiteX184" fmla="*/ 248146 w 761692"/>
                    <a:gd name="connsiteY184" fmla="*/ 674440 h 1016771"/>
                    <a:gd name="connsiteX185" fmla="*/ 246451 w 761692"/>
                    <a:gd name="connsiteY185" fmla="*/ 674440 h 1016771"/>
                    <a:gd name="connsiteX186" fmla="*/ 236279 w 761692"/>
                    <a:gd name="connsiteY186" fmla="*/ 679526 h 1016771"/>
                    <a:gd name="connsiteX187" fmla="*/ 226107 w 761692"/>
                    <a:gd name="connsiteY187" fmla="*/ 684612 h 1016771"/>
                    <a:gd name="connsiteX188" fmla="*/ 217630 w 761692"/>
                    <a:gd name="connsiteY188" fmla="*/ 684612 h 1016771"/>
                    <a:gd name="connsiteX189" fmla="*/ 207458 w 761692"/>
                    <a:gd name="connsiteY189" fmla="*/ 693088 h 1016771"/>
                    <a:gd name="connsiteX190" fmla="*/ 198982 w 761692"/>
                    <a:gd name="connsiteY190" fmla="*/ 694783 h 1016771"/>
                    <a:gd name="connsiteX191" fmla="*/ 192200 w 761692"/>
                    <a:gd name="connsiteY191" fmla="*/ 699869 h 1016771"/>
                    <a:gd name="connsiteX192" fmla="*/ 178638 w 761692"/>
                    <a:gd name="connsiteY192" fmla="*/ 706651 h 1016771"/>
                    <a:gd name="connsiteX193" fmla="*/ 163380 w 761692"/>
                    <a:gd name="connsiteY193" fmla="*/ 710041 h 1016771"/>
                    <a:gd name="connsiteX194" fmla="*/ 141340 w 761692"/>
                    <a:gd name="connsiteY194" fmla="*/ 710041 h 1016771"/>
                    <a:gd name="connsiteX195" fmla="*/ 134559 w 761692"/>
                    <a:gd name="connsiteY195" fmla="*/ 716823 h 1016771"/>
                    <a:gd name="connsiteX196" fmla="*/ 127778 w 761692"/>
                    <a:gd name="connsiteY196" fmla="*/ 718518 h 1016771"/>
                    <a:gd name="connsiteX197" fmla="*/ 120996 w 761692"/>
                    <a:gd name="connsiteY197" fmla="*/ 725299 h 1016771"/>
                    <a:gd name="connsiteX198" fmla="*/ 111172 w 761692"/>
                    <a:gd name="connsiteY198" fmla="*/ 733720 h 1016771"/>
                    <a:gd name="connsiteX199" fmla="*/ 106283 w 761692"/>
                    <a:gd name="connsiteY199" fmla="*/ 729808 h 1016771"/>
                    <a:gd name="connsiteX200" fmla="*/ 92112 w 761692"/>
                    <a:gd name="connsiteY200" fmla="*/ 724494 h 1016771"/>
                    <a:gd name="connsiteX201" fmla="*/ 77941 w 761692"/>
                    <a:gd name="connsiteY201" fmla="*/ 726265 h 1016771"/>
                    <a:gd name="connsiteX202" fmla="*/ 70855 w 761692"/>
                    <a:gd name="connsiteY202" fmla="*/ 719180 h 1016771"/>
                    <a:gd name="connsiteX203" fmla="*/ 70855 w 761692"/>
                    <a:gd name="connsiteY203" fmla="*/ 699695 h 1016771"/>
                    <a:gd name="connsiteX204" fmla="*/ 81483 w 761692"/>
                    <a:gd name="connsiteY204" fmla="*/ 685524 h 1016771"/>
                    <a:gd name="connsiteX205" fmla="*/ 85026 w 761692"/>
                    <a:gd name="connsiteY205" fmla="*/ 673124 h 1016771"/>
                    <a:gd name="connsiteX206" fmla="*/ 86797 w 761692"/>
                    <a:gd name="connsiteY206" fmla="*/ 660724 h 1016771"/>
                    <a:gd name="connsiteX207" fmla="*/ 97426 w 761692"/>
                    <a:gd name="connsiteY207" fmla="*/ 650096 h 1016771"/>
                    <a:gd name="connsiteX208" fmla="*/ 102740 w 761692"/>
                    <a:gd name="connsiteY208" fmla="*/ 635925 h 1016771"/>
                    <a:gd name="connsiteX209" fmla="*/ 113368 w 761692"/>
                    <a:gd name="connsiteY209" fmla="*/ 625297 h 1016771"/>
                    <a:gd name="connsiteX210" fmla="*/ 115139 w 761692"/>
                    <a:gd name="connsiteY210" fmla="*/ 612897 h 1016771"/>
                    <a:gd name="connsiteX211" fmla="*/ 127539 w 761692"/>
                    <a:gd name="connsiteY211" fmla="*/ 609354 h 1016771"/>
                    <a:gd name="connsiteX212" fmla="*/ 136396 w 761692"/>
                    <a:gd name="connsiteY212" fmla="*/ 604040 h 1016771"/>
                    <a:gd name="connsiteX213" fmla="*/ 132853 w 761692"/>
                    <a:gd name="connsiteY213" fmla="*/ 593412 h 1016771"/>
                    <a:gd name="connsiteX214" fmla="*/ 134625 w 761692"/>
                    <a:gd name="connsiteY214" fmla="*/ 584555 h 1016771"/>
                    <a:gd name="connsiteX215" fmla="*/ 131082 w 761692"/>
                    <a:gd name="connsiteY215" fmla="*/ 575698 h 1016771"/>
                    <a:gd name="connsiteX216" fmla="*/ 120454 w 761692"/>
                    <a:gd name="connsiteY216" fmla="*/ 568613 h 1016771"/>
                    <a:gd name="connsiteX217" fmla="*/ 125768 w 761692"/>
                    <a:gd name="connsiteY217" fmla="*/ 552670 h 1016771"/>
                    <a:gd name="connsiteX218" fmla="*/ 118682 w 761692"/>
                    <a:gd name="connsiteY218" fmla="*/ 543813 h 1016771"/>
                    <a:gd name="connsiteX219" fmla="*/ 90340 w 761692"/>
                    <a:gd name="connsiteY219" fmla="*/ 543813 h 1016771"/>
                    <a:gd name="connsiteX220" fmla="*/ 86797 w 761692"/>
                    <a:gd name="connsiteY220" fmla="*/ 542042 h 1016771"/>
                    <a:gd name="connsiteX221" fmla="*/ 83255 w 761692"/>
                    <a:gd name="connsiteY221" fmla="*/ 542042 h 1016771"/>
                    <a:gd name="connsiteX222" fmla="*/ 81483 w 761692"/>
                    <a:gd name="connsiteY222" fmla="*/ 540271 h 1016771"/>
                    <a:gd name="connsiteX223" fmla="*/ 81483 w 761692"/>
                    <a:gd name="connsiteY223" fmla="*/ 536728 h 1016771"/>
                    <a:gd name="connsiteX224" fmla="*/ 79712 w 761692"/>
                    <a:gd name="connsiteY224" fmla="*/ 531414 h 1016771"/>
                    <a:gd name="connsiteX225" fmla="*/ 77941 w 761692"/>
                    <a:gd name="connsiteY225" fmla="*/ 529642 h 1016771"/>
                    <a:gd name="connsiteX226" fmla="*/ 70855 w 761692"/>
                    <a:gd name="connsiteY226" fmla="*/ 527871 h 1016771"/>
                    <a:gd name="connsiteX227" fmla="*/ 60227 w 761692"/>
                    <a:gd name="connsiteY227" fmla="*/ 536728 h 1016771"/>
                    <a:gd name="connsiteX228" fmla="*/ 47827 w 761692"/>
                    <a:gd name="connsiteY228" fmla="*/ 526100 h 1016771"/>
                    <a:gd name="connsiteX229" fmla="*/ 42513 w 761692"/>
                    <a:gd name="connsiteY229" fmla="*/ 515471 h 1016771"/>
                    <a:gd name="connsiteX230" fmla="*/ 33656 w 761692"/>
                    <a:gd name="connsiteY230" fmla="*/ 506614 h 1016771"/>
                    <a:gd name="connsiteX231" fmla="*/ 31885 w 761692"/>
                    <a:gd name="connsiteY231" fmla="*/ 490672 h 1016771"/>
                    <a:gd name="connsiteX232" fmla="*/ 26571 w 761692"/>
                    <a:gd name="connsiteY232" fmla="*/ 476501 h 1016771"/>
                    <a:gd name="connsiteX233" fmla="*/ 24799 w 761692"/>
                    <a:gd name="connsiteY233" fmla="*/ 471187 h 1016771"/>
                    <a:gd name="connsiteX234" fmla="*/ 12400 w 761692"/>
                    <a:gd name="connsiteY234" fmla="*/ 472958 h 1016771"/>
                    <a:gd name="connsiteX235" fmla="*/ 7086 w 761692"/>
                    <a:gd name="connsiteY235" fmla="*/ 464101 h 1016771"/>
                    <a:gd name="connsiteX236" fmla="*/ 8857 w 761692"/>
                    <a:gd name="connsiteY236" fmla="*/ 446388 h 1016771"/>
                    <a:gd name="connsiteX237" fmla="*/ 3543 w 761692"/>
                    <a:gd name="connsiteY237" fmla="*/ 435759 h 1016771"/>
                    <a:gd name="connsiteX238" fmla="*/ 5314 w 761692"/>
                    <a:gd name="connsiteY238" fmla="*/ 412731 h 1016771"/>
                    <a:gd name="connsiteX239" fmla="*/ 0 w 761692"/>
                    <a:gd name="connsiteY239" fmla="*/ 396789 h 1016771"/>
                    <a:gd name="connsiteX240" fmla="*/ 3543 w 761692"/>
                    <a:gd name="connsiteY240" fmla="*/ 384389 h 1016771"/>
                    <a:gd name="connsiteX241" fmla="*/ 14171 w 761692"/>
                    <a:gd name="connsiteY241" fmla="*/ 380846 h 1016771"/>
                    <a:gd name="connsiteX242" fmla="*/ 24799 w 761692"/>
                    <a:gd name="connsiteY242" fmla="*/ 364904 h 1016771"/>
                    <a:gd name="connsiteX243" fmla="*/ 30113 w 761692"/>
                    <a:gd name="connsiteY243" fmla="*/ 350733 h 1016771"/>
                    <a:gd name="connsiteX244" fmla="*/ 35428 w 761692"/>
                    <a:gd name="connsiteY244" fmla="*/ 341876 h 1016771"/>
                    <a:gd name="connsiteX245" fmla="*/ 42513 w 761692"/>
                    <a:gd name="connsiteY245" fmla="*/ 327705 h 1016771"/>
                    <a:gd name="connsiteX246" fmla="*/ 42513 w 761692"/>
                    <a:gd name="connsiteY246" fmla="*/ 315305 h 1016771"/>
                    <a:gd name="connsiteX247" fmla="*/ 56684 w 761692"/>
                    <a:gd name="connsiteY247" fmla="*/ 309991 h 1016771"/>
                    <a:gd name="connsiteX248" fmla="*/ 60227 w 761692"/>
                    <a:gd name="connsiteY248" fmla="*/ 309991 h 1016771"/>
                    <a:gd name="connsiteX249" fmla="*/ 61998 w 761692"/>
                    <a:gd name="connsiteY249" fmla="*/ 311763 h 1016771"/>
                    <a:gd name="connsiteX250" fmla="*/ 67312 w 761692"/>
                    <a:gd name="connsiteY250" fmla="*/ 311763 h 1016771"/>
                    <a:gd name="connsiteX251" fmla="*/ 67312 w 761692"/>
                    <a:gd name="connsiteY251" fmla="*/ 309991 h 1016771"/>
                    <a:gd name="connsiteX252" fmla="*/ 67312 w 761692"/>
                    <a:gd name="connsiteY252" fmla="*/ 308220 h 1016771"/>
                    <a:gd name="connsiteX253" fmla="*/ 69084 w 761692"/>
                    <a:gd name="connsiteY253" fmla="*/ 302906 h 1016771"/>
                    <a:gd name="connsiteX254" fmla="*/ 70855 w 761692"/>
                    <a:gd name="connsiteY254" fmla="*/ 301134 h 1016771"/>
                    <a:gd name="connsiteX255" fmla="*/ 70855 w 761692"/>
                    <a:gd name="connsiteY255" fmla="*/ 299363 h 1016771"/>
                    <a:gd name="connsiteX256" fmla="*/ 77941 w 761692"/>
                    <a:gd name="connsiteY256" fmla="*/ 295820 h 1016771"/>
                    <a:gd name="connsiteX257" fmla="*/ 85026 w 761692"/>
                    <a:gd name="connsiteY257" fmla="*/ 295820 h 1016771"/>
                    <a:gd name="connsiteX258" fmla="*/ 93883 w 761692"/>
                    <a:gd name="connsiteY258" fmla="*/ 297592 h 1016771"/>
                    <a:gd name="connsiteX259" fmla="*/ 100968 w 761692"/>
                    <a:gd name="connsiteY259" fmla="*/ 288735 h 1016771"/>
                    <a:gd name="connsiteX260" fmla="*/ 97426 w 761692"/>
                    <a:gd name="connsiteY260" fmla="*/ 279878 h 1016771"/>
                    <a:gd name="connsiteX261" fmla="*/ 85026 w 761692"/>
                    <a:gd name="connsiteY261" fmla="*/ 276335 h 1016771"/>
                    <a:gd name="connsiteX262" fmla="*/ 76169 w 761692"/>
                    <a:gd name="connsiteY262" fmla="*/ 271021 h 1016771"/>
                    <a:gd name="connsiteX263" fmla="*/ 76169 w 761692"/>
                    <a:gd name="connsiteY263" fmla="*/ 262164 h 1016771"/>
                    <a:gd name="connsiteX264" fmla="*/ 81483 w 761692"/>
                    <a:gd name="connsiteY264" fmla="*/ 251536 h 1016771"/>
                    <a:gd name="connsiteX265" fmla="*/ 86797 w 761692"/>
                    <a:gd name="connsiteY265" fmla="*/ 255079 h 1016771"/>
                    <a:gd name="connsiteX266" fmla="*/ 104511 w 761692"/>
                    <a:gd name="connsiteY266" fmla="*/ 262164 h 1016771"/>
                    <a:gd name="connsiteX267" fmla="*/ 116911 w 761692"/>
                    <a:gd name="connsiteY267" fmla="*/ 265707 h 1016771"/>
                    <a:gd name="connsiteX268" fmla="*/ 132853 w 761692"/>
                    <a:gd name="connsiteY268" fmla="*/ 269250 h 1016771"/>
                    <a:gd name="connsiteX269" fmla="*/ 138167 w 761692"/>
                    <a:gd name="connsiteY269" fmla="*/ 265707 h 1016771"/>
                    <a:gd name="connsiteX270" fmla="*/ 150567 w 761692"/>
                    <a:gd name="connsiteY270" fmla="*/ 255079 h 1016771"/>
                    <a:gd name="connsiteX271" fmla="*/ 166509 w 761692"/>
                    <a:gd name="connsiteY271" fmla="*/ 255079 h 1016771"/>
                    <a:gd name="connsiteX272" fmla="*/ 166509 w 761692"/>
                    <a:gd name="connsiteY272" fmla="*/ 265707 h 1016771"/>
                    <a:gd name="connsiteX273" fmla="*/ 177138 w 761692"/>
                    <a:gd name="connsiteY273" fmla="*/ 272792 h 1016771"/>
                    <a:gd name="connsiteX274" fmla="*/ 194851 w 761692"/>
                    <a:gd name="connsiteY274" fmla="*/ 276335 h 1016771"/>
                    <a:gd name="connsiteX275" fmla="*/ 209022 w 761692"/>
                    <a:gd name="connsiteY275" fmla="*/ 279878 h 1016771"/>
                    <a:gd name="connsiteX276" fmla="*/ 221422 w 761692"/>
                    <a:gd name="connsiteY276" fmla="*/ 276335 h 1016771"/>
                    <a:gd name="connsiteX277" fmla="*/ 226736 w 761692"/>
                    <a:gd name="connsiteY277" fmla="*/ 269250 h 1016771"/>
                    <a:gd name="connsiteX278" fmla="*/ 226736 w 761692"/>
                    <a:gd name="connsiteY278" fmla="*/ 251536 h 1016771"/>
                    <a:gd name="connsiteX279" fmla="*/ 224965 w 761692"/>
                    <a:gd name="connsiteY279" fmla="*/ 239136 h 1016771"/>
                    <a:gd name="connsiteX280" fmla="*/ 214337 w 761692"/>
                    <a:gd name="connsiteY280" fmla="*/ 230279 h 1016771"/>
                    <a:gd name="connsiteX281" fmla="*/ 210794 w 761692"/>
                    <a:gd name="connsiteY281" fmla="*/ 217880 h 1016771"/>
                    <a:gd name="connsiteX282" fmla="*/ 221422 w 761692"/>
                    <a:gd name="connsiteY282" fmla="*/ 207251 h 1016771"/>
                    <a:gd name="connsiteX283" fmla="*/ 235593 w 761692"/>
                    <a:gd name="connsiteY283" fmla="*/ 214337 h 1016771"/>
                    <a:gd name="connsiteX284" fmla="*/ 246221 w 761692"/>
                    <a:gd name="connsiteY284" fmla="*/ 219651 h 1016771"/>
                    <a:gd name="connsiteX285" fmla="*/ 253307 w 761692"/>
                    <a:gd name="connsiteY285" fmla="*/ 221422 h 1016771"/>
                    <a:gd name="connsiteX286" fmla="*/ 262164 w 761692"/>
                    <a:gd name="connsiteY286" fmla="*/ 210794 h 1016771"/>
                    <a:gd name="connsiteX287" fmla="*/ 263935 w 761692"/>
                    <a:gd name="connsiteY287" fmla="*/ 201937 h 1016771"/>
                    <a:gd name="connsiteX288" fmla="*/ 274563 w 761692"/>
                    <a:gd name="connsiteY288" fmla="*/ 189538 h 1016771"/>
                    <a:gd name="connsiteX289" fmla="*/ 283420 w 761692"/>
                    <a:gd name="connsiteY289" fmla="*/ 178909 h 1016771"/>
                    <a:gd name="connsiteX290" fmla="*/ 286963 w 761692"/>
                    <a:gd name="connsiteY290" fmla="*/ 173595 h 1016771"/>
                    <a:gd name="connsiteX291" fmla="*/ 311762 w 761692"/>
                    <a:gd name="connsiteY291" fmla="*/ 168281 h 1016771"/>
                    <a:gd name="connsiteX292" fmla="*/ 325933 w 761692"/>
                    <a:gd name="connsiteY292" fmla="*/ 164738 h 1016771"/>
                    <a:gd name="connsiteX293" fmla="*/ 336562 w 761692"/>
                    <a:gd name="connsiteY293" fmla="*/ 159424 h 1016771"/>
                    <a:gd name="connsiteX294" fmla="*/ 348961 w 761692"/>
                    <a:gd name="connsiteY294" fmla="*/ 145253 h 1016771"/>
                    <a:gd name="connsiteX295" fmla="*/ 359589 w 761692"/>
                    <a:gd name="connsiteY295" fmla="*/ 143482 h 1016771"/>
                    <a:gd name="connsiteX296" fmla="*/ 371989 w 761692"/>
                    <a:gd name="connsiteY296" fmla="*/ 143482 h 1016771"/>
                    <a:gd name="connsiteX297" fmla="*/ 391474 w 761692"/>
                    <a:gd name="connsiteY297" fmla="*/ 143482 h 1016771"/>
                    <a:gd name="connsiteX298" fmla="*/ 396788 w 761692"/>
                    <a:gd name="connsiteY298" fmla="*/ 141710 h 1016771"/>
                    <a:gd name="connsiteX299" fmla="*/ 403874 w 761692"/>
                    <a:gd name="connsiteY299" fmla="*/ 134625 h 1016771"/>
                    <a:gd name="connsiteX300" fmla="*/ 409188 w 761692"/>
                    <a:gd name="connsiteY300" fmla="*/ 129311 h 1016771"/>
                    <a:gd name="connsiteX301" fmla="*/ 409188 w 761692"/>
                    <a:gd name="connsiteY301" fmla="*/ 123997 h 1016771"/>
                    <a:gd name="connsiteX302" fmla="*/ 414502 w 761692"/>
                    <a:gd name="connsiteY302" fmla="*/ 115140 h 1016771"/>
                    <a:gd name="connsiteX303" fmla="*/ 428673 w 761692"/>
                    <a:gd name="connsiteY303" fmla="*/ 115140 h 1016771"/>
                    <a:gd name="connsiteX304" fmla="*/ 432216 w 761692"/>
                    <a:gd name="connsiteY304" fmla="*/ 109826 h 1016771"/>
                    <a:gd name="connsiteX305" fmla="*/ 437530 w 761692"/>
                    <a:gd name="connsiteY305" fmla="*/ 100969 h 1016771"/>
                    <a:gd name="connsiteX306" fmla="*/ 448158 w 761692"/>
                    <a:gd name="connsiteY306" fmla="*/ 99197 h 1016771"/>
                    <a:gd name="connsiteX307" fmla="*/ 460558 w 761692"/>
                    <a:gd name="connsiteY307" fmla="*/ 97426 h 1016771"/>
                    <a:gd name="connsiteX308" fmla="*/ 472958 w 761692"/>
                    <a:gd name="connsiteY308" fmla="*/ 93883 h 1016771"/>
                    <a:gd name="connsiteX309" fmla="*/ 492443 w 761692"/>
                    <a:gd name="connsiteY309" fmla="*/ 93883 h 1016771"/>
                    <a:gd name="connsiteX310" fmla="*/ 501300 w 761692"/>
                    <a:gd name="connsiteY310" fmla="*/ 83255 h 1016771"/>
                    <a:gd name="connsiteX311" fmla="*/ 517242 w 761692"/>
                    <a:gd name="connsiteY311" fmla="*/ 81484 h 1016771"/>
                    <a:gd name="connsiteX312" fmla="*/ 522556 w 761692"/>
                    <a:gd name="connsiteY312" fmla="*/ 81484 h 1016771"/>
                    <a:gd name="connsiteX313" fmla="*/ 522556 w 761692"/>
                    <a:gd name="connsiteY313" fmla="*/ 60227 h 1016771"/>
                    <a:gd name="connsiteX314" fmla="*/ 526099 w 761692"/>
                    <a:gd name="connsiteY314" fmla="*/ 54913 h 1016771"/>
                    <a:gd name="connsiteX315" fmla="*/ 529642 w 761692"/>
                    <a:gd name="connsiteY315" fmla="*/ 46056 h 1016771"/>
                    <a:gd name="connsiteX316" fmla="*/ 538499 w 761692"/>
                    <a:gd name="connsiteY316" fmla="*/ 40742 h 1016771"/>
                    <a:gd name="connsiteX317" fmla="*/ 540270 w 761692"/>
                    <a:gd name="connsiteY317" fmla="*/ 30114 h 1016771"/>
                    <a:gd name="connsiteX318" fmla="*/ 536727 w 761692"/>
                    <a:gd name="connsiteY318" fmla="*/ 19485 h 1016771"/>
                    <a:gd name="connsiteX319" fmla="*/ 543813 w 761692"/>
                    <a:gd name="connsiteY319" fmla="*/ 5314 h 1016771"/>
                    <a:gd name="connsiteX320" fmla="*/ 554441 w 761692"/>
                    <a:gd name="connsiteY320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9645 w 761692"/>
                    <a:gd name="connsiteY9" fmla="*/ 860925 h 1016771"/>
                    <a:gd name="connsiteX10" fmla="*/ 148122 w 761692"/>
                    <a:gd name="connsiteY10" fmla="*/ 867707 h 1016771"/>
                    <a:gd name="connsiteX11" fmla="*/ 158294 w 761692"/>
                    <a:gd name="connsiteY11" fmla="*/ 879574 h 1016771"/>
                    <a:gd name="connsiteX12" fmla="*/ 175247 w 761692"/>
                    <a:gd name="connsiteY12" fmla="*/ 889746 h 1016771"/>
                    <a:gd name="connsiteX13" fmla="*/ 188810 w 761692"/>
                    <a:gd name="connsiteY13" fmla="*/ 893137 h 1016771"/>
                    <a:gd name="connsiteX14" fmla="*/ 195591 w 761692"/>
                    <a:gd name="connsiteY14" fmla="*/ 893137 h 1016771"/>
                    <a:gd name="connsiteX15" fmla="*/ 202372 w 761692"/>
                    <a:gd name="connsiteY15" fmla="*/ 886355 h 1016771"/>
                    <a:gd name="connsiteX16" fmla="*/ 200677 w 761692"/>
                    <a:gd name="connsiteY16" fmla="*/ 877879 h 1016771"/>
                    <a:gd name="connsiteX17" fmla="*/ 189537 w 761692"/>
                    <a:gd name="connsiteY17" fmla="*/ 894546 h 1016771"/>
                    <a:gd name="connsiteX18" fmla="*/ 175366 w 761692"/>
                    <a:gd name="connsiteY18" fmla="*/ 891003 h 1016771"/>
                    <a:gd name="connsiteX19" fmla="*/ 157653 w 761692"/>
                    <a:gd name="connsiteY19" fmla="*/ 880375 h 1016771"/>
                    <a:gd name="connsiteX20" fmla="*/ 147024 w 761692"/>
                    <a:gd name="connsiteY20" fmla="*/ 867975 h 1016771"/>
                    <a:gd name="connsiteX21" fmla="*/ 138167 w 761692"/>
                    <a:gd name="connsiteY21" fmla="*/ 860890 h 1016771"/>
                    <a:gd name="connsiteX22" fmla="*/ 138167 w 761692"/>
                    <a:gd name="connsiteY22" fmla="*/ 852033 h 1016771"/>
                    <a:gd name="connsiteX23" fmla="*/ 139939 w 761692"/>
                    <a:gd name="connsiteY23" fmla="*/ 850262 h 1016771"/>
                    <a:gd name="connsiteX24" fmla="*/ 139939 w 761692"/>
                    <a:gd name="connsiteY24" fmla="*/ 848490 h 1016771"/>
                    <a:gd name="connsiteX25" fmla="*/ 145253 w 761692"/>
                    <a:gd name="connsiteY25" fmla="*/ 843176 h 1016771"/>
                    <a:gd name="connsiteX26" fmla="*/ 147024 w 761692"/>
                    <a:gd name="connsiteY26" fmla="*/ 841405 h 1016771"/>
                    <a:gd name="connsiteX27" fmla="*/ 148796 w 761692"/>
                    <a:gd name="connsiteY27" fmla="*/ 839633 h 1016771"/>
                    <a:gd name="connsiteX28" fmla="*/ 150567 w 761692"/>
                    <a:gd name="connsiteY28" fmla="*/ 837862 h 1016771"/>
                    <a:gd name="connsiteX29" fmla="*/ 159250 w 761692"/>
                    <a:gd name="connsiteY29" fmla="*/ 829179 h 1016771"/>
                    <a:gd name="connsiteX30" fmla="*/ 116476 w 761692"/>
                    <a:gd name="connsiteY30" fmla="*/ 741349 h 1016771"/>
                    <a:gd name="connsiteX31" fmla="*/ 117606 w 761692"/>
                    <a:gd name="connsiteY31" fmla="*/ 742253 h 1016771"/>
                    <a:gd name="connsiteX32" fmla="*/ 122692 w 761692"/>
                    <a:gd name="connsiteY32" fmla="*/ 759206 h 1016771"/>
                    <a:gd name="connsiteX33" fmla="*/ 126082 w 761692"/>
                    <a:gd name="connsiteY33" fmla="*/ 771073 h 1016771"/>
                    <a:gd name="connsiteX34" fmla="*/ 129473 w 761692"/>
                    <a:gd name="connsiteY34" fmla="*/ 782940 h 1016771"/>
                    <a:gd name="connsiteX35" fmla="*/ 132864 w 761692"/>
                    <a:gd name="connsiteY35" fmla="*/ 793112 h 1016771"/>
                    <a:gd name="connsiteX36" fmla="*/ 136254 w 761692"/>
                    <a:gd name="connsiteY36" fmla="*/ 810066 h 1016771"/>
                    <a:gd name="connsiteX37" fmla="*/ 139058 w 761692"/>
                    <a:gd name="connsiteY37" fmla="*/ 818476 h 1016771"/>
                    <a:gd name="connsiteX38" fmla="*/ 138167 w 761692"/>
                    <a:gd name="connsiteY38" fmla="*/ 818377 h 1016771"/>
                    <a:gd name="connsiteX39" fmla="*/ 134625 w 761692"/>
                    <a:gd name="connsiteY39" fmla="*/ 807749 h 1016771"/>
                    <a:gd name="connsiteX40" fmla="*/ 131082 w 761692"/>
                    <a:gd name="connsiteY40" fmla="*/ 790035 h 1016771"/>
                    <a:gd name="connsiteX41" fmla="*/ 127539 w 761692"/>
                    <a:gd name="connsiteY41" fmla="*/ 779407 h 1016771"/>
                    <a:gd name="connsiteX42" fmla="*/ 123996 w 761692"/>
                    <a:gd name="connsiteY42" fmla="*/ 767007 h 1016771"/>
                    <a:gd name="connsiteX43" fmla="*/ 120454 w 761692"/>
                    <a:gd name="connsiteY43" fmla="*/ 754607 h 1016771"/>
                    <a:gd name="connsiteX44" fmla="*/ 116476 w 761692"/>
                    <a:gd name="connsiteY44" fmla="*/ 741349 h 1016771"/>
                    <a:gd name="connsiteX45" fmla="*/ 554441 w 761692"/>
                    <a:gd name="connsiteY45" fmla="*/ 0 h 1016771"/>
                    <a:gd name="connsiteX46" fmla="*/ 570383 w 761692"/>
                    <a:gd name="connsiteY46" fmla="*/ 3543 h 1016771"/>
                    <a:gd name="connsiteX47" fmla="*/ 577469 w 761692"/>
                    <a:gd name="connsiteY47" fmla="*/ 8857 h 1016771"/>
                    <a:gd name="connsiteX48" fmla="*/ 582783 w 761692"/>
                    <a:gd name="connsiteY48" fmla="*/ 17714 h 1016771"/>
                    <a:gd name="connsiteX49" fmla="*/ 582783 w 761692"/>
                    <a:gd name="connsiteY49" fmla="*/ 24799 h 1016771"/>
                    <a:gd name="connsiteX50" fmla="*/ 588097 w 761692"/>
                    <a:gd name="connsiteY50" fmla="*/ 33656 h 1016771"/>
                    <a:gd name="connsiteX51" fmla="*/ 598725 w 761692"/>
                    <a:gd name="connsiteY51" fmla="*/ 31885 h 1016771"/>
                    <a:gd name="connsiteX52" fmla="*/ 612896 w 761692"/>
                    <a:gd name="connsiteY52" fmla="*/ 37199 h 1016771"/>
                    <a:gd name="connsiteX53" fmla="*/ 618211 w 761692"/>
                    <a:gd name="connsiteY53" fmla="*/ 46056 h 1016771"/>
                    <a:gd name="connsiteX54" fmla="*/ 619982 w 761692"/>
                    <a:gd name="connsiteY54" fmla="*/ 54913 h 1016771"/>
                    <a:gd name="connsiteX55" fmla="*/ 618211 w 761692"/>
                    <a:gd name="connsiteY55" fmla="*/ 74398 h 1016771"/>
                    <a:gd name="connsiteX56" fmla="*/ 616439 w 761692"/>
                    <a:gd name="connsiteY56" fmla="*/ 85026 h 1016771"/>
                    <a:gd name="connsiteX57" fmla="*/ 621753 w 761692"/>
                    <a:gd name="connsiteY57" fmla="*/ 97426 h 1016771"/>
                    <a:gd name="connsiteX58" fmla="*/ 637696 w 761692"/>
                    <a:gd name="connsiteY58" fmla="*/ 113368 h 1016771"/>
                    <a:gd name="connsiteX59" fmla="*/ 644781 w 761692"/>
                    <a:gd name="connsiteY59" fmla="*/ 120454 h 1016771"/>
                    <a:gd name="connsiteX60" fmla="*/ 650095 w 761692"/>
                    <a:gd name="connsiteY60" fmla="*/ 136396 h 1016771"/>
                    <a:gd name="connsiteX61" fmla="*/ 655409 w 761692"/>
                    <a:gd name="connsiteY61" fmla="*/ 155881 h 1016771"/>
                    <a:gd name="connsiteX62" fmla="*/ 662495 w 761692"/>
                    <a:gd name="connsiteY62" fmla="*/ 171824 h 1016771"/>
                    <a:gd name="connsiteX63" fmla="*/ 660724 w 761692"/>
                    <a:gd name="connsiteY63" fmla="*/ 185995 h 1016771"/>
                    <a:gd name="connsiteX64" fmla="*/ 635924 w 761692"/>
                    <a:gd name="connsiteY64" fmla="*/ 194852 h 1016771"/>
                    <a:gd name="connsiteX65" fmla="*/ 619982 w 761692"/>
                    <a:gd name="connsiteY65" fmla="*/ 207251 h 1016771"/>
                    <a:gd name="connsiteX66" fmla="*/ 614668 w 761692"/>
                    <a:gd name="connsiteY66" fmla="*/ 223194 h 1016771"/>
                    <a:gd name="connsiteX67" fmla="*/ 618211 w 761692"/>
                    <a:gd name="connsiteY67" fmla="*/ 242679 h 1016771"/>
                    <a:gd name="connsiteX68" fmla="*/ 612896 w 761692"/>
                    <a:gd name="connsiteY68" fmla="*/ 256850 h 1016771"/>
                    <a:gd name="connsiteX69" fmla="*/ 625296 w 761692"/>
                    <a:gd name="connsiteY69" fmla="*/ 267478 h 1016771"/>
                    <a:gd name="connsiteX70" fmla="*/ 641238 w 761692"/>
                    <a:gd name="connsiteY70" fmla="*/ 269250 h 1016771"/>
                    <a:gd name="connsiteX71" fmla="*/ 658952 w 761692"/>
                    <a:gd name="connsiteY71" fmla="*/ 286963 h 1016771"/>
                    <a:gd name="connsiteX72" fmla="*/ 653638 w 761692"/>
                    <a:gd name="connsiteY72" fmla="*/ 309991 h 1016771"/>
                    <a:gd name="connsiteX73" fmla="*/ 653638 w 761692"/>
                    <a:gd name="connsiteY73" fmla="*/ 329476 h 1016771"/>
                    <a:gd name="connsiteX74" fmla="*/ 643010 w 761692"/>
                    <a:gd name="connsiteY74" fmla="*/ 338333 h 1016771"/>
                    <a:gd name="connsiteX75" fmla="*/ 632382 w 761692"/>
                    <a:gd name="connsiteY75" fmla="*/ 338333 h 1016771"/>
                    <a:gd name="connsiteX76" fmla="*/ 618211 w 761692"/>
                    <a:gd name="connsiteY76" fmla="*/ 357819 h 1016771"/>
                    <a:gd name="connsiteX77" fmla="*/ 609354 w 761692"/>
                    <a:gd name="connsiteY77" fmla="*/ 361361 h 1016771"/>
                    <a:gd name="connsiteX78" fmla="*/ 596954 w 761692"/>
                    <a:gd name="connsiteY78" fmla="*/ 363133 h 1016771"/>
                    <a:gd name="connsiteX79" fmla="*/ 581012 w 761692"/>
                    <a:gd name="connsiteY79" fmla="*/ 379075 h 1016771"/>
                    <a:gd name="connsiteX80" fmla="*/ 589868 w 761692"/>
                    <a:gd name="connsiteY80" fmla="*/ 393246 h 1016771"/>
                    <a:gd name="connsiteX81" fmla="*/ 586326 w 761692"/>
                    <a:gd name="connsiteY81" fmla="*/ 409189 h 1016771"/>
                    <a:gd name="connsiteX82" fmla="*/ 570383 w 761692"/>
                    <a:gd name="connsiteY82" fmla="*/ 398560 h 1016771"/>
                    <a:gd name="connsiteX83" fmla="*/ 550898 w 761692"/>
                    <a:gd name="connsiteY83" fmla="*/ 405646 h 1016771"/>
                    <a:gd name="connsiteX84" fmla="*/ 531413 w 761692"/>
                    <a:gd name="connsiteY84" fmla="*/ 425131 h 1016771"/>
                    <a:gd name="connsiteX85" fmla="*/ 543813 w 761692"/>
                    <a:gd name="connsiteY85" fmla="*/ 444616 h 1016771"/>
                    <a:gd name="connsiteX86" fmla="*/ 557984 w 761692"/>
                    <a:gd name="connsiteY86" fmla="*/ 462330 h 1016771"/>
                    <a:gd name="connsiteX87" fmla="*/ 570383 w 761692"/>
                    <a:gd name="connsiteY87" fmla="*/ 478272 h 1016771"/>
                    <a:gd name="connsiteX88" fmla="*/ 579240 w 761692"/>
                    <a:gd name="connsiteY88" fmla="*/ 485358 h 1016771"/>
                    <a:gd name="connsiteX89" fmla="*/ 602268 w 761692"/>
                    <a:gd name="connsiteY89" fmla="*/ 483586 h 1016771"/>
                    <a:gd name="connsiteX90" fmla="*/ 623525 w 761692"/>
                    <a:gd name="connsiteY90" fmla="*/ 474730 h 1016771"/>
                    <a:gd name="connsiteX91" fmla="*/ 639467 w 761692"/>
                    <a:gd name="connsiteY91" fmla="*/ 464101 h 1016771"/>
                    <a:gd name="connsiteX92" fmla="*/ 662495 w 761692"/>
                    <a:gd name="connsiteY92" fmla="*/ 464101 h 1016771"/>
                    <a:gd name="connsiteX93" fmla="*/ 673123 w 761692"/>
                    <a:gd name="connsiteY93" fmla="*/ 464101 h 1016771"/>
                    <a:gd name="connsiteX94" fmla="*/ 681980 w 761692"/>
                    <a:gd name="connsiteY94" fmla="*/ 467644 h 1016771"/>
                    <a:gd name="connsiteX95" fmla="*/ 703237 w 761692"/>
                    <a:gd name="connsiteY95" fmla="*/ 471187 h 1016771"/>
                    <a:gd name="connsiteX96" fmla="*/ 708551 w 761692"/>
                    <a:gd name="connsiteY96" fmla="*/ 474730 h 1016771"/>
                    <a:gd name="connsiteX97" fmla="*/ 722722 w 761692"/>
                    <a:gd name="connsiteY97" fmla="*/ 501300 h 1016771"/>
                    <a:gd name="connsiteX98" fmla="*/ 724493 w 761692"/>
                    <a:gd name="connsiteY98" fmla="*/ 522557 h 1016771"/>
                    <a:gd name="connsiteX99" fmla="*/ 722722 w 761692"/>
                    <a:gd name="connsiteY99" fmla="*/ 540271 h 1016771"/>
                    <a:gd name="connsiteX100" fmla="*/ 735121 w 761692"/>
                    <a:gd name="connsiteY100" fmla="*/ 552670 h 1016771"/>
                    <a:gd name="connsiteX101" fmla="*/ 735121 w 761692"/>
                    <a:gd name="connsiteY101" fmla="*/ 570384 h 1016771"/>
                    <a:gd name="connsiteX102" fmla="*/ 751064 w 761692"/>
                    <a:gd name="connsiteY102" fmla="*/ 581012 h 1016771"/>
                    <a:gd name="connsiteX103" fmla="*/ 761692 w 761692"/>
                    <a:gd name="connsiteY103" fmla="*/ 604040 h 1016771"/>
                    <a:gd name="connsiteX104" fmla="*/ 747521 w 761692"/>
                    <a:gd name="connsiteY104" fmla="*/ 616440 h 1016771"/>
                    <a:gd name="connsiteX105" fmla="*/ 728036 w 761692"/>
                    <a:gd name="connsiteY105" fmla="*/ 627068 h 1016771"/>
                    <a:gd name="connsiteX106" fmla="*/ 726264 w 761692"/>
                    <a:gd name="connsiteY106" fmla="*/ 650096 h 1016771"/>
                    <a:gd name="connsiteX107" fmla="*/ 728036 w 761692"/>
                    <a:gd name="connsiteY107" fmla="*/ 673124 h 1016771"/>
                    <a:gd name="connsiteX108" fmla="*/ 742207 w 761692"/>
                    <a:gd name="connsiteY108" fmla="*/ 689066 h 1016771"/>
                    <a:gd name="connsiteX109" fmla="*/ 742207 w 761692"/>
                    <a:gd name="connsiteY109" fmla="*/ 712094 h 1016771"/>
                    <a:gd name="connsiteX110" fmla="*/ 740435 w 761692"/>
                    <a:gd name="connsiteY110" fmla="*/ 735122 h 1016771"/>
                    <a:gd name="connsiteX111" fmla="*/ 742207 w 761692"/>
                    <a:gd name="connsiteY111" fmla="*/ 751065 h 1016771"/>
                    <a:gd name="connsiteX112" fmla="*/ 747521 w 761692"/>
                    <a:gd name="connsiteY112" fmla="*/ 768778 h 1016771"/>
                    <a:gd name="connsiteX113" fmla="*/ 759921 w 761692"/>
                    <a:gd name="connsiteY113" fmla="*/ 777635 h 1016771"/>
                    <a:gd name="connsiteX114" fmla="*/ 758149 w 761692"/>
                    <a:gd name="connsiteY114" fmla="*/ 802434 h 1016771"/>
                    <a:gd name="connsiteX115" fmla="*/ 752835 w 761692"/>
                    <a:gd name="connsiteY115" fmla="*/ 814834 h 1016771"/>
                    <a:gd name="connsiteX116" fmla="*/ 743978 w 761692"/>
                    <a:gd name="connsiteY116" fmla="*/ 827234 h 1016771"/>
                    <a:gd name="connsiteX117" fmla="*/ 743978 w 761692"/>
                    <a:gd name="connsiteY117" fmla="*/ 837862 h 1016771"/>
                    <a:gd name="connsiteX118" fmla="*/ 747521 w 761692"/>
                    <a:gd name="connsiteY118" fmla="*/ 853804 h 1016771"/>
                    <a:gd name="connsiteX119" fmla="*/ 733350 w 761692"/>
                    <a:gd name="connsiteY119" fmla="*/ 867975 h 1016771"/>
                    <a:gd name="connsiteX120" fmla="*/ 724493 w 761692"/>
                    <a:gd name="connsiteY120" fmla="*/ 880375 h 1016771"/>
                    <a:gd name="connsiteX121" fmla="*/ 722722 w 761692"/>
                    <a:gd name="connsiteY121" fmla="*/ 899860 h 1016771"/>
                    <a:gd name="connsiteX122" fmla="*/ 722722 w 761692"/>
                    <a:gd name="connsiteY122" fmla="*/ 919345 h 1016771"/>
                    <a:gd name="connsiteX123" fmla="*/ 715636 w 761692"/>
                    <a:gd name="connsiteY123" fmla="*/ 940602 h 1016771"/>
                    <a:gd name="connsiteX124" fmla="*/ 708551 w 761692"/>
                    <a:gd name="connsiteY124" fmla="*/ 954773 h 1016771"/>
                    <a:gd name="connsiteX125" fmla="*/ 699694 w 761692"/>
                    <a:gd name="connsiteY125" fmla="*/ 965401 h 1016771"/>
                    <a:gd name="connsiteX126" fmla="*/ 692608 w 761692"/>
                    <a:gd name="connsiteY126" fmla="*/ 984886 h 1016771"/>
                    <a:gd name="connsiteX127" fmla="*/ 683751 w 761692"/>
                    <a:gd name="connsiteY127" fmla="*/ 997286 h 1016771"/>
                    <a:gd name="connsiteX128" fmla="*/ 673123 w 761692"/>
                    <a:gd name="connsiteY128" fmla="*/ 1002600 h 1016771"/>
                    <a:gd name="connsiteX129" fmla="*/ 662495 w 761692"/>
                    <a:gd name="connsiteY129" fmla="*/ 1013228 h 1016771"/>
                    <a:gd name="connsiteX130" fmla="*/ 644781 w 761692"/>
                    <a:gd name="connsiteY130" fmla="*/ 1016771 h 1016771"/>
                    <a:gd name="connsiteX131" fmla="*/ 635924 w 761692"/>
                    <a:gd name="connsiteY131" fmla="*/ 1004372 h 1016771"/>
                    <a:gd name="connsiteX132" fmla="*/ 623525 w 761692"/>
                    <a:gd name="connsiteY132" fmla="*/ 997286 h 1016771"/>
                    <a:gd name="connsiteX133" fmla="*/ 614668 w 761692"/>
                    <a:gd name="connsiteY133" fmla="*/ 986658 h 1016771"/>
                    <a:gd name="connsiteX134" fmla="*/ 593411 w 761692"/>
                    <a:gd name="connsiteY134" fmla="*/ 970715 h 1016771"/>
                    <a:gd name="connsiteX135" fmla="*/ 582783 w 761692"/>
                    <a:gd name="connsiteY135" fmla="*/ 965401 h 1016771"/>
                    <a:gd name="connsiteX136" fmla="*/ 531413 w 761692"/>
                    <a:gd name="connsiteY136" fmla="*/ 965401 h 1016771"/>
                    <a:gd name="connsiteX137" fmla="*/ 511928 w 761692"/>
                    <a:gd name="connsiteY137" fmla="*/ 965401 h 1016771"/>
                    <a:gd name="connsiteX138" fmla="*/ 492443 w 761692"/>
                    <a:gd name="connsiteY138" fmla="*/ 963630 h 1016771"/>
                    <a:gd name="connsiteX139" fmla="*/ 483586 w 761692"/>
                    <a:gd name="connsiteY139" fmla="*/ 958316 h 1016771"/>
                    <a:gd name="connsiteX140" fmla="*/ 469415 w 761692"/>
                    <a:gd name="connsiteY140" fmla="*/ 954773 h 1016771"/>
                    <a:gd name="connsiteX141" fmla="*/ 460558 w 761692"/>
                    <a:gd name="connsiteY141" fmla="*/ 942373 h 1016771"/>
                    <a:gd name="connsiteX142" fmla="*/ 446387 w 761692"/>
                    <a:gd name="connsiteY142" fmla="*/ 935288 h 1016771"/>
                    <a:gd name="connsiteX143" fmla="*/ 428673 w 761692"/>
                    <a:gd name="connsiteY143" fmla="*/ 928202 h 1016771"/>
                    <a:gd name="connsiteX144" fmla="*/ 418045 w 761692"/>
                    <a:gd name="connsiteY144" fmla="*/ 917574 h 1016771"/>
                    <a:gd name="connsiteX145" fmla="*/ 421588 w 761692"/>
                    <a:gd name="connsiteY145" fmla="*/ 903403 h 1016771"/>
                    <a:gd name="connsiteX146" fmla="*/ 418045 w 761692"/>
                    <a:gd name="connsiteY146" fmla="*/ 898089 h 1016771"/>
                    <a:gd name="connsiteX147" fmla="*/ 396788 w 761692"/>
                    <a:gd name="connsiteY147" fmla="*/ 898089 h 1016771"/>
                    <a:gd name="connsiteX148" fmla="*/ 382617 w 761692"/>
                    <a:gd name="connsiteY148" fmla="*/ 896318 h 1016771"/>
                    <a:gd name="connsiteX149" fmla="*/ 380846 w 761692"/>
                    <a:gd name="connsiteY149" fmla="*/ 906946 h 1016771"/>
                    <a:gd name="connsiteX150" fmla="*/ 373601 w 761692"/>
                    <a:gd name="connsiteY150" fmla="*/ 894832 h 1016771"/>
                    <a:gd name="connsiteX151" fmla="*/ 387164 w 761692"/>
                    <a:gd name="connsiteY151" fmla="*/ 896527 h 1016771"/>
                    <a:gd name="connsiteX152" fmla="*/ 383773 w 761692"/>
                    <a:gd name="connsiteY152" fmla="*/ 886355 h 1016771"/>
                    <a:gd name="connsiteX153" fmla="*/ 387164 w 761692"/>
                    <a:gd name="connsiteY153" fmla="*/ 876183 h 1016771"/>
                    <a:gd name="connsiteX154" fmla="*/ 388859 w 761692"/>
                    <a:gd name="connsiteY154" fmla="*/ 867707 h 1016771"/>
                    <a:gd name="connsiteX155" fmla="*/ 380382 w 761692"/>
                    <a:gd name="connsiteY155" fmla="*/ 859230 h 1016771"/>
                    <a:gd name="connsiteX156" fmla="*/ 373601 w 761692"/>
                    <a:gd name="connsiteY156" fmla="*/ 849058 h 1016771"/>
                    <a:gd name="connsiteX157" fmla="*/ 380382 w 761692"/>
                    <a:gd name="connsiteY157" fmla="*/ 838886 h 1016771"/>
                    <a:gd name="connsiteX158" fmla="*/ 383773 w 761692"/>
                    <a:gd name="connsiteY158" fmla="*/ 833800 h 1016771"/>
                    <a:gd name="connsiteX159" fmla="*/ 388859 w 761692"/>
                    <a:gd name="connsiteY159" fmla="*/ 825324 h 1016771"/>
                    <a:gd name="connsiteX160" fmla="*/ 387164 w 761692"/>
                    <a:gd name="connsiteY160" fmla="*/ 810066 h 1016771"/>
                    <a:gd name="connsiteX161" fmla="*/ 387164 w 761692"/>
                    <a:gd name="connsiteY161" fmla="*/ 796503 h 1016771"/>
                    <a:gd name="connsiteX162" fmla="*/ 378687 w 761692"/>
                    <a:gd name="connsiteY162" fmla="*/ 789722 h 1016771"/>
                    <a:gd name="connsiteX163" fmla="*/ 366820 w 761692"/>
                    <a:gd name="connsiteY163" fmla="*/ 782940 h 1016771"/>
                    <a:gd name="connsiteX164" fmla="*/ 356648 w 761692"/>
                    <a:gd name="connsiteY164" fmla="*/ 781245 h 1016771"/>
                    <a:gd name="connsiteX165" fmla="*/ 349866 w 761692"/>
                    <a:gd name="connsiteY165" fmla="*/ 771073 h 1016771"/>
                    <a:gd name="connsiteX166" fmla="*/ 349866 w 761692"/>
                    <a:gd name="connsiteY166" fmla="*/ 752425 h 1016771"/>
                    <a:gd name="connsiteX167" fmla="*/ 353257 w 761692"/>
                    <a:gd name="connsiteY167" fmla="*/ 743948 h 1016771"/>
                    <a:gd name="connsiteX168" fmla="*/ 354952 w 761692"/>
                    <a:gd name="connsiteY168" fmla="*/ 730385 h 1016771"/>
                    <a:gd name="connsiteX169" fmla="*/ 353257 w 761692"/>
                    <a:gd name="connsiteY169" fmla="*/ 713432 h 1016771"/>
                    <a:gd name="connsiteX170" fmla="*/ 346476 w 761692"/>
                    <a:gd name="connsiteY170" fmla="*/ 701565 h 1016771"/>
                    <a:gd name="connsiteX171" fmla="*/ 332913 w 761692"/>
                    <a:gd name="connsiteY171" fmla="*/ 689697 h 1016771"/>
                    <a:gd name="connsiteX172" fmla="*/ 324436 w 761692"/>
                    <a:gd name="connsiteY172" fmla="*/ 681221 h 1016771"/>
                    <a:gd name="connsiteX173" fmla="*/ 314264 w 761692"/>
                    <a:gd name="connsiteY173" fmla="*/ 676135 h 1016771"/>
                    <a:gd name="connsiteX174" fmla="*/ 293920 w 761692"/>
                    <a:gd name="connsiteY174" fmla="*/ 669354 h 1016771"/>
                    <a:gd name="connsiteX175" fmla="*/ 282053 w 761692"/>
                    <a:gd name="connsiteY175" fmla="*/ 667658 h 1016771"/>
                    <a:gd name="connsiteX176" fmla="*/ 266795 w 761692"/>
                    <a:gd name="connsiteY176" fmla="*/ 672744 h 1016771"/>
                    <a:gd name="connsiteX177" fmla="*/ 265100 w 761692"/>
                    <a:gd name="connsiteY177" fmla="*/ 672744 h 1016771"/>
                    <a:gd name="connsiteX178" fmla="*/ 263404 w 761692"/>
                    <a:gd name="connsiteY178" fmla="*/ 671049 h 1016771"/>
                    <a:gd name="connsiteX179" fmla="*/ 260014 w 761692"/>
                    <a:gd name="connsiteY179" fmla="*/ 671049 h 1016771"/>
                    <a:gd name="connsiteX180" fmla="*/ 258318 w 761692"/>
                    <a:gd name="connsiteY180" fmla="*/ 671049 h 1016771"/>
                    <a:gd name="connsiteX181" fmla="*/ 253232 w 761692"/>
                    <a:gd name="connsiteY181" fmla="*/ 671049 h 1016771"/>
                    <a:gd name="connsiteX182" fmla="*/ 248146 w 761692"/>
                    <a:gd name="connsiteY182" fmla="*/ 672744 h 1016771"/>
                    <a:gd name="connsiteX183" fmla="*/ 248146 w 761692"/>
                    <a:gd name="connsiteY183" fmla="*/ 674440 h 1016771"/>
                    <a:gd name="connsiteX184" fmla="*/ 246451 w 761692"/>
                    <a:gd name="connsiteY184" fmla="*/ 674440 h 1016771"/>
                    <a:gd name="connsiteX185" fmla="*/ 236279 w 761692"/>
                    <a:gd name="connsiteY185" fmla="*/ 679526 h 1016771"/>
                    <a:gd name="connsiteX186" fmla="*/ 226107 w 761692"/>
                    <a:gd name="connsiteY186" fmla="*/ 684612 h 1016771"/>
                    <a:gd name="connsiteX187" fmla="*/ 217630 w 761692"/>
                    <a:gd name="connsiteY187" fmla="*/ 684612 h 1016771"/>
                    <a:gd name="connsiteX188" fmla="*/ 207458 w 761692"/>
                    <a:gd name="connsiteY188" fmla="*/ 693088 h 1016771"/>
                    <a:gd name="connsiteX189" fmla="*/ 198982 w 761692"/>
                    <a:gd name="connsiteY189" fmla="*/ 694783 h 1016771"/>
                    <a:gd name="connsiteX190" fmla="*/ 192200 w 761692"/>
                    <a:gd name="connsiteY190" fmla="*/ 699869 h 1016771"/>
                    <a:gd name="connsiteX191" fmla="*/ 178638 w 761692"/>
                    <a:gd name="connsiteY191" fmla="*/ 706651 h 1016771"/>
                    <a:gd name="connsiteX192" fmla="*/ 163380 w 761692"/>
                    <a:gd name="connsiteY192" fmla="*/ 710041 h 1016771"/>
                    <a:gd name="connsiteX193" fmla="*/ 141340 w 761692"/>
                    <a:gd name="connsiteY193" fmla="*/ 710041 h 1016771"/>
                    <a:gd name="connsiteX194" fmla="*/ 134559 w 761692"/>
                    <a:gd name="connsiteY194" fmla="*/ 716823 h 1016771"/>
                    <a:gd name="connsiteX195" fmla="*/ 127778 w 761692"/>
                    <a:gd name="connsiteY195" fmla="*/ 718518 h 1016771"/>
                    <a:gd name="connsiteX196" fmla="*/ 120996 w 761692"/>
                    <a:gd name="connsiteY196" fmla="*/ 725299 h 1016771"/>
                    <a:gd name="connsiteX197" fmla="*/ 111172 w 761692"/>
                    <a:gd name="connsiteY197" fmla="*/ 733720 h 1016771"/>
                    <a:gd name="connsiteX198" fmla="*/ 106283 w 761692"/>
                    <a:gd name="connsiteY198" fmla="*/ 729808 h 1016771"/>
                    <a:gd name="connsiteX199" fmla="*/ 92112 w 761692"/>
                    <a:gd name="connsiteY199" fmla="*/ 724494 h 1016771"/>
                    <a:gd name="connsiteX200" fmla="*/ 77941 w 761692"/>
                    <a:gd name="connsiteY200" fmla="*/ 726265 h 1016771"/>
                    <a:gd name="connsiteX201" fmla="*/ 70855 w 761692"/>
                    <a:gd name="connsiteY201" fmla="*/ 719180 h 1016771"/>
                    <a:gd name="connsiteX202" fmla="*/ 70855 w 761692"/>
                    <a:gd name="connsiteY202" fmla="*/ 699695 h 1016771"/>
                    <a:gd name="connsiteX203" fmla="*/ 81483 w 761692"/>
                    <a:gd name="connsiteY203" fmla="*/ 685524 h 1016771"/>
                    <a:gd name="connsiteX204" fmla="*/ 85026 w 761692"/>
                    <a:gd name="connsiteY204" fmla="*/ 673124 h 1016771"/>
                    <a:gd name="connsiteX205" fmla="*/ 86797 w 761692"/>
                    <a:gd name="connsiteY205" fmla="*/ 660724 h 1016771"/>
                    <a:gd name="connsiteX206" fmla="*/ 97426 w 761692"/>
                    <a:gd name="connsiteY206" fmla="*/ 650096 h 1016771"/>
                    <a:gd name="connsiteX207" fmla="*/ 102740 w 761692"/>
                    <a:gd name="connsiteY207" fmla="*/ 635925 h 1016771"/>
                    <a:gd name="connsiteX208" fmla="*/ 113368 w 761692"/>
                    <a:gd name="connsiteY208" fmla="*/ 625297 h 1016771"/>
                    <a:gd name="connsiteX209" fmla="*/ 115139 w 761692"/>
                    <a:gd name="connsiteY209" fmla="*/ 612897 h 1016771"/>
                    <a:gd name="connsiteX210" fmla="*/ 127539 w 761692"/>
                    <a:gd name="connsiteY210" fmla="*/ 609354 h 1016771"/>
                    <a:gd name="connsiteX211" fmla="*/ 136396 w 761692"/>
                    <a:gd name="connsiteY211" fmla="*/ 604040 h 1016771"/>
                    <a:gd name="connsiteX212" fmla="*/ 132853 w 761692"/>
                    <a:gd name="connsiteY212" fmla="*/ 593412 h 1016771"/>
                    <a:gd name="connsiteX213" fmla="*/ 134625 w 761692"/>
                    <a:gd name="connsiteY213" fmla="*/ 584555 h 1016771"/>
                    <a:gd name="connsiteX214" fmla="*/ 131082 w 761692"/>
                    <a:gd name="connsiteY214" fmla="*/ 575698 h 1016771"/>
                    <a:gd name="connsiteX215" fmla="*/ 120454 w 761692"/>
                    <a:gd name="connsiteY215" fmla="*/ 568613 h 1016771"/>
                    <a:gd name="connsiteX216" fmla="*/ 125768 w 761692"/>
                    <a:gd name="connsiteY216" fmla="*/ 552670 h 1016771"/>
                    <a:gd name="connsiteX217" fmla="*/ 118682 w 761692"/>
                    <a:gd name="connsiteY217" fmla="*/ 543813 h 1016771"/>
                    <a:gd name="connsiteX218" fmla="*/ 90340 w 761692"/>
                    <a:gd name="connsiteY218" fmla="*/ 543813 h 1016771"/>
                    <a:gd name="connsiteX219" fmla="*/ 86797 w 761692"/>
                    <a:gd name="connsiteY219" fmla="*/ 542042 h 1016771"/>
                    <a:gd name="connsiteX220" fmla="*/ 83255 w 761692"/>
                    <a:gd name="connsiteY220" fmla="*/ 542042 h 1016771"/>
                    <a:gd name="connsiteX221" fmla="*/ 81483 w 761692"/>
                    <a:gd name="connsiteY221" fmla="*/ 540271 h 1016771"/>
                    <a:gd name="connsiteX222" fmla="*/ 81483 w 761692"/>
                    <a:gd name="connsiteY222" fmla="*/ 536728 h 1016771"/>
                    <a:gd name="connsiteX223" fmla="*/ 79712 w 761692"/>
                    <a:gd name="connsiteY223" fmla="*/ 531414 h 1016771"/>
                    <a:gd name="connsiteX224" fmla="*/ 77941 w 761692"/>
                    <a:gd name="connsiteY224" fmla="*/ 529642 h 1016771"/>
                    <a:gd name="connsiteX225" fmla="*/ 70855 w 761692"/>
                    <a:gd name="connsiteY225" fmla="*/ 527871 h 1016771"/>
                    <a:gd name="connsiteX226" fmla="*/ 60227 w 761692"/>
                    <a:gd name="connsiteY226" fmla="*/ 536728 h 1016771"/>
                    <a:gd name="connsiteX227" fmla="*/ 47827 w 761692"/>
                    <a:gd name="connsiteY227" fmla="*/ 526100 h 1016771"/>
                    <a:gd name="connsiteX228" fmla="*/ 42513 w 761692"/>
                    <a:gd name="connsiteY228" fmla="*/ 515471 h 1016771"/>
                    <a:gd name="connsiteX229" fmla="*/ 33656 w 761692"/>
                    <a:gd name="connsiteY229" fmla="*/ 506614 h 1016771"/>
                    <a:gd name="connsiteX230" fmla="*/ 31885 w 761692"/>
                    <a:gd name="connsiteY230" fmla="*/ 490672 h 1016771"/>
                    <a:gd name="connsiteX231" fmla="*/ 26571 w 761692"/>
                    <a:gd name="connsiteY231" fmla="*/ 476501 h 1016771"/>
                    <a:gd name="connsiteX232" fmla="*/ 24799 w 761692"/>
                    <a:gd name="connsiteY232" fmla="*/ 471187 h 1016771"/>
                    <a:gd name="connsiteX233" fmla="*/ 12400 w 761692"/>
                    <a:gd name="connsiteY233" fmla="*/ 472958 h 1016771"/>
                    <a:gd name="connsiteX234" fmla="*/ 7086 w 761692"/>
                    <a:gd name="connsiteY234" fmla="*/ 464101 h 1016771"/>
                    <a:gd name="connsiteX235" fmla="*/ 8857 w 761692"/>
                    <a:gd name="connsiteY235" fmla="*/ 446388 h 1016771"/>
                    <a:gd name="connsiteX236" fmla="*/ 3543 w 761692"/>
                    <a:gd name="connsiteY236" fmla="*/ 435759 h 1016771"/>
                    <a:gd name="connsiteX237" fmla="*/ 5314 w 761692"/>
                    <a:gd name="connsiteY237" fmla="*/ 412731 h 1016771"/>
                    <a:gd name="connsiteX238" fmla="*/ 0 w 761692"/>
                    <a:gd name="connsiteY238" fmla="*/ 396789 h 1016771"/>
                    <a:gd name="connsiteX239" fmla="*/ 3543 w 761692"/>
                    <a:gd name="connsiteY239" fmla="*/ 384389 h 1016771"/>
                    <a:gd name="connsiteX240" fmla="*/ 14171 w 761692"/>
                    <a:gd name="connsiteY240" fmla="*/ 380846 h 1016771"/>
                    <a:gd name="connsiteX241" fmla="*/ 24799 w 761692"/>
                    <a:gd name="connsiteY241" fmla="*/ 364904 h 1016771"/>
                    <a:gd name="connsiteX242" fmla="*/ 30113 w 761692"/>
                    <a:gd name="connsiteY242" fmla="*/ 350733 h 1016771"/>
                    <a:gd name="connsiteX243" fmla="*/ 35428 w 761692"/>
                    <a:gd name="connsiteY243" fmla="*/ 341876 h 1016771"/>
                    <a:gd name="connsiteX244" fmla="*/ 42513 w 761692"/>
                    <a:gd name="connsiteY244" fmla="*/ 327705 h 1016771"/>
                    <a:gd name="connsiteX245" fmla="*/ 42513 w 761692"/>
                    <a:gd name="connsiteY245" fmla="*/ 315305 h 1016771"/>
                    <a:gd name="connsiteX246" fmla="*/ 56684 w 761692"/>
                    <a:gd name="connsiteY246" fmla="*/ 309991 h 1016771"/>
                    <a:gd name="connsiteX247" fmla="*/ 60227 w 761692"/>
                    <a:gd name="connsiteY247" fmla="*/ 309991 h 1016771"/>
                    <a:gd name="connsiteX248" fmla="*/ 61998 w 761692"/>
                    <a:gd name="connsiteY248" fmla="*/ 311763 h 1016771"/>
                    <a:gd name="connsiteX249" fmla="*/ 67312 w 761692"/>
                    <a:gd name="connsiteY249" fmla="*/ 311763 h 1016771"/>
                    <a:gd name="connsiteX250" fmla="*/ 67312 w 761692"/>
                    <a:gd name="connsiteY250" fmla="*/ 309991 h 1016771"/>
                    <a:gd name="connsiteX251" fmla="*/ 67312 w 761692"/>
                    <a:gd name="connsiteY251" fmla="*/ 308220 h 1016771"/>
                    <a:gd name="connsiteX252" fmla="*/ 69084 w 761692"/>
                    <a:gd name="connsiteY252" fmla="*/ 302906 h 1016771"/>
                    <a:gd name="connsiteX253" fmla="*/ 70855 w 761692"/>
                    <a:gd name="connsiteY253" fmla="*/ 301134 h 1016771"/>
                    <a:gd name="connsiteX254" fmla="*/ 70855 w 761692"/>
                    <a:gd name="connsiteY254" fmla="*/ 299363 h 1016771"/>
                    <a:gd name="connsiteX255" fmla="*/ 77941 w 761692"/>
                    <a:gd name="connsiteY255" fmla="*/ 295820 h 1016771"/>
                    <a:gd name="connsiteX256" fmla="*/ 85026 w 761692"/>
                    <a:gd name="connsiteY256" fmla="*/ 295820 h 1016771"/>
                    <a:gd name="connsiteX257" fmla="*/ 93883 w 761692"/>
                    <a:gd name="connsiteY257" fmla="*/ 297592 h 1016771"/>
                    <a:gd name="connsiteX258" fmla="*/ 100968 w 761692"/>
                    <a:gd name="connsiteY258" fmla="*/ 288735 h 1016771"/>
                    <a:gd name="connsiteX259" fmla="*/ 97426 w 761692"/>
                    <a:gd name="connsiteY259" fmla="*/ 279878 h 1016771"/>
                    <a:gd name="connsiteX260" fmla="*/ 85026 w 761692"/>
                    <a:gd name="connsiteY260" fmla="*/ 276335 h 1016771"/>
                    <a:gd name="connsiteX261" fmla="*/ 76169 w 761692"/>
                    <a:gd name="connsiteY261" fmla="*/ 271021 h 1016771"/>
                    <a:gd name="connsiteX262" fmla="*/ 76169 w 761692"/>
                    <a:gd name="connsiteY262" fmla="*/ 262164 h 1016771"/>
                    <a:gd name="connsiteX263" fmla="*/ 81483 w 761692"/>
                    <a:gd name="connsiteY263" fmla="*/ 251536 h 1016771"/>
                    <a:gd name="connsiteX264" fmla="*/ 86797 w 761692"/>
                    <a:gd name="connsiteY264" fmla="*/ 255079 h 1016771"/>
                    <a:gd name="connsiteX265" fmla="*/ 104511 w 761692"/>
                    <a:gd name="connsiteY265" fmla="*/ 262164 h 1016771"/>
                    <a:gd name="connsiteX266" fmla="*/ 116911 w 761692"/>
                    <a:gd name="connsiteY266" fmla="*/ 265707 h 1016771"/>
                    <a:gd name="connsiteX267" fmla="*/ 132853 w 761692"/>
                    <a:gd name="connsiteY267" fmla="*/ 269250 h 1016771"/>
                    <a:gd name="connsiteX268" fmla="*/ 138167 w 761692"/>
                    <a:gd name="connsiteY268" fmla="*/ 265707 h 1016771"/>
                    <a:gd name="connsiteX269" fmla="*/ 150567 w 761692"/>
                    <a:gd name="connsiteY269" fmla="*/ 255079 h 1016771"/>
                    <a:gd name="connsiteX270" fmla="*/ 166509 w 761692"/>
                    <a:gd name="connsiteY270" fmla="*/ 255079 h 1016771"/>
                    <a:gd name="connsiteX271" fmla="*/ 166509 w 761692"/>
                    <a:gd name="connsiteY271" fmla="*/ 265707 h 1016771"/>
                    <a:gd name="connsiteX272" fmla="*/ 177138 w 761692"/>
                    <a:gd name="connsiteY272" fmla="*/ 272792 h 1016771"/>
                    <a:gd name="connsiteX273" fmla="*/ 194851 w 761692"/>
                    <a:gd name="connsiteY273" fmla="*/ 276335 h 1016771"/>
                    <a:gd name="connsiteX274" fmla="*/ 209022 w 761692"/>
                    <a:gd name="connsiteY274" fmla="*/ 279878 h 1016771"/>
                    <a:gd name="connsiteX275" fmla="*/ 221422 w 761692"/>
                    <a:gd name="connsiteY275" fmla="*/ 276335 h 1016771"/>
                    <a:gd name="connsiteX276" fmla="*/ 226736 w 761692"/>
                    <a:gd name="connsiteY276" fmla="*/ 269250 h 1016771"/>
                    <a:gd name="connsiteX277" fmla="*/ 226736 w 761692"/>
                    <a:gd name="connsiteY277" fmla="*/ 251536 h 1016771"/>
                    <a:gd name="connsiteX278" fmla="*/ 224965 w 761692"/>
                    <a:gd name="connsiteY278" fmla="*/ 239136 h 1016771"/>
                    <a:gd name="connsiteX279" fmla="*/ 214337 w 761692"/>
                    <a:gd name="connsiteY279" fmla="*/ 230279 h 1016771"/>
                    <a:gd name="connsiteX280" fmla="*/ 210794 w 761692"/>
                    <a:gd name="connsiteY280" fmla="*/ 217880 h 1016771"/>
                    <a:gd name="connsiteX281" fmla="*/ 221422 w 761692"/>
                    <a:gd name="connsiteY281" fmla="*/ 207251 h 1016771"/>
                    <a:gd name="connsiteX282" fmla="*/ 235593 w 761692"/>
                    <a:gd name="connsiteY282" fmla="*/ 214337 h 1016771"/>
                    <a:gd name="connsiteX283" fmla="*/ 246221 w 761692"/>
                    <a:gd name="connsiteY283" fmla="*/ 219651 h 1016771"/>
                    <a:gd name="connsiteX284" fmla="*/ 253307 w 761692"/>
                    <a:gd name="connsiteY284" fmla="*/ 221422 h 1016771"/>
                    <a:gd name="connsiteX285" fmla="*/ 262164 w 761692"/>
                    <a:gd name="connsiteY285" fmla="*/ 210794 h 1016771"/>
                    <a:gd name="connsiteX286" fmla="*/ 263935 w 761692"/>
                    <a:gd name="connsiteY286" fmla="*/ 201937 h 1016771"/>
                    <a:gd name="connsiteX287" fmla="*/ 274563 w 761692"/>
                    <a:gd name="connsiteY287" fmla="*/ 189538 h 1016771"/>
                    <a:gd name="connsiteX288" fmla="*/ 283420 w 761692"/>
                    <a:gd name="connsiteY288" fmla="*/ 178909 h 1016771"/>
                    <a:gd name="connsiteX289" fmla="*/ 286963 w 761692"/>
                    <a:gd name="connsiteY289" fmla="*/ 173595 h 1016771"/>
                    <a:gd name="connsiteX290" fmla="*/ 311762 w 761692"/>
                    <a:gd name="connsiteY290" fmla="*/ 168281 h 1016771"/>
                    <a:gd name="connsiteX291" fmla="*/ 325933 w 761692"/>
                    <a:gd name="connsiteY291" fmla="*/ 164738 h 1016771"/>
                    <a:gd name="connsiteX292" fmla="*/ 336562 w 761692"/>
                    <a:gd name="connsiteY292" fmla="*/ 159424 h 1016771"/>
                    <a:gd name="connsiteX293" fmla="*/ 348961 w 761692"/>
                    <a:gd name="connsiteY293" fmla="*/ 145253 h 1016771"/>
                    <a:gd name="connsiteX294" fmla="*/ 359589 w 761692"/>
                    <a:gd name="connsiteY294" fmla="*/ 143482 h 1016771"/>
                    <a:gd name="connsiteX295" fmla="*/ 371989 w 761692"/>
                    <a:gd name="connsiteY295" fmla="*/ 143482 h 1016771"/>
                    <a:gd name="connsiteX296" fmla="*/ 391474 w 761692"/>
                    <a:gd name="connsiteY296" fmla="*/ 143482 h 1016771"/>
                    <a:gd name="connsiteX297" fmla="*/ 396788 w 761692"/>
                    <a:gd name="connsiteY297" fmla="*/ 141710 h 1016771"/>
                    <a:gd name="connsiteX298" fmla="*/ 403874 w 761692"/>
                    <a:gd name="connsiteY298" fmla="*/ 134625 h 1016771"/>
                    <a:gd name="connsiteX299" fmla="*/ 409188 w 761692"/>
                    <a:gd name="connsiteY299" fmla="*/ 129311 h 1016771"/>
                    <a:gd name="connsiteX300" fmla="*/ 409188 w 761692"/>
                    <a:gd name="connsiteY300" fmla="*/ 123997 h 1016771"/>
                    <a:gd name="connsiteX301" fmla="*/ 414502 w 761692"/>
                    <a:gd name="connsiteY301" fmla="*/ 115140 h 1016771"/>
                    <a:gd name="connsiteX302" fmla="*/ 428673 w 761692"/>
                    <a:gd name="connsiteY302" fmla="*/ 115140 h 1016771"/>
                    <a:gd name="connsiteX303" fmla="*/ 432216 w 761692"/>
                    <a:gd name="connsiteY303" fmla="*/ 109826 h 1016771"/>
                    <a:gd name="connsiteX304" fmla="*/ 437530 w 761692"/>
                    <a:gd name="connsiteY304" fmla="*/ 100969 h 1016771"/>
                    <a:gd name="connsiteX305" fmla="*/ 448158 w 761692"/>
                    <a:gd name="connsiteY305" fmla="*/ 99197 h 1016771"/>
                    <a:gd name="connsiteX306" fmla="*/ 460558 w 761692"/>
                    <a:gd name="connsiteY306" fmla="*/ 97426 h 1016771"/>
                    <a:gd name="connsiteX307" fmla="*/ 472958 w 761692"/>
                    <a:gd name="connsiteY307" fmla="*/ 93883 h 1016771"/>
                    <a:gd name="connsiteX308" fmla="*/ 492443 w 761692"/>
                    <a:gd name="connsiteY308" fmla="*/ 93883 h 1016771"/>
                    <a:gd name="connsiteX309" fmla="*/ 501300 w 761692"/>
                    <a:gd name="connsiteY309" fmla="*/ 83255 h 1016771"/>
                    <a:gd name="connsiteX310" fmla="*/ 517242 w 761692"/>
                    <a:gd name="connsiteY310" fmla="*/ 81484 h 1016771"/>
                    <a:gd name="connsiteX311" fmla="*/ 522556 w 761692"/>
                    <a:gd name="connsiteY311" fmla="*/ 81484 h 1016771"/>
                    <a:gd name="connsiteX312" fmla="*/ 522556 w 761692"/>
                    <a:gd name="connsiteY312" fmla="*/ 60227 h 1016771"/>
                    <a:gd name="connsiteX313" fmla="*/ 526099 w 761692"/>
                    <a:gd name="connsiteY313" fmla="*/ 54913 h 1016771"/>
                    <a:gd name="connsiteX314" fmla="*/ 529642 w 761692"/>
                    <a:gd name="connsiteY314" fmla="*/ 46056 h 1016771"/>
                    <a:gd name="connsiteX315" fmla="*/ 538499 w 761692"/>
                    <a:gd name="connsiteY315" fmla="*/ 40742 h 1016771"/>
                    <a:gd name="connsiteX316" fmla="*/ 540270 w 761692"/>
                    <a:gd name="connsiteY316" fmla="*/ 30114 h 1016771"/>
                    <a:gd name="connsiteX317" fmla="*/ 536727 w 761692"/>
                    <a:gd name="connsiteY317" fmla="*/ 19485 h 1016771"/>
                    <a:gd name="connsiteX318" fmla="*/ 543813 w 761692"/>
                    <a:gd name="connsiteY318" fmla="*/ 5314 h 1016771"/>
                    <a:gd name="connsiteX319" fmla="*/ 554441 w 761692"/>
                    <a:gd name="connsiteY319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9645 w 761692"/>
                    <a:gd name="connsiteY9" fmla="*/ 860925 h 1016771"/>
                    <a:gd name="connsiteX10" fmla="*/ 148122 w 761692"/>
                    <a:gd name="connsiteY10" fmla="*/ 867707 h 1016771"/>
                    <a:gd name="connsiteX11" fmla="*/ 158294 w 761692"/>
                    <a:gd name="connsiteY11" fmla="*/ 879574 h 1016771"/>
                    <a:gd name="connsiteX12" fmla="*/ 175247 w 761692"/>
                    <a:gd name="connsiteY12" fmla="*/ 889746 h 1016771"/>
                    <a:gd name="connsiteX13" fmla="*/ 188810 w 761692"/>
                    <a:gd name="connsiteY13" fmla="*/ 893137 h 1016771"/>
                    <a:gd name="connsiteX14" fmla="*/ 195591 w 761692"/>
                    <a:gd name="connsiteY14" fmla="*/ 893137 h 1016771"/>
                    <a:gd name="connsiteX15" fmla="*/ 202372 w 761692"/>
                    <a:gd name="connsiteY15" fmla="*/ 886355 h 1016771"/>
                    <a:gd name="connsiteX16" fmla="*/ 189537 w 761692"/>
                    <a:gd name="connsiteY16" fmla="*/ 894546 h 1016771"/>
                    <a:gd name="connsiteX17" fmla="*/ 175366 w 761692"/>
                    <a:gd name="connsiteY17" fmla="*/ 891003 h 1016771"/>
                    <a:gd name="connsiteX18" fmla="*/ 157653 w 761692"/>
                    <a:gd name="connsiteY18" fmla="*/ 880375 h 1016771"/>
                    <a:gd name="connsiteX19" fmla="*/ 147024 w 761692"/>
                    <a:gd name="connsiteY19" fmla="*/ 867975 h 1016771"/>
                    <a:gd name="connsiteX20" fmla="*/ 138167 w 761692"/>
                    <a:gd name="connsiteY20" fmla="*/ 860890 h 1016771"/>
                    <a:gd name="connsiteX21" fmla="*/ 138167 w 761692"/>
                    <a:gd name="connsiteY21" fmla="*/ 852033 h 1016771"/>
                    <a:gd name="connsiteX22" fmla="*/ 139939 w 761692"/>
                    <a:gd name="connsiteY22" fmla="*/ 850262 h 1016771"/>
                    <a:gd name="connsiteX23" fmla="*/ 139939 w 761692"/>
                    <a:gd name="connsiteY23" fmla="*/ 848490 h 1016771"/>
                    <a:gd name="connsiteX24" fmla="*/ 145253 w 761692"/>
                    <a:gd name="connsiteY24" fmla="*/ 843176 h 1016771"/>
                    <a:gd name="connsiteX25" fmla="*/ 147024 w 761692"/>
                    <a:gd name="connsiteY25" fmla="*/ 841405 h 1016771"/>
                    <a:gd name="connsiteX26" fmla="*/ 148796 w 761692"/>
                    <a:gd name="connsiteY26" fmla="*/ 839633 h 1016771"/>
                    <a:gd name="connsiteX27" fmla="*/ 150567 w 761692"/>
                    <a:gd name="connsiteY27" fmla="*/ 837862 h 1016771"/>
                    <a:gd name="connsiteX28" fmla="*/ 159250 w 761692"/>
                    <a:gd name="connsiteY28" fmla="*/ 829179 h 1016771"/>
                    <a:gd name="connsiteX29" fmla="*/ 116476 w 761692"/>
                    <a:gd name="connsiteY29" fmla="*/ 741349 h 1016771"/>
                    <a:gd name="connsiteX30" fmla="*/ 117606 w 761692"/>
                    <a:gd name="connsiteY30" fmla="*/ 742253 h 1016771"/>
                    <a:gd name="connsiteX31" fmla="*/ 122692 w 761692"/>
                    <a:gd name="connsiteY31" fmla="*/ 759206 h 1016771"/>
                    <a:gd name="connsiteX32" fmla="*/ 126082 w 761692"/>
                    <a:gd name="connsiteY32" fmla="*/ 771073 h 1016771"/>
                    <a:gd name="connsiteX33" fmla="*/ 129473 w 761692"/>
                    <a:gd name="connsiteY33" fmla="*/ 782940 h 1016771"/>
                    <a:gd name="connsiteX34" fmla="*/ 132864 w 761692"/>
                    <a:gd name="connsiteY34" fmla="*/ 793112 h 1016771"/>
                    <a:gd name="connsiteX35" fmla="*/ 136254 w 761692"/>
                    <a:gd name="connsiteY35" fmla="*/ 810066 h 1016771"/>
                    <a:gd name="connsiteX36" fmla="*/ 139058 w 761692"/>
                    <a:gd name="connsiteY36" fmla="*/ 818476 h 1016771"/>
                    <a:gd name="connsiteX37" fmla="*/ 138167 w 761692"/>
                    <a:gd name="connsiteY37" fmla="*/ 818377 h 1016771"/>
                    <a:gd name="connsiteX38" fmla="*/ 134625 w 761692"/>
                    <a:gd name="connsiteY38" fmla="*/ 807749 h 1016771"/>
                    <a:gd name="connsiteX39" fmla="*/ 131082 w 761692"/>
                    <a:gd name="connsiteY39" fmla="*/ 790035 h 1016771"/>
                    <a:gd name="connsiteX40" fmla="*/ 127539 w 761692"/>
                    <a:gd name="connsiteY40" fmla="*/ 779407 h 1016771"/>
                    <a:gd name="connsiteX41" fmla="*/ 123996 w 761692"/>
                    <a:gd name="connsiteY41" fmla="*/ 767007 h 1016771"/>
                    <a:gd name="connsiteX42" fmla="*/ 120454 w 761692"/>
                    <a:gd name="connsiteY42" fmla="*/ 754607 h 1016771"/>
                    <a:gd name="connsiteX43" fmla="*/ 116476 w 761692"/>
                    <a:gd name="connsiteY43" fmla="*/ 741349 h 1016771"/>
                    <a:gd name="connsiteX44" fmla="*/ 554441 w 761692"/>
                    <a:gd name="connsiteY44" fmla="*/ 0 h 1016771"/>
                    <a:gd name="connsiteX45" fmla="*/ 570383 w 761692"/>
                    <a:gd name="connsiteY45" fmla="*/ 3543 h 1016771"/>
                    <a:gd name="connsiteX46" fmla="*/ 577469 w 761692"/>
                    <a:gd name="connsiteY46" fmla="*/ 8857 h 1016771"/>
                    <a:gd name="connsiteX47" fmla="*/ 582783 w 761692"/>
                    <a:gd name="connsiteY47" fmla="*/ 17714 h 1016771"/>
                    <a:gd name="connsiteX48" fmla="*/ 582783 w 761692"/>
                    <a:gd name="connsiteY48" fmla="*/ 24799 h 1016771"/>
                    <a:gd name="connsiteX49" fmla="*/ 588097 w 761692"/>
                    <a:gd name="connsiteY49" fmla="*/ 33656 h 1016771"/>
                    <a:gd name="connsiteX50" fmla="*/ 598725 w 761692"/>
                    <a:gd name="connsiteY50" fmla="*/ 31885 h 1016771"/>
                    <a:gd name="connsiteX51" fmla="*/ 612896 w 761692"/>
                    <a:gd name="connsiteY51" fmla="*/ 37199 h 1016771"/>
                    <a:gd name="connsiteX52" fmla="*/ 618211 w 761692"/>
                    <a:gd name="connsiteY52" fmla="*/ 46056 h 1016771"/>
                    <a:gd name="connsiteX53" fmla="*/ 619982 w 761692"/>
                    <a:gd name="connsiteY53" fmla="*/ 54913 h 1016771"/>
                    <a:gd name="connsiteX54" fmla="*/ 618211 w 761692"/>
                    <a:gd name="connsiteY54" fmla="*/ 74398 h 1016771"/>
                    <a:gd name="connsiteX55" fmla="*/ 616439 w 761692"/>
                    <a:gd name="connsiteY55" fmla="*/ 85026 h 1016771"/>
                    <a:gd name="connsiteX56" fmla="*/ 621753 w 761692"/>
                    <a:gd name="connsiteY56" fmla="*/ 97426 h 1016771"/>
                    <a:gd name="connsiteX57" fmla="*/ 637696 w 761692"/>
                    <a:gd name="connsiteY57" fmla="*/ 113368 h 1016771"/>
                    <a:gd name="connsiteX58" fmla="*/ 644781 w 761692"/>
                    <a:gd name="connsiteY58" fmla="*/ 120454 h 1016771"/>
                    <a:gd name="connsiteX59" fmla="*/ 650095 w 761692"/>
                    <a:gd name="connsiteY59" fmla="*/ 136396 h 1016771"/>
                    <a:gd name="connsiteX60" fmla="*/ 655409 w 761692"/>
                    <a:gd name="connsiteY60" fmla="*/ 155881 h 1016771"/>
                    <a:gd name="connsiteX61" fmla="*/ 662495 w 761692"/>
                    <a:gd name="connsiteY61" fmla="*/ 171824 h 1016771"/>
                    <a:gd name="connsiteX62" fmla="*/ 660724 w 761692"/>
                    <a:gd name="connsiteY62" fmla="*/ 185995 h 1016771"/>
                    <a:gd name="connsiteX63" fmla="*/ 635924 w 761692"/>
                    <a:gd name="connsiteY63" fmla="*/ 194852 h 1016771"/>
                    <a:gd name="connsiteX64" fmla="*/ 619982 w 761692"/>
                    <a:gd name="connsiteY64" fmla="*/ 207251 h 1016771"/>
                    <a:gd name="connsiteX65" fmla="*/ 614668 w 761692"/>
                    <a:gd name="connsiteY65" fmla="*/ 223194 h 1016771"/>
                    <a:gd name="connsiteX66" fmla="*/ 618211 w 761692"/>
                    <a:gd name="connsiteY66" fmla="*/ 242679 h 1016771"/>
                    <a:gd name="connsiteX67" fmla="*/ 612896 w 761692"/>
                    <a:gd name="connsiteY67" fmla="*/ 256850 h 1016771"/>
                    <a:gd name="connsiteX68" fmla="*/ 625296 w 761692"/>
                    <a:gd name="connsiteY68" fmla="*/ 267478 h 1016771"/>
                    <a:gd name="connsiteX69" fmla="*/ 641238 w 761692"/>
                    <a:gd name="connsiteY69" fmla="*/ 269250 h 1016771"/>
                    <a:gd name="connsiteX70" fmla="*/ 658952 w 761692"/>
                    <a:gd name="connsiteY70" fmla="*/ 286963 h 1016771"/>
                    <a:gd name="connsiteX71" fmla="*/ 653638 w 761692"/>
                    <a:gd name="connsiteY71" fmla="*/ 309991 h 1016771"/>
                    <a:gd name="connsiteX72" fmla="*/ 653638 w 761692"/>
                    <a:gd name="connsiteY72" fmla="*/ 329476 h 1016771"/>
                    <a:gd name="connsiteX73" fmla="*/ 643010 w 761692"/>
                    <a:gd name="connsiteY73" fmla="*/ 338333 h 1016771"/>
                    <a:gd name="connsiteX74" fmla="*/ 632382 w 761692"/>
                    <a:gd name="connsiteY74" fmla="*/ 338333 h 1016771"/>
                    <a:gd name="connsiteX75" fmla="*/ 618211 w 761692"/>
                    <a:gd name="connsiteY75" fmla="*/ 357819 h 1016771"/>
                    <a:gd name="connsiteX76" fmla="*/ 609354 w 761692"/>
                    <a:gd name="connsiteY76" fmla="*/ 361361 h 1016771"/>
                    <a:gd name="connsiteX77" fmla="*/ 596954 w 761692"/>
                    <a:gd name="connsiteY77" fmla="*/ 363133 h 1016771"/>
                    <a:gd name="connsiteX78" fmla="*/ 581012 w 761692"/>
                    <a:gd name="connsiteY78" fmla="*/ 379075 h 1016771"/>
                    <a:gd name="connsiteX79" fmla="*/ 589868 w 761692"/>
                    <a:gd name="connsiteY79" fmla="*/ 393246 h 1016771"/>
                    <a:gd name="connsiteX80" fmla="*/ 586326 w 761692"/>
                    <a:gd name="connsiteY80" fmla="*/ 409189 h 1016771"/>
                    <a:gd name="connsiteX81" fmla="*/ 570383 w 761692"/>
                    <a:gd name="connsiteY81" fmla="*/ 398560 h 1016771"/>
                    <a:gd name="connsiteX82" fmla="*/ 550898 w 761692"/>
                    <a:gd name="connsiteY82" fmla="*/ 405646 h 1016771"/>
                    <a:gd name="connsiteX83" fmla="*/ 531413 w 761692"/>
                    <a:gd name="connsiteY83" fmla="*/ 425131 h 1016771"/>
                    <a:gd name="connsiteX84" fmla="*/ 543813 w 761692"/>
                    <a:gd name="connsiteY84" fmla="*/ 444616 h 1016771"/>
                    <a:gd name="connsiteX85" fmla="*/ 557984 w 761692"/>
                    <a:gd name="connsiteY85" fmla="*/ 462330 h 1016771"/>
                    <a:gd name="connsiteX86" fmla="*/ 570383 w 761692"/>
                    <a:gd name="connsiteY86" fmla="*/ 478272 h 1016771"/>
                    <a:gd name="connsiteX87" fmla="*/ 579240 w 761692"/>
                    <a:gd name="connsiteY87" fmla="*/ 485358 h 1016771"/>
                    <a:gd name="connsiteX88" fmla="*/ 602268 w 761692"/>
                    <a:gd name="connsiteY88" fmla="*/ 483586 h 1016771"/>
                    <a:gd name="connsiteX89" fmla="*/ 623525 w 761692"/>
                    <a:gd name="connsiteY89" fmla="*/ 474730 h 1016771"/>
                    <a:gd name="connsiteX90" fmla="*/ 639467 w 761692"/>
                    <a:gd name="connsiteY90" fmla="*/ 464101 h 1016771"/>
                    <a:gd name="connsiteX91" fmla="*/ 662495 w 761692"/>
                    <a:gd name="connsiteY91" fmla="*/ 464101 h 1016771"/>
                    <a:gd name="connsiteX92" fmla="*/ 673123 w 761692"/>
                    <a:gd name="connsiteY92" fmla="*/ 464101 h 1016771"/>
                    <a:gd name="connsiteX93" fmla="*/ 681980 w 761692"/>
                    <a:gd name="connsiteY93" fmla="*/ 467644 h 1016771"/>
                    <a:gd name="connsiteX94" fmla="*/ 703237 w 761692"/>
                    <a:gd name="connsiteY94" fmla="*/ 471187 h 1016771"/>
                    <a:gd name="connsiteX95" fmla="*/ 708551 w 761692"/>
                    <a:gd name="connsiteY95" fmla="*/ 474730 h 1016771"/>
                    <a:gd name="connsiteX96" fmla="*/ 722722 w 761692"/>
                    <a:gd name="connsiteY96" fmla="*/ 501300 h 1016771"/>
                    <a:gd name="connsiteX97" fmla="*/ 724493 w 761692"/>
                    <a:gd name="connsiteY97" fmla="*/ 522557 h 1016771"/>
                    <a:gd name="connsiteX98" fmla="*/ 722722 w 761692"/>
                    <a:gd name="connsiteY98" fmla="*/ 540271 h 1016771"/>
                    <a:gd name="connsiteX99" fmla="*/ 735121 w 761692"/>
                    <a:gd name="connsiteY99" fmla="*/ 552670 h 1016771"/>
                    <a:gd name="connsiteX100" fmla="*/ 735121 w 761692"/>
                    <a:gd name="connsiteY100" fmla="*/ 570384 h 1016771"/>
                    <a:gd name="connsiteX101" fmla="*/ 751064 w 761692"/>
                    <a:gd name="connsiteY101" fmla="*/ 581012 h 1016771"/>
                    <a:gd name="connsiteX102" fmla="*/ 761692 w 761692"/>
                    <a:gd name="connsiteY102" fmla="*/ 604040 h 1016771"/>
                    <a:gd name="connsiteX103" fmla="*/ 747521 w 761692"/>
                    <a:gd name="connsiteY103" fmla="*/ 616440 h 1016771"/>
                    <a:gd name="connsiteX104" fmla="*/ 728036 w 761692"/>
                    <a:gd name="connsiteY104" fmla="*/ 627068 h 1016771"/>
                    <a:gd name="connsiteX105" fmla="*/ 726264 w 761692"/>
                    <a:gd name="connsiteY105" fmla="*/ 650096 h 1016771"/>
                    <a:gd name="connsiteX106" fmla="*/ 728036 w 761692"/>
                    <a:gd name="connsiteY106" fmla="*/ 673124 h 1016771"/>
                    <a:gd name="connsiteX107" fmla="*/ 742207 w 761692"/>
                    <a:gd name="connsiteY107" fmla="*/ 689066 h 1016771"/>
                    <a:gd name="connsiteX108" fmla="*/ 742207 w 761692"/>
                    <a:gd name="connsiteY108" fmla="*/ 712094 h 1016771"/>
                    <a:gd name="connsiteX109" fmla="*/ 740435 w 761692"/>
                    <a:gd name="connsiteY109" fmla="*/ 735122 h 1016771"/>
                    <a:gd name="connsiteX110" fmla="*/ 742207 w 761692"/>
                    <a:gd name="connsiteY110" fmla="*/ 751065 h 1016771"/>
                    <a:gd name="connsiteX111" fmla="*/ 747521 w 761692"/>
                    <a:gd name="connsiteY111" fmla="*/ 768778 h 1016771"/>
                    <a:gd name="connsiteX112" fmla="*/ 759921 w 761692"/>
                    <a:gd name="connsiteY112" fmla="*/ 777635 h 1016771"/>
                    <a:gd name="connsiteX113" fmla="*/ 758149 w 761692"/>
                    <a:gd name="connsiteY113" fmla="*/ 802434 h 1016771"/>
                    <a:gd name="connsiteX114" fmla="*/ 752835 w 761692"/>
                    <a:gd name="connsiteY114" fmla="*/ 814834 h 1016771"/>
                    <a:gd name="connsiteX115" fmla="*/ 743978 w 761692"/>
                    <a:gd name="connsiteY115" fmla="*/ 827234 h 1016771"/>
                    <a:gd name="connsiteX116" fmla="*/ 743978 w 761692"/>
                    <a:gd name="connsiteY116" fmla="*/ 837862 h 1016771"/>
                    <a:gd name="connsiteX117" fmla="*/ 747521 w 761692"/>
                    <a:gd name="connsiteY117" fmla="*/ 853804 h 1016771"/>
                    <a:gd name="connsiteX118" fmla="*/ 733350 w 761692"/>
                    <a:gd name="connsiteY118" fmla="*/ 867975 h 1016771"/>
                    <a:gd name="connsiteX119" fmla="*/ 724493 w 761692"/>
                    <a:gd name="connsiteY119" fmla="*/ 880375 h 1016771"/>
                    <a:gd name="connsiteX120" fmla="*/ 722722 w 761692"/>
                    <a:gd name="connsiteY120" fmla="*/ 899860 h 1016771"/>
                    <a:gd name="connsiteX121" fmla="*/ 722722 w 761692"/>
                    <a:gd name="connsiteY121" fmla="*/ 919345 h 1016771"/>
                    <a:gd name="connsiteX122" fmla="*/ 715636 w 761692"/>
                    <a:gd name="connsiteY122" fmla="*/ 940602 h 1016771"/>
                    <a:gd name="connsiteX123" fmla="*/ 708551 w 761692"/>
                    <a:gd name="connsiteY123" fmla="*/ 954773 h 1016771"/>
                    <a:gd name="connsiteX124" fmla="*/ 699694 w 761692"/>
                    <a:gd name="connsiteY124" fmla="*/ 965401 h 1016771"/>
                    <a:gd name="connsiteX125" fmla="*/ 692608 w 761692"/>
                    <a:gd name="connsiteY125" fmla="*/ 984886 h 1016771"/>
                    <a:gd name="connsiteX126" fmla="*/ 683751 w 761692"/>
                    <a:gd name="connsiteY126" fmla="*/ 997286 h 1016771"/>
                    <a:gd name="connsiteX127" fmla="*/ 673123 w 761692"/>
                    <a:gd name="connsiteY127" fmla="*/ 1002600 h 1016771"/>
                    <a:gd name="connsiteX128" fmla="*/ 662495 w 761692"/>
                    <a:gd name="connsiteY128" fmla="*/ 1013228 h 1016771"/>
                    <a:gd name="connsiteX129" fmla="*/ 644781 w 761692"/>
                    <a:gd name="connsiteY129" fmla="*/ 1016771 h 1016771"/>
                    <a:gd name="connsiteX130" fmla="*/ 635924 w 761692"/>
                    <a:gd name="connsiteY130" fmla="*/ 1004372 h 1016771"/>
                    <a:gd name="connsiteX131" fmla="*/ 623525 w 761692"/>
                    <a:gd name="connsiteY131" fmla="*/ 997286 h 1016771"/>
                    <a:gd name="connsiteX132" fmla="*/ 614668 w 761692"/>
                    <a:gd name="connsiteY132" fmla="*/ 986658 h 1016771"/>
                    <a:gd name="connsiteX133" fmla="*/ 593411 w 761692"/>
                    <a:gd name="connsiteY133" fmla="*/ 970715 h 1016771"/>
                    <a:gd name="connsiteX134" fmla="*/ 582783 w 761692"/>
                    <a:gd name="connsiteY134" fmla="*/ 965401 h 1016771"/>
                    <a:gd name="connsiteX135" fmla="*/ 531413 w 761692"/>
                    <a:gd name="connsiteY135" fmla="*/ 965401 h 1016771"/>
                    <a:gd name="connsiteX136" fmla="*/ 511928 w 761692"/>
                    <a:gd name="connsiteY136" fmla="*/ 965401 h 1016771"/>
                    <a:gd name="connsiteX137" fmla="*/ 492443 w 761692"/>
                    <a:gd name="connsiteY137" fmla="*/ 963630 h 1016771"/>
                    <a:gd name="connsiteX138" fmla="*/ 483586 w 761692"/>
                    <a:gd name="connsiteY138" fmla="*/ 958316 h 1016771"/>
                    <a:gd name="connsiteX139" fmla="*/ 469415 w 761692"/>
                    <a:gd name="connsiteY139" fmla="*/ 954773 h 1016771"/>
                    <a:gd name="connsiteX140" fmla="*/ 460558 w 761692"/>
                    <a:gd name="connsiteY140" fmla="*/ 942373 h 1016771"/>
                    <a:gd name="connsiteX141" fmla="*/ 446387 w 761692"/>
                    <a:gd name="connsiteY141" fmla="*/ 935288 h 1016771"/>
                    <a:gd name="connsiteX142" fmla="*/ 428673 w 761692"/>
                    <a:gd name="connsiteY142" fmla="*/ 928202 h 1016771"/>
                    <a:gd name="connsiteX143" fmla="*/ 418045 w 761692"/>
                    <a:gd name="connsiteY143" fmla="*/ 917574 h 1016771"/>
                    <a:gd name="connsiteX144" fmla="*/ 421588 w 761692"/>
                    <a:gd name="connsiteY144" fmla="*/ 903403 h 1016771"/>
                    <a:gd name="connsiteX145" fmla="*/ 418045 w 761692"/>
                    <a:gd name="connsiteY145" fmla="*/ 898089 h 1016771"/>
                    <a:gd name="connsiteX146" fmla="*/ 396788 w 761692"/>
                    <a:gd name="connsiteY146" fmla="*/ 898089 h 1016771"/>
                    <a:gd name="connsiteX147" fmla="*/ 382617 w 761692"/>
                    <a:gd name="connsiteY147" fmla="*/ 896318 h 1016771"/>
                    <a:gd name="connsiteX148" fmla="*/ 380846 w 761692"/>
                    <a:gd name="connsiteY148" fmla="*/ 906946 h 1016771"/>
                    <a:gd name="connsiteX149" fmla="*/ 373601 w 761692"/>
                    <a:gd name="connsiteY149" fmla="*/ 894832 h 1016771"/>
                    <a:gd name="connsiteX150" fmla="*/ 387164 w 761692"/>
                    <a:gd name="connsiteY150" fmla="*/ 896527 h 1016771"/>
                    <a:gd name="connsiteX151" fmla="*/ 383773 w 761692"/>
                    <a:gd name="connsiteY151" fmla="*/ 886355 h 1016771"/>
                    <a:gd name="connsiteX152" fmla="*/ 387164 w 761692"/>
                    <a:gd name="connsiteY152" fmla="*/ 876183 h 1016771"/>
                    <a:gd name="connsiteX153" fmla="*/ 388859 w 761692"/>
                    <a:gd name="connsiteY153" fmla="*/ 867707 h 1016771"/>
                    <a:gd name="connsiteX154" fmla="*/ 380382 w 761692"/>
                    <a:gd name="connsiteY154" fmla="*/ 859230 h 1016771"/>
                    <a:gd name="connsiteX155" fmla="*/ 373601 w 761692"/>
                    <a:gd name="connsiteY155" fmla="*/ 849058 h 1016771"/>
                    <a:gd name="connsiteX156" fmla="*/ 380382 w 761692"/>
                    <a:gd name="connsiteY156" fmla="*/ 838886 h 1016771"/>
                    <a:gd name="connsiteX157" fmla="*/ 383773 w 761692"/>
                    <a:gd name="connsiteY157" fmla="*/ 833800 h 1016771"/>
                    <a:gd name="connsiteX158" fmla="*/ 388859 w 761692"/>
                    <a:gd name="connsiteY158" fmla="*/ 825324 h 1016771"/>
                    <a:gd name="connsiteX159" fmla="*/ 387164 w 761692"/>
                    <a:gd name="connsiteY159" fmla="*/ 810066 h 1016771"/>
                    <a:gd name="connsiteX160" fmla="*/ 387164 w 761692"/>
                    <a:gd name="connsiteY160" fmla="*/ 796503 h 1016771"/>
                    <a:gd name="connsiteX161" fmla="*/ 378687 w 761692"/>
                    <a:gd name="connsiteY161" fmla="*/ 789722 h 1016771"/>
                    <a:gd name="connsiteX162" fmla="*/ 366820 w 761692"/>
                    <a:gd name="connsiteY162" fmla="*/ 782940 h 1016771"/>
                    <a:gd name="connsiteX163" fmla="*/ 356648 w 761692"/>
                    <a:gd name="connsiteY163" fmla="*/ 781245 h 1016771"/>
                    <a:gd name="connsiteX164" fmla="*/ 349866 w 761692"/>
                    <a:gd name="connsiteY164" fmla="*/ 771073 h 1016771"/>
                    <a:gd name="connsiteX165" fmla="*/ 349866 w 761692"/>
                    <a:gd name="connsiteY165" fmla="*/ 752425 h 1016771"/>
                    <a:gd name="connsiteX166" fmla="*/ 353257 w 761692"/>
                    <a:gd name="connsiteY166" fmla="*/ 743948 h 1016771"/>
                    <a:gd name="connsiteX167" fmla="*/ 354952 w 761692"/>
                    <a:gd name="connsiteY167" fmla="*/ 730385 h 1016771"/>
                    <a:gd name="connsiteX168" fmla="*/ 353257 w 761692"/>
                    <a:gd name="connsiteY168" fmla="*/ 713432 h 1016771"/>
                    <a:gd name="connsiteX169" fmla="*/ 346476 w 761692"/>
                    <a:gd name="connsiteY169" fmla="*/ 701565 h 1016771"/>
                    <a:gd name="connsiteX170" fmla="*/ 332913 w 761692"/>
                    <a:gd name="connsiteY170" fmla="*/ 689697 h 1016771"/>
                    <a:gd name="connsiteX171" fmla="*/ 324436 w 761692"/>
                    <a:gd name="connsiteY171" fmla="*/ 681221 h 1016771"/>
                    <a:gd name="connsiteX172" fmla="*/ 314264 w 761692"/>
                    <a:gd name="connsiteY172" fmla="*/ 676135 h 1016771"/>
                    <a:gd name="connsiteX173" fmla="*/ 293920 w 761692"/>
                    <a:gd name="connsiteY173" fmla="*/ 669354 h 1016771"/>
                    <a:gd name="connsiteX174" fmla="*/ 282053 w 761692"/>
                    <a:gd name="connsiteY174" fmla="*/ 667658 h 1016771"/>
                    <a:gd name="connsiteX175" fmla="*/ 266795 w 761692"/>
                    <a:gd name="connsiteY175" fmla="*/ 672744 h 1016771"/>
                    <a:gd name="connsiteX176" fmla="*/ 265100 w 761692"/>
                    <a:gd name="connsiteY176" fmla="*/ 672744 h 1016771"/>
                    <a:gd name="connsiteX177" fmla="*/ 263404 w 761692"/>
                    <a:gd name="connsiteY177" fmla="*/ 671049 h 1016771"/>
                    <a:gd name="connsiteX178" fmla="*/ 260014 w 761692"/>
                    <a:gd name="connsiteY178" fmla="*/ 671049 h 1016771"/>
                    <a:gd name="connsiteX179" fmla="*/ 258318 w 761692"/>
                    <a:gd name="connsiteY179" fmla="*/ 671049 h 1016771"/>
                    <a:gd name="connsiteX180" fmla="*/ 253232 w 761692"/>
                    <a:gd name="connsiteY180" fmla="*/ 671049 h 1016771"/>
                    <a:gd name="connsiteX181" fmla="*/ 248146 w 761692"/>
                    <a:gd name="connsiteY181" fmla="*/ 672744 h 1016771"/>
                    <a:gd name="connsiteX182" fmla="*/ 248146 w 761692"/>
                    <a:gd name="connsiteY182" fmla="*/ 674440 h 1016771"/>
                    <a:gd name="connsiteX183" fmla="*/ 246451 w 761692"/>
                    <a:gd name="connsiteY183" fmla="*/ 674440 h 1016771"/>
                    <a:gd name="connsiteX184" fmla="*/ 236279 w 761692"/>
                    <a:gd name="connsiteY184" fmla="*/ 679526 h 1016771"/>
                    <a:gd name="connsiteX185" fmla="*/ 226107 w 761692"/>
                    <a:gd name="connsiteY185" fmla="*/ 684612 h 1016771"/>
                    <a:gd name="connsiteX186" fmla="*/ 217630 w 761692"/>
                    <a:gd name="connsiteY186" fmla="*/ 684612 h 1016771"/>
                    <a:gd name="connsiteX187" fmla="*/ 207458 w 761692"/>
                    <a:gd name="connsiteY187" fmla="*/ 693088 h 1016771"/>
                    <a:gd name="connsiteX188" fmla="*/ 198982 w 761692"/>
                    <a:gd name="connsiteY188" fmla="*/ 694783 h 1016771"/>
                    <a:gd name="connsiteX189" fmla="*/ 192200 w 761692"/>
                    <a:gd name="connsiteY189" fmla="*/ 699869 h 1016771"/>
                    <a:gd name="connsiteX190" fmla="*/ 178638 w 761692"/>
                    <a:gd name="connsiteY190" fmla="*/ 706651 h 1016771"/>
                    <a:gd name="connsiteX191" fmla="*/ 163380 w 761692"/>
                    <a:gd name="connsiteY191" fmla="*/ 710041 h 1016771"/>
                    <a:gd name="connsiteX192" fmla="*/ 141340 w 761692"/>
                    <a:gd name="connsiteY192" fmla="*/ 710041 h 1016771"/>
                    <a:gd name="connsiteX193" fmla="*/ 134559 w 761692"/>
                    <a:gd name="connsiteY193" fmla="*/ 716823 h 1016771"/>
                    <a:gd name="connsiteX194" fmla="*/ 127778 w 761692"/>
                    <a:gd name="connsiteY194" fmla="*/ 718518 h 1016771"/>
                    <a:gd name="connsiteX195" fmla="*/ 120996 w 761692"/>
                    <a:gd name="connsiteY195" fmla="*/ 725299 h 1016771"/>
                    <a:gd name="connsiteX196" fmla="*/ 111172 w 761692"/>
                    <a:gd name="connsiteY196" fmla="*/ 733720 h 1016771"/>
                    <a:gd name="connsiteX197" fmla="*/ 106283 w 761692"/>
                    <a:gd name="connsiteY197" fmla="*/ 729808 h 1016771"/>
                    <a:gd name="connsiteX198" fmla="*/ 92112 w 761692"/>
                    <a:gd name="connsiteY198" fmla="*/ 724494 h 1016771"/>
                    <a:gd name="connsiteX199" fmla="*/ 77941 w 761692"/>
                    <a:gd name="connsiteY199" fmla="*/ 726265 h 1016771"/>
                    <a:gd name="connsiteX200" fmla="*/ 70855 w 761692"/>
                    <a:gd name="connsiteY200" fmla="*/ 719180 h 1016771"/>
                    <a:gd name="connsiteX201" fmla="*/ 70855 w 761692"/>
                    <a:gd name="connsiteY201" fmla="*/ 699695 h 1016771"/>
                    <a:gd name="connsiteX202" fmla="*/ 81483 w 761692"/>
                    <a:gd name="connsiteY202" fmla="*/ 685524 h 1016771"/>
                    <a:gd name="connsiteX203" fmla="*/ 85026 w 761692"/>
                    <a:gd name="connsiteY203" fmla="*/ 673124 h 1016771"/>
                    <a:gd name="connsiteX204" fmla="*/ 86797 w 761692"/>
                    <a:gd name="connsiteY204" fmla="*/ 660724 h 1016771"/>
                    <a:gd name="connsiteX205" fmla="*/ 97426 w 761692"/>
                    <a:gd name="connsiteY205" fmla="*/ 650096 h 1016771"/>
                    <a:gd name="connsiteX206" fmla="*/ 102740 w 761692"/>
                    <a:gd name="connsiteY206" fmla="*/ 635925 h 1016771"/>
                    <a:gd name="connsiteX207" fmla="*/ 113368 w 761692"/>
                    <a:gd name="connsiteY207" fmla="*/ 625297 h 1016771"/>
                    <a:gd name="connsiteX208" fmla="*/ 115139 w 761692"/>
                    <a:gd name="connsiteY208" fmla="*/ 612897 h 1016771"/>
                    <a:gd name="connsiteX209" fmla="*/ 127539 w 761692"/>
                    <a:gd name="connsiteY209" fmla="*/ 609354 h 1016771"/>
                    <a:gd name="connsiteX210" fmla="*/ 136396 w 761692"/>
                    <a:gd name="connsiteY210" fmla="*/ 604040 h 1016771"/>
                    <a:gd name="connsiteX211" fmla="*/ 132853 w 761692"/>
                    <a:gd name="connsiteY211" fmla="*/ 593412 h 1016771"/>
                    <a:gd name="connsiteX212" fmla="*/ 134625 w 761692"/>
                    <a:gd name="connsiteY212" fmla="*/ 584555 h 1016771"/>
                    <a:gd name="connsiteX213" fmla="*/ 131082 w 761692"/>
                    <a:gd name="connsiteY213" fmla="*/ 575698 h 1016771"/>
                    <a:gd name="connsiteX214" fmla="*/ 120454 w 761692"/>
                    <a:gd name="connsiteY214" fmla="*/ 568613 h 1016771"/>
                    <a:gd name="connsiteX215" fmla="*/ 125768 w 761692"/>
                    <a:gd name="connsiteY215" fmla="*/ 552670 h 1016771"/>
                    <a:gd name="connsiteX216" fmla="*/ 118682 w 761692"/>
                    <a:gd name="connsiteY216" fmla="*/ 543813 h 1016771"/>
                    <a:gd name="connsiteX217" fmla="*/ 90340 w 761692"/>
                    <a:gd name="connsiteY217" fmla="*/ 543813 h 1016771"/>
                    <a:gd name="connsiteX218" fmla="*/ 86797 w 761692"/>
                    <a:gd name="connsiteY218" fmla="*/ 542042 h 1016771"/>
                    <a:gd name="connsiteX219" fmla="*/ 83255 w 761692"/>
                    <a:gd name="connsiteY219" fmla="*/ 542042 h 1016771"/>
                    <a:gd name="connsiteX220" fmla="*/ 81483 w 761692"/>
                    <a:gd name="connsiteY220" fmla="*/ 540271 h 1016771"/>
                    <a:gd name="connsiteX221" fmla="*/ 81483 w 761692"/>
                    <a:gd name="connsiteY221" fmla="*/ 536728 h 1016771"/>
                    <a:gd name="connsiteX222" fmla="*/ 79712 w 761692"/>
                    <a:gd name="connsiteY222" fmla="*/ 531414 h 1016771"/>
                    <a:gd name="connsiteX223" fmla="*/ 77941 w 761692"/>
                    <a:gd name="connsiteY223" fmla="*/ 529642 h 1016771"/>
                    <a:gd name="connsiteX224" fmla="*/ 70855 w 761692"/>
                    <a:gd name="connsiteY224" fmla="*/ 527871 h 1016771"/>
                    <a:gd name="connsiteX225" fmla="*/ 60227 w 761692"/>
                    <a:gd name="connsiteY225" fmla="*/ 536728 h 1016771"/>
                    <a:gd name="connsiteX226" fmla="*/ 47827 w 761692"/>
                    <a:gd name="connsiteY226" fmla="*/ 526100 h 1016771"/>
                    <a:gd name="connsiteX227" fmla="*/ 42513 w 761692"/>
                    <a:gd name="connsiteY227" fmla="*/ 515471 h 1016771"/>
                    <a:gd name="connsiteX228" fmla="*/ 33656 w 761692"/>
                    <a:gd name="connsiteY228" fmla="*/ 506614 h 1016771"/>
                    <a:gd name="connsiteX229" fmla="*/ 31885 w 761692"/>
                    <a:gd name="connsiteY229" fmla="*/ 490672 h 1016771"/>
                    <a:gd name="connsiteX230" fmla="*/ 26571 w 761692"/>
                    <a:gd name="connsiteY230" fmla="*/ 476501 h 1016771"/>
                    <a:gd name="connsiteX231" fmla="*/ 24799 w 761692"/>
                    <a:gd name="connsiteY231" fmla="*/ 471187 h 1016771"/>
                    <a:gd name="connsiteX232" fmla="*/ 12400 w 761692"/>
                    <a:gd name="connsiteY232" fmla="*/ 472958 h 1016771"/>
                    <a:gd name="connsiteX233" fmla="*/ 7086 w 761692"/>
                    <a:gd name="connsiteY233" fmla="*/ 464101 h 1016771"/>
                    <a:gd name="connsiteX234" fmla="*/ 8857 w 761692"/>
                    <a:gd name="connsiteY234" fmla="*/ 446388 h 1016771"/>
                    <a:gd name="connsiteX235" fmla="*/ 3543 w 761692"/>
                    <a:gd name="connsiteY235" fmla="*/ 435759 h 1016771"/>
                    <a:gd name="connsiteX236" fmla="*/ 5314 w 761692"/>
                    <a:gd name="connsiteY236" fmla="*/ 412731 h 1016771"/>
                    <a:gd name="connsiteX237" fmla="*/ 0 w 761692"/>
                    <a:gd name="connsiteY237" fmla="*/ 396789 h 1016771"/>
                    <a:gd name="connsiteX238" fmla="*/ 3543 w 761692"/>
                    <a:gd name="connsiteY238" fmla="*/ 384389 h 1016771"/>
                    <a:gd name="connsiteX239" fmla="*/ 14171 w 761692"/>
                    <a:gd name="connsiteY239" fmla="*/ 380846 h 1016771"/>
                    <a:gd name="connsiteX240" fmla="*/ 24799 w 761692"/>
                    <a:gd name="connsiteY240" fmla="*/ 364904 h 1016771"/>
                    <a:gd name="connsiteX241" fmla="*/ 30113 w 761692"/>
                    <a:gd name="connsiteY241" fmla="*/ 350733 h 1016771"/>
                    <a:gd name="connsiteX242" fmla="*/ 35428 w 761692"/>
                    <a:gd name="connsiteY242" fmla="*/ 341876 h 1016771"/>
                    <a:gd name="connsiteX243" fmla="*/ 42513 w 761692"/>
                    <a:gd name="connsiteY243" fmla="*/ 327705 h 1016771"/>
                    <a:gd name="connsiteX244" fmla="*/ 42513 w 761692"/>
                    <a:gd name="connsiteY244" fmla="*/ 315305 h 1016771"/>
                    <a:gd name="connsiteX245" fmla="*/ 56684 w 761692"/>
                    <a:gd name="connsiteY245" fmla="*/ 309991 h 1016771"/>
                    <a:gd name="connsiteX246" fmla="*/ 60227 w 761692"/>
                    <a:gd name="connsiteY246" fmla="*/ 309991 h 1016771"/>
                    <a:gd name="connsiteX247" fmla="*/ 61998 w 761692"/>
                    <a:gd name="connsiteY247" fmla="*/ 311763 h 1016771"/>
                    <a:gd name="connsiteX248" fmla="*/ 67312 w 761692"/>
                    <a:gd name="connsiteY248" fmla="*/ 311763 h 1016771"/>
                    <a:gd name="connsiteX249" fmla="*/ 67312 w 761692"/>
                    <a:gd name="connsiteY249" fmla="*/ 309991 h 1016771"/>
                    <a:gd name="connsiteX250" fmla="*/ 67312 w 761692"/>
                    <a:gd name="connsiteY250" fmla="*/ 308220 h 1016771"/>
                    <a:gd name="connsiteX251" fmla="*/ 69084 w 761692"/>
                    <a:gd name="connsiteY251" fmla="*/ 302906 h 1016771"/>
                    <a:gd name="connsiteX252" fmla="*/ 70855 w 761692"/>
                    <a:gd name="connsiteY252" fmla="*/ 301134 h 1016771"/>
                    <a:gd name="connsiteX253" fmla="*/ 70855 w 761692"/>
                    <a:gd name="connsiteY253" fmla="*/ 299363 h 1016771"/>
                    <a:gd name="connsiteX254" fmla="*/ 77941 w 761692"/>
                    <a:gd name="connsiteY254" fmla="*/ 295820 h 1016771"/>
                    <a:gd name="connsiteX255" fmla="*/ 85026 w 761692"/>
                    <a:gd name="connsiteY255" fmla="*/ 295820 h 1016771"/>
                    <a:gd name="connsiteX256" fmla="*/ 93883 w 761692"/>
                    <a:gd name="connsiteY256" fmla="*/ 297592 h 1016771"/>
                    <a:gd name="connsiteX257" fmla="*/ 100968 w 761692"/>
                    <a:gd name="connsiteY257" fmla="*/ 288735 h 1016771"/>
                    <a:gd name="connsiteX258" fmla="*/ 97426 w 761692"/>
                    <a:gd name="connsiteY258" fmla="*/ 279878 h 1016771"/>
                    <a:gd name="connsiteX259" fmla="*/ 85026 w 761692"/>
                    <a:gd name="connsiteY259" fmla="*/ 276335 h 1016771"/>
                    <a:gd name="connsiteX260" fmla="*/ 76169 w 761692"/>
                    <a:gd name="connsiteY260" fmla="*/ 271021 h 1016771"/>
                    <a:gd name="connsiteX261" fmla="*/ 76169 w 761692"/>
                    <a:gd name="connsiteY261" fmla="*/ 262164 h 1016771"/>
                    <a:gd name="connsiteX262" fmla="*/ 81483 w 761692"/>
                    <a:gd name="connsiteY262" fmla="*/ 251536 h 1016771"/>
                    <a:gd name="connsiteX263" fmla="*/ 86797 w 761692"/>
                    <a:gd name="connsiteY263" fmla="*/ 255079 h 1016771"/>
                    <a:gd name="connsiteX264" fmla="*/ 104511 w 761692"/>
                    <a:gd name="connsiteY264" fmla="*/ 262164 h 1016771"/>
                    <a:gd name="connsiteX265" fmla="*/ 116911 w 761692"/>
                    <a:gd name="connsiteY265" fmla="*/ 265707 h 1016771"/>
                    <a:gd name="connsiteX266" fmla="*/ 132853 w 761692"/>
                    <a:gd name="connsiteY266" fmla="*/ 269250 h 1016771"/>
                    <a:gd name="connsiteX267" fmla="*/ 138167 w 761692"/>
                    <a:gd name="connsiteY267" fmla="*/ 265707 h 1016771"/>
                    <a:gd name="connsiteX268" fmla="*/ 150567 w 761692"/>
                    <a:gd name="connsiteY268" fmla="*/ 255079 h 1016771"/>
                    <a:gd name="connsiteX269" fmla="*/ 166509 w 761692"/>
                    <a:gd name="connsiteY269" fmla="*/ 255079 h 1016771"/>
                    <a:gd name="connsiteX270" fmla="*/ 166509 w 761692"/>
                    <a:gd name="connsiteY270" fmla="*/ 265707 h 1016771"/>
                    <a:gd name="connsiteX271" fmla="*/ 177138 w 761692"/>
                    <a:gd name="connsiteY271" fmla="*/ 272792 h 1016771"/>
                    <a:gd name="connsiteX272" fmla="*/ 194851 w 761692"/>
                    <a:gd name="connsiteY272" fmla="*/ 276335 h 1016771"/>
                    <a:gd name="connsiteX273" fmla="*/ 209022 w 761692"/>
                    <a:gd name="connsiteY273" fmla="*/ 279878 h 1016771"/>
                    <a:gd name="connsiteX274" fmla="*/ 221422 w 761692"/>
                    <a:gd name="connsiteY274" fmla="*/ 276335 h 1016771"/>
                    <a:gd name="connsiteX275" fmla="*/ 226736 w 761692"/>
                    <a:gd name="connsiteY275" fmla="*/ 269250 h 1016771"/>
                    <a:gd name="connsiteX276" fmla="*/ 226736 w 761692"/>
                    <a:gd name="connsiteY276" fmla="*/ 251536 h 1016771"/>
                    <a:gd name="connsiteX277" fmla="*/ 224965 w 761692"/>
                    <a:gd name="connsiteY277" fmla="*/ 239136 h 1016771"/>
                    <a:gd name="connsiteX278" fmla="*/ 214337 w 761692"/>
                    <a:gd name="connsiteY278" fmla="*/ 230279 h 1016771"/>
                    <a:gd name="connsiteX279" fmla="*/ 210794 w 761692"/>
                    <a:gd name="connsiteY279" fmla="*/ 217880 h 1016771"/>
                    <a:gd name="connsiteX280" fmla="*/ 221422 w 761692"/>
                    <a:gd name="connsiteY280" fmla="*/ 207251 h 1016771"/>
                    <a:gd name="connsiteX281" fmla="*/ 235593 w 761692"/>
                    <a:gd name="connsiteY281" fmla="*/ 214337 h 1016771"/>
                    <a:gd name="connsiteX282" fmla="*/ 246221 w 761692"/>
                    <a:gd name="connsiteY282" fmla="*/ 219651 h 1016771"/>
                    <a:gd name="connsiteX283" fmla="*/ 253307 w 761692"/>
                    <a:gd name="connsiteY283" fmla="*/ 221422 h 1016771"/>
                    <a:gd name="connsiteX284" fmla="*/ 262164 w 761692"/>
                    <a:gd name="connsiteY284" fmla="*/ 210794 h 1016771"/>
                    <a:gd name="connsiteX285" fmla="*/ 263935 w 761692"/>
                    <a:gd name="connsiteY285" fmla="*/ 201937 h 1016771"/>
                    <a:gd name="connsiteX286" fmla="*/ 274563 w 761692"/>
                    <a:gd name="connsiteY286" fmla="*/ 189538 h 1016771"/>
                    <a:gd name="connsiteX287" fmla="*/ 283420 w 761692"/>
                    <a:gd name="connsiteY287" fmla="*/ 178909 h 1016771"/>
                    <a:gd name="connsiteX288" fmla="*/ 286963 w 761692"/>
                    <a:gd name="connsiteY288" fmla="*/ 173595 h 1016771"/>
                    <a:gd name="connsiteX289" fmla="*/ 311762 w 761692"/>
                    <a:gd name="connsiteY289" fmla="*/ 168281 h 1016771"/>
                    <a:gd name="connsiteX290" fmla="*/ 325933 w 761692"/>
                    <a:gd name="connsiteY290" fmla="*/ 164738 h 1016771"/>
                    <a:gd name="connsiteX291" fmla="*/ 336562 w 761692"/>
                    <a:gd name="connsiteY291" fmla="*/ 159424 h 1016771"/>
                    <a:gd name="connsiteX292" fmla="*/ 348961 w 761692"/>
                    <a:gd name="connsiteY292" fmla="*/ 145253 h 1016771"/>
                    <a:gd name="connsiteX293" fmla="*/ 359589 w 761692"/>
                    <a:gd name="connsiteY293" fmla="*/ 143482 h 1016771"/>
                    <a:gd name="connsiteX294" fmla="*/ 371989 w 761692"/>
                    <a:gd name="connsiteY294" fmla="*/ 143482 h 1016771"/>
                    <a:gd name="connsiteX295" fmla="*/ 391474 w 761692"/>
                    <a:gd name="connsiteY295" fmla="*/ 143482 h 1016771"/>
                    <a:gd name="connsiteX296" fmla="*/ 396788 w 761692"/>
                    <a:gd name="connsiteY296" fmla="*/ 141710 h 1016771"/>
                    <a:gd name="connsiteX297" fmla="*/ 403874 w 761692"/>
                    <a:gd name="connsiteY297" fmla="*/ 134625 h 1016771"/>
                    <a:gd name="connsiteX298" fmla="*/ 409188 w 761692"/>
                    <a:gd name="connsiteY298" fmla="*/ 129311 h 1016771"/>
                    <a:gd name="connsiteX299" fmla="*/ 409188 w 761692"/>
                    <a:gd name="connsiteY299" fmla="*/ 123997 h 1016771"/>
                    <a:gd name="connsiteX300" fmla="*/ 414502 w 761692"/>
                    <a:gd name="connsiteY300" fmla="*/ 115140 h 1016771"/>
                    <a:gd name="connsiteX301" fmla="*/ 428673 w 761692"/>
                    <a:gd name="connsiteY301" fmla="*/ 115140 h 1016771"/>
                    <a:gd name="connsiteX302" fmla="*/ 432216 w 761692"/>
                    <a:gd name="connsiteY302" fmla="*/ 109826 h 1016771"/>
                    <a:gd name="connsiteX303" fmla="*/ 437530 w 761692"/>
                    <a:gd name="connsiteY303" fmla="*/ 100969 h 1016771"/>
                    <a:gd name="connsiteX304" fmla="*/ 448158 w 761692"/>
                    <a:gd name="connsiteY304" fmla="*/ 99197 h 1016771"/>
                    <a:gd name="connsiteX305" fmla="*/ 460558 w 761692"/>
                    <a:gd name="connsiteY305" fmla="*/ 97426 h 1016771"/>
                    <a:gd name="connsiteX306" fmla="*/ 472958 w 761692"/>
                    <a:gd name="connsiteY306" fmla="*/ 93883 h 1016771"/>
                    <a:gd name="connsiteX307" fmla="*/ 492443 w 761692"/>
                    <a:gd name="connsiteY307" fmla="*/ 93883 h 1016771"/>
                    <a:gd name="connsiteX308" fmla="*/ 501300 w 761692"/>
                    <a:gd name="connsiteY308" fmla="*/ 83255 h 1016771"/>
                    <a:gd name="connsiteX309" fmla="*/ 517242 w 761692"/>
                    <a:gd name="connsiteY309" fmla="*/ 81484 h 1016771"/>
                    <a:gd name="connsiteX310" fmla="*/ 522556 w 761692"/>
                    <a:gd name="connsiteY310" fmla="*/ 81484 h 1016771"/>
                    <a:gd name="connsiteX311" fmla="*/ 522556 w 761692"/>
                    <a:gd name="connsiteY311" fmla="*/ 60227 h 1016771"/>
                    <a:gd name="connsiteX312" fmla="*/ 526099 w 761692"/>
                    <a:gd name="connsiteY312" fmla="*/ 54913 h 1016771"/>
                    <a:gd name="connsiteX313" fmla="*/ 529642 w 761692"/>
                    <a:gd name="connsiteY313" fmla="*/ 46056 h 1016771"/>
                    <a:gd name="connsiteX314" fmla="*/ 538499 w 761692"/>
                    <a:gd name="connsiteY314" fmla="*/ 40742 h 1016771"/>
                    <a:gd name="connsiteX315" fmla="*/ 540270 w 761692"/>
                    <a:gd name="connsiteY315" fmla="*/ 30114 h 1016771"/>
                    <a:gd name="connsiteX316" fmla="*/ 536727 w 761692"/>
                    <a:gd name="connsiteY316" fmla="*/ 19485 h 1016771"/>
                    <a:gd name="connsiteX317" fmla="*/ 543813 w 761692"/>
                    <a:gd name="connsiteY317" fmla="*/ 5314 h 1016771"/>
                    <a:gd name="connsiteX318" fmla="*/ 554441 w 761692"/>
                    <a:gd name="connsiteY318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9645 w 761692"/>
                    <a:gd name="connsiteY9" fmla="*/ 860925 h 1016771"/>
                    <a:gd name="connsiteX10" fmla="*/ 148122 w 761692"/>
                    <a:gd name="connsiteY10" fmla="*/ 867707 h 1016771"/>
                    <a:gd name="connsiteX11" fmla="*/ 158294 w 761692"/>
                    <a:gd name="connsiteY11" fmla="*/ 879574 h 1016771"/>
                    <a:gd name="connsiteX12" fmla="*/ 175247 w 761692"/>
                    <a:gd name="connsiteY12" fmla="*/ 889746 h 1016771"/>
                    <a:gd name="connsiteX13" fmla="*/ 188810 w 761692"/>
                    <a:gd name="connsiteY13" fmla="*/ 893137 h 1016771"/>
                    <a:gd name="connsiteX14" fmla="*/ 195591 w 761692"/>
                    <a:gd name="connsiteY14" fmla="*/ 893137 h 1016771"/>
                    <a:gd name="connsiteX15" fmla="*/ 189537 w 761692"/>
                    <a:gd name="connsiteY15" fmla="*/ 894546 h 1016771"/>
                    <a:gd name="connsiteX16" fmla="*/ 175366 w 761692"/>
                    <a:gd name="connsiteY16" fmla="*/ 891003 h 1016771"/>
                    <a:gd name="connsiteX17" fmla="*/ 157653 w 761692"/>
                    <a:gd name="connsiteY17" fmla="*/ 880375 h 1016771"/>
                    <a:gd name="connsiteX18" fmla="*/ 147024 w 761692"/>
                    <a:gd name="connsiteY18" fmla="*/ 867975 h 1016771"/>
                    <a:gd name="connsiteX19" fmla="*/ 138167 w 761692"/>
                    <a:gd name="connsiteY19" fmla="*/ 860890 h 1016771"/>
                    <a:gd name="connsiteX20" fmla="*/ 138167 w 761692"/>
                    <a:gd name="connsiteY20" fmla="*/ 852033 h 1016771"/>
                    <a:gd name="connsiteX21" fmla="*/ 139939 w 761692"/>
                    <a:gd name="connsiteY21" fmla="*/ 850262 h 1016771"/>
                    <a:gd name="connsiteX22" fmla="*/ 139939 w 761692"/>
                    <a:gd name="connsiteY22" fmla="*/ 848490 h 1016771"/>
                    <a:gd name="connsiteX23" fmla="*/ 145253 w 761692"/>
                    <a:gd name="connsiteY23" fmla="*/ 843176 h 1016771"/>
                    <a:gd name="connsiteX24" fmla="*/ 147024 w 761692"/>
                    <a:gd name="connsiteY24" fmla="*/ 841405 h 1016771"/>
                    <a:gd name="connsiteX25" fmla="*/ 148796 w 761692"/>
                    <a:gd name="connsiteY25" fmla="*/ 839633 h 1016771"/>
                    <a:gd name="connsiteX26" fmla="*/ 150567 w 761692"/>
                    <a:gd name="connsiteY26" fmla="*/ 837862 h 1016771"/>
                    <a:gd name="connsiteX27" fmla="*/ 159250 w 761692"/>
                    <a:gd name="connsiteY27" fmla="*/ 829179 h 1016771"/>
                    <a:gd name="connsiteX28" fmla="*/ 116476 w 761692"/>
                    <a:gd name="connsiteY28" fmla="*/ 741349 h 1016771"/>
                    <a:gd name="connsiteX29" fmla="*/ 117606 w 761692"/>
                    <a:gd name="connsiteY29" fmla="*/ 742253 h 1016771"/>
                    <a:gd name="connsiteX30" fmla="*/ 122692 w 761692"/>
                    <a:gd name="connsiteY30" fmla="*/ 759206 h 1016771"/>
                    <a:gd name="connsiteX31" fmla="*/ 126082 w 761692"/>
                    <a:gd name="connsiteY31" fmla="*/ 771073 h 1016771"/>
                    <a:gd name="connsiteX32" fmla="*/ 129473 w 761692"/>
                    <a:gd name="connsiteY32" fmla="*/ 782940 h 1016771"/>
                    <a:gd name="connsiteX33" fmla="*/ 132864 w 761692"/>
                    <a:gd name="connsiteY33" fmla="*/ 793112 h 1016771"/>
                    <a:gd name="connsiteX34" fmla="*/ 136254 w 761692"/>
                    <a:gd name="connsiteY34" fmla="*/ 810066 h 1016771"/>
                    <a:gd name="connsiteX35" fmla="*/ 139058 w 761692"/>
                    <a:gd name="connsiteY35" fmla="*/ 818476 h 1016771"/>
                    <a:gd name="connsiteX36" fmla="*/ 138167 w 761692"/>
                    <a:gd name="connsiteY36" fmla="*/ 818377 h 1016771"/>
                    <a:gd name="connsiteX37" fmla="*/ 134625 w 761692"/>
                    <a:gd name="connsiteY37" fmla="*/ 807749 h 1016771"/>
                    <a:gd name="connsiteX38" fmla="*/ 131082 w 761692"/>
                    <a:gd name="connsiteY38" fmla="*/ 790035 h 1016771"/>
                    <a:gd name="connsiteX39" fmla="*/ 127539 w 761692"/>
                    <a:gd name="connsiteY39" fmla="*/ 779407 h 1016771"/>
                    <a:gd name="connsiteX40" fmla="*/ 123996 w 761692"/>
                    <a:gd name="connsiteY40" fmla="*/ 767007 h 1016771"/>
                    <a:gd name="connsiteX41" fmla="*/ 120454 w 761692"/>
                    <a:gd name="connsiteY41" fmla="*/ 754607 h 1016771"/>
                    <a:gd name="connsiteX42" fmla="*/ 116476 w 761692"/>
                    <a:gd name="connsiteY42" fmla="*/ 741349 h 1016771"/>
                    <a:gd name="connsiteX43" fmla="*/ 554441 w 761692"/>
                    <a:gd name="connsiteY43" fmla="*/ 0 h 1016771"/>
                    <a:gd name="connsiteX44" fmla="*/ 570383 w 761692"/>
                    <a:gd name="connsiteY44" fmla="*/ 3543 h 1016771"/>
                    <a:gd name="connsiteX45" fmla="*/ 577469 w 761692"/>
                    <a:gd name="connsiteY45" fmla="*/ 8857 h 1016771"/>
                    <a:gd name="connsiteX46" fmla="*/ 582783 w 761692"/>
                    <a:gd name="connsiteY46" fmla="*/ 17714 h 1016771"/>
                    <a:gd name="connsiteX47" fmla="*/ 582783 w 761692"/>
                    <a:gd name="connsiteY47" fmla="*/ 24799 h 1016771"/>
                    <a:gd name="connsiteX48" fmla="*/ 588097 w 761692"/>
                    <a:gd name="connsiteY48" fmla="*/ 33656 h 1016771"/>
                    <a:gd name="connsiteX49" fmla="*/ 598725 w 761692"/>
                    <a:gd name="connsiteY49" fmla="*/ 31885 h 1016771"/>
                    <a:gd name="connsiteX50" fmla="*/ 612896 w 761692"/>
                    <a:gd name="connsiteY50" fmla="*/ 37199 h 1016771"/>
                    <a:gd name="connsiteX51" fmla="*/ 618211 w 761692"/>
                    <a:gd name="connsiteY51" fmla="*/ 46056 h 1016771"/>
                    <a:gd name="connsiteX52" fmla="*/ 619982 w 761692"/>
                    <a:gd name="connsiteY52" fmla="*/ 54913 h 1016771"/>
                    <a:gd name="connsiteX53" fmla="*/ 618211 w 761692"/>
                    <a:gd name="connsiteY53" fmla="*/ 74398 h 1016771"/>
                    <a:gd name="connsiteX54" fmla="*/ 616439 w 761692"/>
                    <a:gd name="connsiteY54" fmla="*/ 85026 h 1016771"/>
                    <a:gd name="connsiteX55" fmla="*/ 621753 w 761692"/>
                    <a:gd name="connsiteY55" fmla="*/ 97426 h 1016771"/>
                    <a:gd name="connsiteX56" fmla="*/ 637696 w 761692"/>
                    <a:gd name="connsiteY56" fmla="*/ 113368 h 1016771"/>
                    <a:gd name="connsiteX57" fmla="*/ 644781 w 761692"/>
                    <a:gd name="connsiteY57" fmla="*/ 120454 h 1016771"/>
                    <a:gd name="connsiteX58" fmla="*/ 650095 w 761692"/>
                    <a:gd name="connsiteY58" fmla="*/ 136396 h 1016771"/>
                    <a:gd name="connsiteX59" fmla="*/ 655409 w 761692"/>
                    <a:gd name="connsiteY59" fmla="*/ 155881 h 1016771"/>
                    <a:gd name="connsiteX60" fmla="*/ 662495 w 761692"/>
                    <a:gd name="connsiteY60" fmla="*/ 171824 h 1016771"/>
                    <a:gd name="connsiteX61" fmla="*/ 660724 w 761692"/>
                    <a:gd name="connsiteY61" fmla="*/ 185995 h 1016771"/>
                    <a:gd name="connsiteX62" fmla="*/ 635924 w 761692"/>
                    <a:gd name="connsiteY62" fmla="*/ 194852 h 1016771"/>
                    <a:gd name="connsiteX63" fmla="*/ 619982 w 761692"/>
                    <a:gd name="connsiteY63" fmla="*/ 207251 h 1016771"/>
                    <a:gd name="connsiteX64" fmla="*/ 614668 w 761692"/>
                    <a:gd name="connsiteY64" fmla="*/ 223194 h 1016771"/>
                    <a:gd name="connsiteX65" fmla="*/ 618211 w 761692"/>
                    <a:gd name="connsiteY65" fmla="*/ 242679 h 1016771"/>
                    <a:gd name="connsiteX66" fmla="*/ 612896 w 761692"/>
                    <a:gd name="connsiteY66" fmla="*/ 256850 h 1016771"/>
                    <a:gd name="connsiteX67" fmla="*/ 625296 w 761692"/>
                    <a:gd name="connsiteY67" fmla="*/ 267478 h 1016771"/>
                    <a:gd name="connsiteX68" fmla="*/ 641238 w 761692"/>
                    <a:gd name="connsiteY68" fmla="*/ 269250 h 1016771"/>
                    <a:gd name="connsiteX69" fmla="*/ 658952 w 761692"/>
                    <a:gd name="connsiteY69" fmla="*/ 286963 h 1016771"/>
                    <a:gd name="connsiteX70" fmla="*/ 653638 w 761692"/>
                    <a:gd name="connsiteY70" fmla="*/ 309991 h 1016771"/>
                    <a:gd name="connsiteX71" fmla="*/ 653638 w 761692"/>
                    <a:gd name="connsiteY71" fmla="*/ 329476 h 1016771"/>
                    <a:gd name="connsiteX72" fmla="*/ 643010 w 761692"/>
                    <a:gd name="connsiteY72" fmla="*/ 338333 h 1016771"/>
                    <a:gd name="connsiteX73" fmla="*/ 632382 w 761692"/>
                    <a:gd name="connsiteY73" fmla="*/ 338333 h 1016771"/>
                    <a:gd name="connsiteX74" fmla="*/ 618211 w 761692"/>
                    <a:gd name="connsiteY74" fmla="*/ 357819 h 1016771"/>
                    <a:gd name="connsiteX75" fmla="*/ 609354 w 761692"/>
                    <a:gd name="connsiteY75" fmla="*/ 361361 h 1016771"/>
                    <a:gd name="connsiteX76" fmla="*/ 596954 w 761692"/>
                    <a:gd name="connsiteY76" fmla="*/ 363133 h 1016771"/>
                    <a:gd name="connsiteX77" fmla="*/ 581012 w 761692"/>
                    <a:gd name="connsiteY77" fmla="*/ 379075 h 1016771"/>
                    <a:gd name="connsiteX78" fmla="*/ 589868 w 761692"/>
                    <a:gd name="connsiteY78" fmla="*/ 393246 h 1016771"/>
                    <a:gd name="connsiteX79" fmla="*/ 586326 w 761692"/>
                    <a:gd name="connsiteY79" fmla="*/ 409189 h 1016771"/>
                    <a:gd name="connsiteX80" fmla="*/ 570383 w 761692"/>
                    <a:gd name="connsiteY80" fmla="*/ 398560 h 1016771"/>
                    <a:gd name="connsiteX81" fmla="*/ 550898 w 761692"/>
                    <a:gd name="connsiteY81" fmla="*/ 405646 h 1016771"/>
                    <a:gd name="connsiteX82" fmla="*/ 531413 w 761692"/>
                    <a:gd name="connsiteY82" fmla="*/ 425131 h 1016771"/>
                    <a:gd name="connsiteX83" fmla="*/ 543813 w 761692"/>
                    <a:gd name="connsiteY83" fmla="*/ 444616 h 1016771"/>
                    <a:gd name="connsiteX84" fmla="*/ 557984 w 761692"/>
                    <a:gd name="connsiteY84" fmla="*/ 462330 h 1016771"/>
                    <a:gd name="connsiteX85" fmla="*/ 570383 w 761692"/>
                    <a:gd name="connsiteY85" fmla="*/ 478272 h 1016771"/>
                    <a:gd name="connsiteX86" fmla="*/ 579240 w 761692"/>
                    <a:gd name="connsiteY86" fmla="*/ 485358 h 1016771"/>
                    <a:gd name="connsiteX87" fmla="*/ 602268 w 761692"/>
                    <a:gd name="connsiteY87" fmla="*/ 483586 h 1016771"/>
                    <a:gd name="connsiteX88" fmla="*/ 623525 w 761692"/>
                    <a:gd name="connsiteY88" fmla="*/ 474730 h 1016771"/>
                    <a:gd name="connsiteX89" fmla="*/ 639467 w 761692"/>
                    <a:gd name="connsiteY89" fmla="*/ 464101 h 1016771"/>
                    <a:gd name="connsiteX90" fmla="*/ 662495 w 761692"/>
                    <a:gd name="connsiteY90" fmla="*/ 464101 h 1016771"/>
                    <a:gd name="connsiteX91" fmla="*/ 673123 w 761692"/>
                    <a:gd name="connsiteY91" fmla="*/ 464101 h 1016771"/>
                    <a:gd name="connsiteX92" fmla="*/ 681980 w 761692"/>
                    <a:gd name="connsiteY92" fmla="*/ 467644 h 1016771"/>
                    <a:gd name="connsiteX93" fmla="*/ 703237 w 761692"/>
                    <a:gd name="connsiteY93" fmla="*/ 471187 h 1016771"/>
                    <a:gd name="connsiteX94" fmla="*/ 708551 w 761692"/>
                    <a:gd name="connsiteY94" fmla="*/ 474730 h 1016771"/>
                    <a:gd name="connsiteX95" fmla="*/ 722722 w 761692"/>
                    <a:gd name="connsiteY95" fmla="*/ 501300 h 1016771"/>
                    <a:gd name="connsiteX96" fmla="*/ 724493 w 761692"/>
                    <a:gd name="connsiteY96" fmla="*/ 522557 h 1016771"/>
                    <a:gd name="connsiteX97" fmla="*/ 722722 w 761692"/>
                    <a:gd name="connsiteY97" fmla="*/ 540271 h 1016771"/>
                    <a:gd name="connsiteX98" fmla="*/ 735121 w 761692"/>
                    <a:gd name="connsiteY98" fmla="*/ 552670 h 1016771"/>
                    <a:gd name="connsiteX99" fmla="*/ 735121 w 761692"/>
                    <a:gd name="connsiteY99" fmla="*/ 570384 h 1016771"/>
                    <a:gd name="connsiteX100" fmla="*/ 751064 w 761692"/>
                    <a:gd name="connsiteY100" fmla="*/ 581012 h 1016771"/>
                    <a:gd name="connsiteX101" fmla="*/ 761692 w 761692"/>
                    <a:gd name="connsiteY101" fmla="*/ 604040 h 1016771"/>
                    <a:gd name="connsiteX102" fmla="*/ 747521 w 761692"/>
                    <a:gd name="connsiteY102" fmla="*/ 616440 h 1016771"/>
                    <a:gd name="connsiteX103" fmla="*/ 728036 w 761692"/>
                    <a:gd name="connsiteY103" fmla="*/ 627068 h 1016771"/>
                    <a:gd name="connsiteX104" fmla="*/ 726264 w 761692"/>
                    <a:gd name="connsiteY104" fmla="*/ 650096 h 1016771"/>
                    <a:gd name="connsiteX105" fmla="*/ 728036 w 761692"/>
                    <a:gd name="connsiteY105" fmla="*/ 673124 h 1016771"/>
                    <a:gd name="connsiteX106" fmla="*/ 742207 w 761692"/>
                    <a:gd name="connsiteY106" fmla="*/ 689066 h 1016771"/>
                    <a:gd name="connsiteX107" fmla="*/ 742207 w 761692"/>
                    <a:gd name="connsiteY107" fmla="*/ 712094 h 1016771"/>
                    <a:gd name="connsiteX108" fmla="*/ 740435 w 761692"/>
                    <a:gd name="connsiteY108" fmla="*/ 735122 h 1016771"/>
                    <a:gd name="connsiteX109" fmla="*/ 742207 w 761692"/>
                    <a:gd name="connsiteY109" fmla="*/ 751065 h 1016771"/>
                    <a:gd name="connsiteX110" fmla="*/ 747521 w 761692"/>
                    <a:gd name="connsiteY110" fmla="*/ 768778 h 1016771"/>
                    <a:gd name="connsiteX111" fmla="*/ 759921 w 761692"/>
                    <a:gd name="connsiteY111" fmla="*/ 777635 h 1016771"/>
                    <a:gd name="connsiteX112" fmla="*/ 758149 w 761692"/>
                    <a:gd name="connsiteY112" fmla="*/ 802434 h 1016771"/>
                    <a:gd name="connsiteX113" fmla="*/ 752835 w 761692"/>
                    <a:gd name="connsiteY113" fmla="*/ 814834 h 1016771"/>
                    <a:gd name="connsiteX114" fmla="*/ 743978 w 761692"/>
                    <a:gd name="connsiteY114" fmla="*/ 827234 h 1016771"/>
                    <a:gd name="connsiteX115" fmla="*/ 743978 w 761692"/>
                    <a:gd name="connsiteY115" fmla="*/ 837862 h 1016771"/>
                    <a:gd name="connsiteX116" fmla="*/ 747521 w 761692"/>
                    <a:gd name="connsiteY116" fmla="*/ 853804 h 1016771"/>
                    <a:gd name="connsiteX117" fmla="*/ 733350 w 761692"/>
                    <a:gd name="connsiteY117" fmla="*/ 867975 h 1016771"/>
                    <a:gd name="connsiteX118" fmla="*/ 724493 w 761692"/>
                    <a:gd name="connsiteY118" fmla="*/ 880375 h 1016771"/>
                    <a:gd name="connsiteX119" fmla="*/ 722722 w 761692"/>
                    <a:gd name="connsiteY119" fmla="*/ 899860 h 1016771"/>
                    <a:gd name="connsiteX120" fmla="*/ 722722 w 761692"/>
                    <a:gd name="connsiteY120" fmla="*/ 919345 h 1016771"/>
                    <a:gd name="connsiteX121" fmla="*/ 715636 w 761692"/>
                    <a:gd name="connsiteY121" fmla="*/ 940602 h 1016771"/>
                    <a:gd name="connsiteX122" fmla="*/ 708551 w 761692"/>
                    <a:gd name="connsiteY122" fmla="*/ 954773 h 1016771"/>
                    <a:gd name="connsiteX123" fmla="*/ 699694 w 761692"/>
                    <a:gd name="connsiteY123" fmla="*/ 965401 h 1016771"/>
                    <a:gd name="connsiteX124" fmla="*/ 692608 w 761692"/>
                    <a:gd name="connsiteY124" fmla="*/ 984886 h 1016771"/>
                    <a:gd name="connsiteX125" fmla="*/ 683751 w 761692"/>
                    <a:gd name="connsiteY125" fmla="*/ 997286 h 1016771"/>
                    <a:gd name="connsiteX126" fmla="*/ 673123 w 761692"/>
                    <a:gd name="connsiteY126" fmla="*/ 1002600 h 1016771"/>
                    <a:gd name="connsiteX127" fmla="*/ 662495 w 761692"/>
                    <a:gd name="connsiteY127" fmla="*/ 1013228 h 1016771"/>
                    <a:gd name="connsiteX128" fmla="*/ 644781 w 761692"/>
                    <a:gd name="connsiteY128" fmla="*/ 1016771 h 1016771"/>
                    <a:gd name="connsiteX129" fmla="*/ 635924 w 761692"/>
                    <a:gd name="connsiteY129" fmla="*/ 1004372 h 1016771"/>
                    <a:gd name="connsiteX130" fmla="*/ 623525 w 761692"/>
                    <a:gd name="connsiteY130" fmla="*/ 997286 h 1016771"/>
                    <a:gd name="connsiteX131" fmla="*/ 614668 w 761692"/>
                    <a:gd name="connsiteY131" fmla="*/ 986658 h 1016771"/>
                    <a:gd name="connsiteX132" fmla="*/ 593411 w 761692"/>
                    <a:gd name="connsiteY132" fmla="*/ 970715 h 1016771"/>
                    <a:gd name="connsiteX133" fmla="*/ 582783 w 761692"/>
                    <a:gd name="connsiteY133" fmla="*/ 965401 h 1016771"/>
                    <a:gd name="connsiteX134" fmla="*/ 531413 w 761692"/>
                    <a:gd name="connsiteY134" fmla="*/ 965401 h 1016771"/>
                    <a:gd name="connsiteX135" fmla="*/ 511928 w 761692"/>
                    <a:gd name="connsiteY135" fmla="*/ 965401 h 1016771"/>
                    <a:gd name="connsiteX136" fmla="*/ 492443 w 761692"/>
                    <a:gd name="connsiteY136" fmla="*/ 963630 h 1016771"/>
                    <a:gd name="connsiteX137" fmla="*/ 483586 w 761692"/>
                    <a:gd name="connsiteY137" fmla="*/ 958316 h 1016771"/>
                    <a:gd name="connsiteX138" fmla="*/ 469415 w 761692"/>
                    <a:gd name="connsiteY138" fmla="*/ 954773 h 1016771"/>
                    <a:gd name="connsiteX139" fmla="*/ 460558 w 761692"/>
                    <a:gd name="connsiteY139" fmla="*/ 942373 h 1016771"/>
                    <a:gd name="connsiteX140" fmla="*/ 446387 w 761692"/>
                    <a:gd name="connsiteY140" fmla="*/ 935288 h 1016771"/>
                    <a:gd name="connsiteX141" fmla="*/ 428673 w 761692"/>
                    <a:gd name="connsiteY141" fmla="*/ 928202 h 1016771"/>
                    <a:gd name="connsiteX142" fmla="*/ 418045 w 761692"/>
                    <a:gd name="connsiteY142" fmla="*/ 917574 h 1016771"/>
                    <a:gd name="connsiteX143" fmla="*/ 421588 w 761692"/>
                    <a:gd name="connsiteY143" fmla="*/ 903403 h 1016771"/>
                    <a:gd name="connsiteX144" fmla="*/ 418045 w 761692"/>
                    <a:gd name="connsiteY144" fmla="*/ 898089 h 1016771"/>
                    <a:gd name="connsiteX145" fmla="*/ 396788 w 761692"/>
                    <a:gd name="connsiteY145" fmla="*/ 898089 h 1016771"/>
                    <a:gd name="connsiteX146" fmla="*/ 382617 w 761692"/>
                    <a:gd name="connsiteY146" fmla="*/ 896318 h 1016771"/>
                    <a:gd name="connsiteX147" fmla="*/ 380846 w 761692"/>
                    <a:gd name="connsiteY147" fmla="*/ 906946 h 1016771"/>
                    <a:gd name="connsiteX148" fmla="*/ 373601 w 761692"/>
                    <a:gd name="connsiteY148" fmla="*/ 894832 h 1016771"/>
                    <a:gd name="connsiteX149" fmla="*/ 387164 w 761692"/>
                    <a:gd name="connsiteY149" fmla="*/ 896527 h 1016771"/>
                    <a:gd name="connsiteX150" fmla="*/ 383773 w 761692"/>
                    <a:gd name="connsiteY150" fmla="*/ 886355 h 1016771"/>
                    <a:gd name="connsiteX151" fmla="*/ 387164 w 761692"/>
                    <a:gd name="connsiteY151" fmla="*/ 876183 h 1016771"/>
                    <a:gd name="connsiteX152" fmla="*/ 388859 w 761692"/>
                    <a:gd name="connsiteY152" fmla="*/ 867707 h 1016771"/>
                    <a:gd name="connsiteX153" fmla="*/ 380382 w 761692"/>
                    <a:gd name="connsiteY153" fmla="*/ 859230 h 1016771"/>
                    <a:gd name="connsiteX154" fmla="*/ 373601 w 761692"/>
                    <a:gd name="connsiteY154" fmla="*/ 849058 h 1016771"/>
                    <a:gd name="connsiteX155" fmla="*/ 380382 w 761692"/>
                    <a:gd name="connsiteY155" fmla="*/ 838886 h 1016771"/>
                    <a:gd name="connsiteX156" fmla="*/ 383773 w 761692"/>
                    <a:gd name="connsiteY156" fmla="*/ 833800 h 1016771"/>
                    <a:gd name="connsiteX157" fmla="*/ 388859 w 761692"/>
                    <a:gd name="connsiteY157" fmla="*/ 825324 h 1016771"/>
                    <a:gd name="connsiteX158" fmla="*/ 387164 w 761692"/>
                    <a:gd name="connsiteY158" fmla="*/ 810066 h 1016771"/>
                    <a:gd name="connsiteX159" fmla="*/ 387164 w 761692"/>
                    <a:gd name="connsiteY159" fmla="*/ 796503 h 1016771"/>
                    <a:gd name="connsiteX160" fmla="*/ 378687 w 761692"/>
                    <a:gd name="connsiteY160" fmla="*/ 789722 h 1016771"/>
                    <a:gd name="connsiteX161" fmla="*/ 366820 w 761692"/>
                    <a:gd name="connsiteY161" fmla="*/ 782940 h 1016771"/>
                    <a:gd name="connsiteX162" fmla="*/ 356648 w 761692"/>
                    <a:gd name="connsiteY162" fmla="*/ 781245 h 1016771"/>
                    <a:gd name="connsiteX163" fmla="*/ 349866 w 761692"/>
                    <a:gd name="connsiteY163" fmla="*/ 771073 h 1016771"/>
                    <a:gd name="connsiteX164" fmla="*/ 349866 w 761692"/>
                    <a:gd name="connsiteY164" fmla="*/ 752425 h 1016771"/>
                    <a:gd name="connsiteX165" fmla="*/ 353257 w 761692"/>
                    <a:gd name="connsiteY165" fmla="*/ 743948 h 1016771"/>
                    <a:gd name="connsiteX166" fmla="*/ 354952 w 761692"/>
                    <a:gd name="connsiteY166" fmla="*/ 730385 h 1016771"/>
                    <a:gd name="connsiteX167" fmla="*/ 353257 w 761692"/>
                    <a:gd name="connsiteY167" fmla="*/ 713432 h 1016771"/>
                    <a:gd name="connsiteX168" fmla="*/ 346476 w 761692"/>
                    <a:gd name="connsiteY168" fmla="*/ 701565 h 1016771"/>
                    <a:gd name="connsiteX169" fmla="*/ 332913 w 761692"/>
                    <a:gd name="connsiteY169" fmla="*/ 689697 h 1016771"/>
                    <a:gd name="connsiteX170" fmla="*/ 324436 w 761692"/>
                    <a:gd name="connsiteY170" fmla="*/ 681221 h 1016771"/>
                    <a:gd name="connsiteX171" fmla="*/ 314264 w 761692"/>
                    <a:gd name="connsiteY171" fmla="*/ 676135 h 1016771"/>
                    <a:gd name="connsiteX172" fmla="*/ 293920 w 761692"/>
                    <a:gd name="connsiteY172" fmla="*/ 669354 h 1016771"/>
                    <a:gd name="connsiteX173" fmla="*/ 282053 w 761692"/>
                    <a:gd name="connsiteY173" fmla="*/ 667658 h 1016771"/>
                    <a:gd name="connsiteX174" fmla="*/ 266795 w 761692"/>
                    <a:gd name="connsiteY174" fmla="*/ 672744 h 1016771"/>
                    <a:gd name="connsiteX175" fmla="*/ 265100 w 761692"/>
                    <a:gd name="connsiteY175" fmla="*/ 672744 h 1016771"/>
                    <a:gd name="connsiteX176" fmla="*/ 263404 w 761692"/>
                    <a:gd name="connsiteY176" fmla="*/ 671049 h 1016771"/>
                    <a:gd name="connsiteX177" fmla="*/ 260014 w 761692"/>
                    <a:gd name="connsiteY177" fmla="*/ 671049 h 1016771"/>
                    <a:gd name="connsiteX178" fmla="*/ 258318 w 761692"/>
                    <a:gd name="connsiteY178" fmla="*/ 671049 h 1016771"/>
                    <a:gd name="connsiteX179" fmla="*/ 253232 w 761692"/>
                    <a:gd name="connsiteY179" fmla="*/ 671049 h 1016771"/>
                    <a:gd name="connsiteX180" fmla="*/ 248146 w 761692"/>
                    <a:gd name="connsiteY180" fmla="*/ 672744 h 1016771"/>
                    <a:gd name="connsiteX181" fmla="*/ 248146 w 761692"/>
                    <a:gd name="connsiteY181" fmla="*/ 674440 h 1016771"/>
                    <a:gd name="connsiteX182" fmla="*/ 246451 w 761692"/>
                    <a:gd name="connsiteY182" fmla="*/ 674440 h 1016771"/>
                    <a:gd name="connsiteX183" fmla="*/ 236279 w 761692"/>
                    <a:gd name="connsiteY183" fmla="*/ 679526 h 1016771"/>
                    <a:gd name="connsiteX184" fmla="*/ 226107 w 761692"/>
                    <a:gd name="connsiteY184" fmla="*/ 684612 h 1016771"/>
                    <a:gd name="connsiteX185" fmla="*/ 217630 w 761692"/>
                    <a:gd name="connsiteY185" fmla="*/ 684612 h 1016771"/>
                    <a:gd name="connsiteX186" fmla="*/ 207458 w 761692"/>
                    <a:gd name="connsiteY186" fmla="*/ 693088 h 1016771"/>
                    <a:gd name="connsiteX187" fmla="*/ 198982 w 761692"/>
                    <a:gd name="connsiteY187" fmla="*/ 694783 h 1016771"/>
                    <a:gd name="connsiteX188" fmla="*/ 192200 w 761692"/>
                    <a:gd name="connsiteY188" fmla="*/ 699869 h 1016771"/>
                    <a:gd name="connsiteX189" fmla="*/ 178638 w 761692"/>
                    <a:gd name="connsiteY189" fmla="*/ 706651 h 1016771"/>
                    <a:gd name="connsiteX190" fmla="*/ 163380 w 761692"/>
                    <a:gd name="connsiteY190" fmla="*/ 710041 h 1016771"/>
                    <a:gd name="connsiteX191" fmla="*/ 141340 w 761692"/>
                    <a:gd name="connsiteY191" fmla="*/ 710041 h 1016771"/>
                    <a:gd name="connsiteX192" fmla="*/ 134559 w 761692"/>
                    <a:gd name="connsiteY192" fmla="*/ 716823 h 1016771"/>
                    <a:gd name="connsiteX193" fmla="*/ 127778 w 761692"/>
                    <a:gd name="connsiteY193" fmla="*/ 718518 h 1016771"/>
                    <a:gd name="connsiteX194" fmla="*/ 120996 w 761692"/>
                    <a:gd name="connsiteY194" fmla="*/ 725299 h 1016771"/>
                    <a:gd name="connsiteX195" fmla="*/ 111172 w 761692"/>
                    <a:gd name="connsiteY195" fmla="*/ 733720 h 1016771"/>
                    <a:gd name="connsiteX196" fmla="*/ 106283 w 761692"/>
                    <a:gd name="connsiteY196" fmla="*/ 729808 h 1016771"/>
                    <a:gd name="connsiteX197" fmla="*/ 92112 w 761692"/>
                    <a:gd name="connsiteY197" fmla="*/ 724494 h 1016771"/>
                    <a:gd name="connsiteX198" fmla="*/ 77941 w 761692"/>
                    <a:gd name="connsiteY198" fmla="*/ 726265 h 1016771"/>
                    <a:gd name="connsiteX199" fmla="*/ 70855 w 761692"/>
                    <a:gd name="connsiteY199" fmla="*/ 719180 h 1016771"/>
                    <a:gd name="connsiteX200" fmla="*/ 70855 w 761692"/>
                    <a:gd name="connsiteY200" fmla="*/ 699695 h 1016771"/>
                    <a:gd name="connsiteX201" fmla="*/ 81483 w 761692"/>
                    <a:gd name="connsiteY201" fmla="*/ 685524 h 1016771"/>
                    <a:gd name="connsiteX202" fmla="*/ 85026 w 761692"/>
                    <a:gd name="connsiteY202" fmla="*/ 673124 h 1016771"/>
                    <a:gd name="connsiteX203" fmla="*/ 86797 w 761692"/>
                    <a:gd name="connsiteY203" fmla="*/ 660724 h 1016771"/>
                    <a:gd name="connsiteX204" fmla="*/ 97426 w 761692"/>
                    <a:gd name="connsiteY204" fmla="*/ 650096 h 1016771"/>
                    <a:gd name="connsiteX205" fmla="*/ 102740 w 761692"/>
                    <a:gd name="connsiteY205" fmla="*/ 635925 h 1016771"/>
                    <a:gd name="connsiteX206" fmla="*/ 113368 w 761692"/>
                    <a:gd name="connsiteY206" fmla="*/ 625297 h 1016771"/>
                    <a:gd name="connsiteX207" fmla="*/ 115139 w 761692"/>
                    <a:gd name="connsiteY207" fmla="*/ 612897 h 1016771"/>
                    <a:gd name="connsiteX208" fmla="*/ 127539 w 761692"/>
                    <a:gd name="connsiteY208" fmla="*/ 609354 h 1016771"/>
                    <a:gd name="connsiteX209" fmla="*/ 136396 w 761692"/>
                    <a:gd name="connsiteY209" fmla="*/ 604040 h 1016771"/>
                    <a:gd name="connsiteX210" fmla="*/ 132853 w 761692"/>
                    <a:gd name="connsiteY210" fmla="*/ 593412 h 1016771"/>
                    <a:gd name="connsiteX211" fmla="*/ 134625 w 761692"/>
                    <a:gd name="connsiteY211" fmla="*/ 584555 h 1016771"/>
                    <a:gd name="connsiteX212" fmla="*/ 131082 w 761692"/>
                    <a:gd name="connsiteY212" fmla="*/ 575698 h 1016771"/>
                    <a:gd name="connsiteX213" fmla="*/ 120454 w 761692"/>
                    <a:gd name="connsiteY213" fmla="*/ 568613 h 1016771"/>
                    <a:gd name="connsiteX214" fmla="*/ 125768 w 761692"/>
                    <a:gd name="connsiteY214" fmla="*/ 552670 h 1016771"/>
                    <a:gd name="connsiteX215" fmla="*/ 118682 w 761692"/>
                    <a:gd name="connsiteY215" fmla="*/ 543813 h 1016771"/>
                    <a:gd name="connsiteX216" fmla="*/ 90340 w 761692"/>
                    <a:gd name="connsiteY216" fmla="*/ 543813 h 1016771"/>
                    <a:gd name="connsiteX217" fmla="*/ 86797 w 761692"/>
                    <a:gd name="connsiteY217" fmla="*/ 542042 h 1016771"/>
                    <a:gd name="connsiteX218" fmla="*/ 83255 w 761692"/>
                    <a:gd name="connsiteY218" fmla="*/ 542042 h 1016771"/>
                    <a:gd name="connsiteX219" fmla="*/ 81483 w 761692"/>
                    <a:gd name="connsiteY219" fmla="*/ 540271 h 1016771"/>
                    <a:gd name="connsiteX220" fmla="*/ 81483 w 761692"/>
                    <a:gd name="connsiteY220" fmla="*/ 536728 h 1016771"/>
                    <a:gd name="connsiteX221" fmla="*/ 79712 w 761692"/>
                    <a:gd name="connsiteY221" fmla="*/ 531414 h 1016771"/>
                    <a:gd name="connsiteX222" fmla="*/ 77941 w 761692"/>
                    <a:gd name="connsiteY222" fmla="*/ 529642 h 1016771"/>
                    <a:gd name="connsiteX223" fmla="*/ 70855 w 761692"/>
                    <a:gd name="connsiteY223" fmla="*/ 527871 h 1016771"/>
                    <a:gd name="connsiteX224" fmla="*/ 60227 w 761692"/>
                    <a:gd name="connsiteY224" fmla="*/ 536728 h 1016771"/>
                    <a:gd name="connsiteX225" fmla="*/ 47827 w 761692"/>
                    <a:gd name="connsiteY225" fmla="*/ 526100 h 1016771"/>
                    <a:gd name="connsiteX226" fmla="*/ 42513 w 761692"/>
                    <a:gd name="connsiteY226" fmla="*/ 515471 h 1016771"/>
                    <a:gd name="connsiteX227" fmla="*/ 33656 w 761692"/>
                    <a:gd name="connsiteY227" fmla="*/ 506614 h 1016771"/>
                    <a:gd name="connsiteX228" fmla="*/ 31885 w 761692"/>
                    <a:gd name="connsiteY228" fmla="*/ 490672 h 1016771"/>
                    <a:gd name="connsiteX229" fmla="*/ 26571 w 761692"/>
                    <a:gd name="connsiteY229" fmla="*/ 476501 h 1016771"/>
                    <a:gd name="connsiteX230" fmla="*/ 24799 w 761692"/>
                    <a:gd name="connsiteY230" fmla="*/ 471187 h 1016771"/>
                    <a:gd name="connsiteX231" fmla="*/ 12400 w 761692"/>
                    <a:gd name="connsiteY231" fmla="*/ 472958 h 1016771"/>
                    <a:gd name="connsiteX232" fmla="*/ 7086 w 761692"/>
                    <a:gd name="connsiteY232" fmla="*/ 464101 h 1016771"/>
                    <a:gd name="connsiteX233" fmla="*/ 8857 w 761692"/>
                    <a:gd name="connsiteY233" fmla="*/ 446388 h 1016771"/>
                    <a:gd name="connsiteX234" fmla="*/ 3543 w 761692"/>
                    <a:gd name="connsiteY234" fmla="*/ 435759 h 1016771"/>
                    <a:gd name="connsiteX235" fmla="*/ 5314 w 761692"/>
                    <a:gd name="connsiteY235" fmla="*/ 412731 h 1016771"/>
                    <a:gd name="connsiteX236" fmla="*/ 0 w 761692"/>
                    <a:gd name="connsiteY236" fmla="*/ 396789 h 1016771"/>
                    <a:gd name="connsiteX237" fmla="*/ 3543 w 761692"/>
                    <a:gd name="connsiteY237" fmla="*/ 384389 h 1016771"/>
                    <a:gd name="connsiteX238" fmla="*/ 14171 w 761692"/>
                    <a:gd name="connsiteY238" fmla="*/ 380846 h 1016771"/>
                    <a:gd name="connsiteX239" fmla="*/ 24799 w 761692"/>
                    <a:gd name="connsiteY239" fmla="*/ 364904 h 1016771"/>
                    <a:gd name="connsiteX240" fmla="*/ 30113 w 761692"/>
                    <a:gd name="connsiteY240" fmla="*/ 350733 h 1016771"/>
                    <a:gd name="connsiteX241" fmla="*/ 35428 w 761692"/>
                    <a:gd name="connsiteY241" fmla="*/ 341876 h 1016771"/>
                    <a:gd name="connsiteX242" fmla="*/ 42513 w 761692"/>
                    <a:gd name="connsiteY242" fmla="*/ 327705 h 1016771"/>
                    <a:gd name="connsiteX243" fmla="*/ 42513 w 761692"/>
                    <a:gd name="connsiteY243" fmla="*/ 315305 h 1016771"/>
                    <a:gd name="connsiteX244" fmla="*/ 56684 w 761692"/>
                    <a:gd name="connsiteY244" fmla="*/ 309991 h 1016771"/>
                    <a:gd name="connsiteX245" fmla="*/ 60227 w 761692"/>
                    <a:gd name="connsiteY245" fmla="*/ 309991 h 1016771"/>
                    <a:gd name="connsiteX246" fmla="*/ 61998 w 761692"/>
                    <a:gd name="connsiteY246" fmla="*/ 311763 h 1016771"/>
                    <a:gd name="connsiteX247" fmla="*/ 67312 w 761692"/>
                    <a:gd name="connsiteY247" fmla="*/ 311763 h 1016771"/>
                    <a:gd name="connsiteX248" fmla="*/ 67312 w 761692"/>
                    <a:gd name="connsiteY248" fmla="*/ 309991 h 1016771"/>
                    <a:gd name="connsiteX249" fmla="*/ 67312 w 761692"/>
                    <a:gd name="connsiteY249" fmla="*/ 308220 h 1016771"/>
                    <a:gd name="connsiteX250" fmla="*/ 69084 w 761692"/>
                    <a:gd name="connsiteY250" fmla="*/ 302906 h 1016771"/>
                    <a:gd name="connsiteX251" fmla="*/ 70855 w 761692"/>
                    <a:gd name="connsiteY251" fmla="*/ 301134 h 1016771"/>
                    <a:gd name="connsiteX252" fmla="*/ 70855 w 761692"/>
                    <a:gd name="connsiteY252" fmla="*/ 299363 h 1016771"/>
                    <a:gd name="connsiteX253" fmla="*/ 77941 w 761692"/>
                    <a:gd name="connsiteY253" fmla="*/ 295820 h 1016771"/>
                    <a:gd name="connsiteX254" fmla="*/ 85026 w 761692"/>
                    <a:gd name="connsiteY254" fmla="*/ 295820 h 1016771"/>
                    <a:gd name="connsiteX255" fmla="*/ 93883 w 761692"/>
                    <a:gd name="connsiteY255" fmla="*/ 297592 h 1016771"/>
                    <a:gd name="connsiteX256" fmla="*/ 100968 w 761692"/>
                    <a:gd name="connsiteY256" fmla="*/ 288735 h 1016771"/>
                    <a:gd name="connsiteX257" fmla="*/ 97426 w 761692"/>
                    <a:gd name="connsiteY257" fmla="*/ 279878 h 1016771"/>
                    <a:gd name="connsiteX258" fmla="*/ 85026 w 761692"/>
                    <a:gd name="connsiteY258" fmla="*/ 276335 h 1016771"/>
                    <a:gd name="connsiteX259" fmla="*/ 76169 w 761692"/>
                    <a:gd name="connsiteY259" fmla="*/ 271021 h 1016771"/>
                    <a:gd name="connsiteX260" fmla="*/ 76169 w 761692"/>
                    <a:gd name="connsiteY260" fmla="*/ 262164 h 1016771"/>
                    <a:gd name="connsiteX261" fmla="*/ 81483 w 761692"/>
                    <a:gd name="connsiteY261" fmla="*/ 251536 h 1016771"/>
                    <a:gd name="connsiteX262" fmla="*/ 86797 w 761692"/>
                    <a:gd name="connsiteY262" fmla="*/ 255079 h 1016771"/>
                    <a:gd name="connsiteX263" fmla="*/ 104511 w 761692"/>
                    <a:gd name="connsiteY263" fmla="*/ 262164 h 1016771"/>
                    <a:gd name="connsiteX264" fmla="*/ 116911 w 761692"/>
                    <a:gd name="connsiteY264" fmla="*/ 265707 h 1016771"/>
                    <a:gd name="connsiteX265" fmla="*/ 132853 w 761692"/>
                    <a:gd name="connsiteY265" fmla="*/ 269250 h 1016771"/>
                    <a:gd name="connsiteX266" fmla="*/ 138167 w 761692"/>
                    <a:gd name="connsiteY266" fmla="*/ 265707 h 1016771"/>
                    <a:gd name="connsiteX267" fmla="*/ 150567 w 761692"/>
                    <a:gd name="connsiteY267" fmla="*/ 255079 h 1016771"/>
                    <a:gd name="connsiteX268" fmla="*/ 166509 w 761692"/>
                    <a:gd name="connsiteY268" fmla="*/ 255079 h 1016771"/>
                    <a:gd name="connsiteX269" fmla="*/ 166509 w 761692"/>
                    <a:gd name="connsiteY269" fmla="*/ 265707 h 1016771"/>
                    <a:gd name="connsiteX270" fmla="*/ 177138 w 761692"/>
                    <a:gd name="connsiteY270" fmla="*/ 272792 h 1016771"/>
                    <a:gd name="connsiteX271" fmla="*/ 194851 w 761692"/>
                    <a:gd name="connsiteY271" fmla="*/ 276335 h 1016771"/>
                    <a:gd name="connsiteX272" fmla="*/ 209022 w 761692"/>
                    <a:gd name="connsiteY272" fmla="*/ 279878 h 1016771"/>
                    <a:gd name="connsiteX273" fmla="*/ 221422 w 761692"/>
                    <a:gd name="connsiteY273" fmla="*/ 276335 h 1016771"/>
                    <a:gd name="connsiteX274" fmla="*/ 226736 w 761692"/>
                    <a:gd name="connsiteY274" fmla="*/ 269250 h 1016771"/>
                    <a:gd name="connsiteX275" fmla="*/ 226736 w 761692"/>
                    <a:gd name="connsiteY275" fmla="*/ 251536 h 1016771"/>
                    <a:gd name="connsiteX276" fmla="*/ 224965 w 761692"/>
                    <a:gd name="connsiteY276" fmla="*/ 239136 h 1016771"/>
                    <a:gd name="connsiteX277" fmla="*/ 214337 w 761692"/>
                    <a:gd name="connsiteY277" fmla="*/ 230279 h 1016771"/>
                    <a:gd name="connsiteX278" fmla="*/ 210794 w 761692"/>
                    <a:gd name="connsiteY278" fmla="*/ 217880 h 1016771"/>
                    <a:gd name="connsiteX279" fmla="*/ 221422 w 761692"/>
                    <a:gd name="connsiteY279" fmla="*/ 207251 h 1016771"/>
                    <a:gd name="connsiteX280" fmla="*/ 235593 w 761692"/>
                    <a:gd name="connsiteY280" fmla="*/ 214337 h 1016771"/>
                    <a:gd name="connsiteX281" fmla="*/ 246221 w 761692"/>
                    <a:gd name="connsiteY281" fmla="*/ 219651 h 1016771"/>
                    <a:gd name="connsiteX282" fmla="*/ 253307 w 761692"/>
                    <a:gd name="connsiteY282" fmla="*/ 221422 h 1016771"/>
                    <a:gd name="connsiteX283" fmla="*/ 262164 w 761692"/>
                    <a:gd name="connsiteY283" fmla="*/ 210794 h 1016771"/>
                    <a:gd name="connsiteX284" fmla="*/ 263935 w 761692"/>
                    <a:gd name="connsiteY284" fmla="*/ 201937 h 1016771"/>
                    <a:gd name="connsiteX285" fmla="*/ 274563 w 761692"/>
                    <a:gd name="connsiteY285" fmla="*/ 189538 h 1016771"/>
                    <a:gd name="connsiteX286" fmla="*/ 283420 w 761692"/>
                    <a:gd name="connsiteY286" fmla="*/ 178909 h 1016771"/>
                    <a:gd name="connsiteX287" fmla="*/ 286963 w 761692"/>
                    <a:gd name="connsiteY287" fmla="*/ 173595 h 1016771"/>
                    <a:gd name="connsiteX288" fmla="*/ 311762 w 761692"/>
                    <a:gd name="connsiteY288" fmla="*/ 168281 h 1016771"/>
                    <a:gd name="connsiteX289" fmla="*/ 325933 w 761692"/>
                    <a:gd name="connsiteY289" fmla="*/ 164738 h 1016771"/>
                    <a:gd name="connsiteX290" fmla="*/ 336562 w 761692"/>
                    <a:gd name="connsiteY290" fmla="*/ 159424 h 1016771"/>
                    <a:gd name="connsiteX291" fmla="*/ 348961 w 761692"/>
                    <a:gd name="connsiteY291" fmla="*/ 145253 h 1016771"/>
                    <a:gd name="connsiteX292" fmla="*/ 359589 w 761692"/>
                    <a:gd name="connsiteY292" fmla="*/ 143482 h 1016771"/>
                    <a:gd name="connsiteX293" fmla="*/ 371989 w 761692"/>
                    <a:gd name="connsiteY293" fmla="*/ 143482 h 1016771"/>
                    <a:gd name="connsiteX294" fmla="*/ 391474 w 761692"/>
                    <a:gd name="connsiteY294" fmla="*/ 143482 h 1016771"/>
                    <a:gd name="connsiteX295" fmla="*/ 396788 w 761692"/>
                    <a:gd name="connsiteY295" fmla="*/ 141710 h 1016771"/>
                    <a:gd name="connsiteX296" fmla="*/ 403874 w 761692"/>
                    <a:gd name="connsiteY296" fmla="*/ 134625 h 1016771"/>
                    <a:gd name="connsiteX297" fmla="*/ 409188 w 761692"/>
                    <a:gd name="connsiteY297" fmla="*/ 129311 h 1016771"/>
                    <a:gd name="connsiteX298" fmla="*/ 409188 w 761692"/>
                    <a:gd name="connsiteY298" fmla="*/ 123997 h 1016771"/>
                    <a:gd name="connsiteX299" fmla="*/ 414502 w 761692"/>
                    <a:gd name="connsiteY299" fmla="*/ 115140 h 1016771"/>
                    <a:gd name="connsiteX300" fmla="*/ 428673 w 761692"/>
                    <a:gd name="connsiteY300" fmla="*/ 115140 h 1016771"/>
                    <a:gd name="connsiteX301" fmla="*/ 432216 w 761692"/>
                    <a:gd name="connsiteY301" fmla="*/ 109826 h 1016771"/>
                    <a:gd name="connsiteX302" fmla="*/ 437530 w 761692"/>
                    <a:gd name="connsiteY302" fmla="*/ 100969 h 1016771"/>
                    <a:gd name="connsiteX303" fmla="*/ 448158 w 761692"/>
                    <a:gd name="connsiteY303" fmla="*/ 99197 h 1016771"/>
                    <a:gd name="connsiteX304" fmla="*/ 460558 w 761692"/>
                    <a:gd name="connsiteY304" fmla="*/ 97426 h 1016771"/>
                    <a:gd name="connsiteX305" fmla="*/ 472958 w 761692"/>
                    <a:gd name="connsiteY305" fmla="*/ 93883 h 1016771"/>
                    <a:gd name="connsiteX306" fmla="*/ 492443 w 761692"/>
                    <a:gd name="connsiteY306" fmla="*/ 93883 h 1016771"/>
                    <a:gd name="connsiteX307" fmla="*/ 501300 w 761692"/>
                    <a:gd name="connsiteY307" fmla="*/ 83255 h 1016771"/>
                    <a:gd name="connsiteX308" fmla="*/ 517242 w 761692"/>
                    <a:gd name="connsiteY308" fmla="*/ 81484 h 1016771"/>
                    <a:gd name="connsiteX309" fmla="*/ 522556 w 761692"/>
                    <a:gd name="connsiteY309" fmla="*/ 81484 h 1016771"/>
                    <a:gd name="connsiteX310" fmla="*/ 522556 w 761692"/>
                    <a:gd name="connsiteY310" fmla="*/ 60227 h 1016771"/>
                    <a:gd name="connsiteX311" fmla="*/ 526099 w 761692"/>
                    <a:gd name="connsiteY311" fmla="*/ 54913 h 1016771"/>
                    <a:gd name="connsiteX312" fmla="*/ 529642 w 761692"/>
                    <a:gd name="connsiteY312" fmla="*/ 46056 h 1016771"/>
                    <a:gd name="connsiteX313" fmla="*/ 538499 w 761692"/>
                    <a:gd name="connsiteY313" fmla="*/ 40742 h 1016771"/>
                    <a:gd name="connsiteX314" fmla="*/ 540270 w 761692"/>
                    <a:gd name="connsiteY314" fmla="*/ 30114 h 1016771"/>
                    <a:gd name="connsiteX315" fmla="*/ 536727 w 761692"/>
                    <a:gd name="connsiteY315" fmla="*/ 19485 h 1016771"/>
                    <a:gd name="connsiteX316" fmla="*/ 543813 w 761692"/>
                    <a:gd name="connsiteY316" fmla="*/ 5314 h 1016771"/>
                    <a:gd name="connsiteX317" fmla="*/ 554441 w 761692"/>
                    <a:gd name="connsiteY317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9645 w 761692"/>
                    <a:gd name="connsiteY9" fmla="*/ 860925 h 1016771"/>
                    <a:gd name="connsiteX10" fmla="*/ 148122 w 761692"/>
                    <a:gd name="connsiteY10" fmla="*/ 867707 h 1016771"/>
                    <a:gd name="connsiteX11" fmla="*/ 158294 w 761692"/>
                    <a:gd name="connsiteY11" fmla="*/ 879574 h 1016771"/>
                    <a:gd name="connsiteX12" fmla="*/ 175247 w 761692"/>
                    <a:gd name="connsiteY12" fmla="*/ 889746 h 1016771"/>
                    <a:gd name="connsiteX13" fmla="*/ 188810 w 761692"/>
                    <a:gd name="connsiteY13" fmla="*/ 893137 h 1016771"/>
                    <a:gd name="connsiteX14" fmla="*/ 195591 w 761692"/>
                    <a:gd name="connsiteY14" fmla="*/ 893137 h 1016771"/>
                    <a:gd name="connsiteX15" fmla="*/ 175366 w 761692"/>
                    <a:gd name="connsiteY15" fmla="*/ 891003 h 1016771"/>
                    <a:gd name="connsiteX16" fmla="*/ 157653 w 761692"/>
                    <a:gd name="connsiteY16" fmla="*/ 880375 h 1016771"/>
                    <a:gd name="connsiteX17" fmla="*/ 147024 w 761692"/>
                    <a:gd name="connsiteY17" fmla="*/ 867975 h 1016771"/>
                    <a:gd name="connsiteX18" fmla="*/ 138167 w 761692"/>
                    <a:gd name="connsiteY18" fmla="*/ 860890 h 1016771"/>
                    <a:gd name="connsiteX19" fmla="*/ 138167 w 761692"/>
                    <a:gd name="connsiteY19" fmla="*/ 852033 h 1016771"/>
                    <a:gd name="connsiteX20" fmla="*/ 139939 w 761692"/>
                    <a:gd name="connsiteY20" fmla="*/ 850262 h 1016771"/>
                    <a:gd name="connsiteX21" fmla="*/ 139939 w 761692"/>
                    <a:gd name="connsiteY21" fmla="*/ 848490 h 1016771"/>
                    <a:gd name="connsiteX22" fmla="*/ 145253 w 761692"/>
                    <a:gd name="connsiteY22" fmla="*/ 843176 h 1016771"/>
                    <a:gd name="connsiteX23" fmla="*/ 147024 w 761692"/>
                    <a:gd name="connsiteY23" fmla="*/ 841405 h 1016771"/>
                    <a:gd name="connsiteX24" fmla="*/ 148796 w 761692"/>
                    <a:gd name="connsiteY24" fmla="*/ 839633 h 1016771"/>
                    <a:gd name="connsiteX25" fmla="*/ 150567 w 761692"/>
                    <a:gd name="connsiteY25" fmla="*/ 837862 h 1016771"/>
                    <a:gd name="connsiteX26" fmla="*/ 159250 w 761692"/>
                    <a:gd name="connsiteY26" fmla="*/ 829179 h 1016771"/>
                    <a:gd name="connsiteX27" fmla="*/ 116476 w 761692"/>
                    <a:gd name="connsiteY27" fmla="*/ 741349 h 1016771"/>
                    <a:gd name="connsiteX28" fmla="*/ 117606 w 761692"/>
                    <a:gd name="connsiteY28" fmla="*/ 742253 h 1016771"/>
                    <a:gd name="connsiteX29" fmla="*/ 122692 w 761692"/>
                    <a:gd name="connsiteY29" fmla="*/ 759206 h 1016771"/>
                    <a:gd name="connsiteX30" fmla="*/ 126082 w 761692"/>
                    <a:gd name="connsiteY30" fmla="*/ 771073 h 1016771"/>
                    <a:gd name="connsiteX31" fmla="*/ 129473 w 761692"/>
                    <a:gd name="connsiteY31" fmla="*/ 782940 h 1016771"/>
                    <a:gd name="connsiteX32" fmla="*/ 132864 w 761692"/>
                    <a:gd name="connsiteY32" fmla="*/ 793112 h 1016771"/>
                    <a:gd name="connsiteX33" fmla="*/ 136254 w 761692"/>
                    <a:gd name="connsiteY33" fmla="*/ 810066 h 1016771"/>
                    <a:gd name="connsiteX34" fmla="*/ 139058 w 761692"/>
                    <a:gd name="connsiteY34" fmla="*/ 818476 h 1016771"/>
                    <a:gd name="connsiteX35" fmla="*/ 138167 w 761692"/>
                    <a:gd name="connsiteY35" fmla="*/ 818377 h 1016771"/>
                    <a:gd name="connsiteX36" fmla="*/ 134625 w 761692"/>
                    <a:gd name="connsiteY36" fmla="*/ 807749 h 1016771"/>
                    <a:gd name="connsiteX37" fmla="*/ 131082 w 761692"/>
                    <a:gd name="connsiteY37" fmla="*/ 790035 h 1016771"/>
                    <a:gd name="connsiteX38" fmla="*/ 127539 w 761692"/>
                    <a:gd name="connsiteY38" fmla="*/ 779407 h 1016771"/>
                    <a:gd name="connsiteX39" fmla="*/ 123996 w 761692"/>
                    <a:gd name="connsiteY39" fmla="*/ 767007 h 1016771"/>
                    <a:gd name="connsiteX40" fmla="*/ 120454 w 761692"/>
                    <a:gd name="connsiteY40" fmla="*/ 754607 h 1016771"/>
                    <a:gd name="connsiteX41" fmla="*/ 116476 w 761692"/>
                    <a:gd name="connsiteY41" fmla="*/ 741349 h 1016771"/>
                    <a:gd name="connsiteX42" fmla="*/ 554441 w 761692"/>
                    <a:gd name="connsiteY42" fmla="*/ 0 h 1016771"/>
                    <a:gd name="connsiteX43" fmla="*/ 570383 w 761692"/>
                    <a:gd name="connsiteY43" fmla="*/ 3543 h 1016771"/>
                    <a:gd name="connsiteX44" fmla="*/ 577469 w 761692"/>
                    <a:gd name="connsiteY44" fmla="*/ 8857 h 1016771"/>
                    <a:gd name="connsiteX45" fmla="*/ 582783 w 761692"/>
                    <a:gd name="connsiteY45" fmla="*/ 17714 h 1016771"/>
                    <a:gd name="connsiteX46" fmla="*/ 582783 w 761692"/>
                    <a:gd name="connsiteY46" fmla="*/ 24799 h 1016771"/>
                    <a:gd name="connsiteX47" fmla="*/ 588097 w 761692"/>
                    <a:gd name="connsiteY47" fmla="*/ 33656 h 1016771"/>
                    <a:gd name="connsiteX48" fmla="*/ 598725 w 761692"/>
                    <a:gd name="connsiteY48" fmla="*/ 31885 h 1016771"/>
                    <a:gd name="connsiteX49" fmla="*/ 612896 w 761692"/>
                    <a:gd name="connsiteY49" fmla="*/ 37199 h 1016771"/>
                    <a:gd name="connsiteX50" fmla="*/ 618211 w 761692"/>
                    <a:gd name="connsiteY50" fmla="*/ 46056 h 1016771"/>
                    <a:gd name="connsiteX51" fmla="*/ 619982 w 761692"/>
                    <a:gd name="connsiteY51" fmla="*/ 54913 h 1016771"/>
                    <a:gd name="connsiteX52" fmla="*/ 618211 w 761692"/>
                    <a:gd name="connsiteY52" fmla="*/ 74398 h 1016771"/>
                    <a:gd name="connsiteX53" fmla="*/ 616439 w 761692"/>
                    <a:gd name="connsiteY53" fmla="*/ 85026 h 1016771"/>
                    <a:gd name="connsiteX54" fmla="*/ 621753 w 761692"/>
                    <a:gd name="connsiteY54" fmla="*/ 97426 h 1016771"/>
                    <a:gd name="connsiteX55" fmla="*/ 637696 w 761692"/>
                    <a:gd name="connsiteY55" fmla="*/ 113368 h 1016771"/>
                    <a:gd name="connsiteX56" fmla="*/ 644781 w 761692"/>
                    <a:gd name="connsiteY56" fmla="*/ 120454 h 1016771"/>
                    <a:gd name="connsiteX57" fmla="*/ 650095 w 761692"/>
                    <a:gd name="connsiteY57" fmla="*/ 136396 h 1016771"/>
                    <a:gd name="connsiteX58" fmla="*/ 655409 w 761692"/>
                    <a:gd name="connsiteY58" fmla="*/ 155881 h 1016771"/>
                    <a:gd name="connsiteX59" fmla="*/ 662495 w 761692"/>
                    <a:gd name="connsiteY59" fmla="*/ 171824 h 1016771"/>
                    <a:gd name="connsiteX60" fmla="*/ 660724 w 761692"/>
                    <a:gd name="connsiteY60" fmla="*/ 185995 h 1016771"/>
                    <a:gd name="connsiteX61" fmla="*/ 635924 w 761692"/>
                    <a:gd name="connsiteY61" fmla="*/ 194852 h 1016771"/>
                    <a:gd name="connsiteX62" fmla="*/ 619982 w 761692"/>
                    <a:gd name="connsiteY62" fmla="*/ 207251 h 1016771"/>
                    <a:gd name="connsiteX63" fmla="*/ 614668 w 761692"/>
                    <a:gd name="connsiteY63" fmla="*/ 223194 h 1016771"/>
                    <a:gd name="connsiteX64" fmla="*/ 618211 w 761692"/>
                    <a:gd name="connsiteY64" fmla="*/ 242679 h 1016771"/>
                    <a:gd name="connsiteX65" fmla="*/ 612896 w 761692"/>
                    <a:gd name="connsiteY65" fmla="*/ 256850 h 1016771"/>
                    <a:gd name="connsiteX66" fmla="*/ 625296 w 761692"/>
                    <a:gd name="connsiteY66" fmla="*/ 267478 h 1016771"/>
                    <a:gd name="connsiteX67" fmla="*/ 641238 w 761692"/>
                    <a:gd name="connsiteY67" fmla="*/ 269250 h 1016771"/>
                    <a:gd name="connsiteX68" fmla="*/ 658952 w 761692"/>
                    <a:gd name="connsiteY68" fmla="*/ 286963 h 1016771"/>
                    <a:gd name="connsiteX69" fmla="*/ 653638 w 761692"/>
                    <a:gd name="connsiteY69" fmla="*/ 309991 h 1016771"/>
                    <a:gd name="connsiteX70" fmla="*/ 653638 w 761692"/>
                    <a:gd name="connsiteY70" fmla="*/ 329476 h 1016771"/>
                    <a:gd name="connsiteX71" fmla="*/ 643010 w 761692"/>
                    <a:gd name="connsiteY71" fmla="*/ 338333 h 1016771"/>
                    <a:gd name="connsiteX72" fmla="*/ 632382 w 761692"/>
                    <a:gd name="connsiteY72" fmla="*/ 338333 h 1016771"/>
                    <a:gd name="connsiteX73" fmla="*/ 618211 w 761692"/>
                    <a:gd name="connsiteY73" fmla="*/ 357819 h 1016771"/>
                    <a:gd name="connsiteX74" fmla="*/ 609354 w 761692"/>
                    <a:gd name="connsiteY74" fmla="*/ 361361 h 1016771"/>
                    <a:gd name="connsiteX75" fmla="*/ 596954 w 761692"/>
                    <a:gd name="connsiteY75" fmla="*/ 363133 h 1016771"/>
                    <a:gd name="connsiteX76" fmla="*/ 581012 w 761692"/>
                    <a:gd name="connsiteY76" fmla="*/ 379075 h 1016771"/>
                    <a:gd name="connsiteX77" fmla="*/ 589868 w 761692"/>
                    <a:gd name="connsiteY77" fmla="*/ 393246 h 1016771"/>
                    <a:gd name="connsiteX78" fmla="*/ 586326 w 761692"/>
                    <a:gd name="connsiteY78" fmla="*/ 409189 h 1016771"/>
                    <a:gd name="connsiteX79" fmla="*/ 570383 w 761692"/>
                    <a:gd name="connsiteY79" fmla="*/ 398560 h 1016771"/>
                    <a:gd name="connsiteX80" fmla="*/ 550898 w 761692"/>
                    <a:gd name="connsiteY80" fmla="*/ 405646 h 1016771"/>
                    <a:gd name="connsiteX81" fmla="*/ 531413 w 761692"/>
                    <a:gd name="connsiteY81" fmla="*/ 425131 h 1016771"/>
                    <a:gd name="connsiteX82" fmla="*/ 543813 w 761692"/>
                    <a:gd name="connsiteY82" fmla="*/ 444616 h 1016771"/>
                    <a:gd name="connsiteX83" fmla="*/ 557984 w 761692"/>
                    <a:gd name="connsiteY83" fmla="*/ 462330 h 1016771"/>
                    <a:gd name="connsiteX84" fmla="*/ 570383 w 761692"/>
                    <a:gd name="connsiteY84" fmla="*/ 478272 h 1016771"/>
                    <a:gd name="connsiteX85" fmla="*/ 579240 w 761692"/>
                    <a:gd name="connsiteY85" fmla="*/ 485358 h 1016771"/>
                    <a:gd name="connsiteX86" fmla="*/ 602268 w 761692"/>
                    <a:gd name="connsiteY86" fmla="*/ 483586 h 1016771"/>
                    <a:gd name="connsiteX87" fmla="*/ 623525 w 761692"/>
                    <a:gd name="connsiteY87" fmla="*/ 474730 h 1016771"/>
                    <a:gd name="connsiteX88" fmla="*/ 639467 w 761692"/>
                    <a:gd name="connsiteY88" fmla="*/ 464101 h 1016771"/>
                    <a:gd name="connsiteX89" fmla="*/ 662495 w 761692"/>
                    <a:gd name="connsiteY89" fmla="*/ 464101 h 1016771"/>
                    <a:gd name="connsiteX90" fmla="*/ 673123 w 761692"/>
                    <a:gd name="connsiteY90" fmla="*/ 464101 h 1016771"/>
                    <a:gd name="connsiteX91" fmla="*/ 681980 w 761692"/>
                    <a:gd name="connsiteY91" fmla="*/ 467644 h 1016771"/>
                    <a:gd name="connsiteX92" fmla="*/ 703237 w 761692"/>
                    <a:gd name="connsiteY92" fmla="*/ 471187 h 1016771"/>
                    <a:gd name="connsiteX93" fmla="*/ 708551 w 761692"/>
                    <a:gd name="connsiteY93" fmla="*/ 474730 h 1016771"/>
                    <a:gd name="connsiteX94" fmla="*/ 722722 w 761692"/>
                    <a:gd name="connsiteY94" fmla="*/ 501300 h 1016771"/>
                    <a:gd name="connsiteX95" fmla="*/ 724493 w 761692"/>
                    <a:gd name="connsiteY95" fmla="*/ 522557 h 1016771"/>
                    <a:gd name="connsiteX96" fmla="*/ 722722 w 761692"/>
                    <a:gd name="connsiteY96" fmla="*/ 540271 h 1016771"/>
                    <a:gd name="connsiteX97" fmla="*/ 735121 w 761692"/>
                    <a:gd name="connsiteY97" fmla="*/ 552670 h 1016771"/>
                    <a:gd name="connsiteX98" fmla="*/ 735121 w 761692"/>
                    <a:gd name="connsiteY98" fmla="*/ 570384 h 1016771"/>
                    <a:gd name="connsiteX99" fmla="*/ 751064 w 761692"/>
                    <a:gd name="connsiteY99" fmla="*/ 581012 h 1016771"/>
                    <a:gd name="connsiteX100" fmla="*/ 761692 w 761692"/>
                    <a:gd name="connsiteY100" fmla="*/ 604040 h 1016771"/>
                    <a:gd name="connsiteX101" fmla="*/ 747521 w 761692"/>
                    <a:gd name="connsiteY101" fmla="*/ 616440 h 1016771"/>
                    <a:gd name="connsiteX102" fmla="*/ 728036 w 761692"/>
                    <a:gd name="connsiteY102" fmla="*/ 627068 h 1016771"/>
                    <a:gd name="connsiteX103" fmla="*/ 726264 w 761692"/>
                    <a:gd name="connsiteY103" fmla="*/ 650096 h 1016771"/>
                    <a:gd name="connsiteX104" fmla="*/ 728036 w 761692"/>
                    <a:gd name="connsiteY104" fmla="*/ 673124 h 1016771"/>
                    <a:gd name="connsiteX105" fmla="*/ 742207 w 761692"/>
                    <a:gd name="connsiteY105" fmla="*/ 689066 h 1016771"/>
                    <a:gd name="connsiteX106" fmla="*/ 742207 w 761692"/>
                    <a:gd name="connsiteY106" fmla="*/ 712094 h 1016771"/>
                    <a:gd name="connsiteX107" fmla="*/ 740435 w 761692"/>
                    <a:gd name="connsiteY107" fmla="*/ 735122 h 1016771"/>
                    <a:gd name="connsiteX108" fmla="*/ 742207 w 761692"/>
                    <a:gd name="connsiteY108" fmla="*/ 751065 h 1016771"/>
                    <a:gd name="connsiteX109" fmla="*/ 747521 w 761692"/>
                    <a:gd name="connsiteY109" fmla="*/ 768778 h 1016771"/>
                    <a:gd name="connsiteX110" fmla="*/ 759921 w 761692"/>
                    <a:gd name="connsiteY110" fmla="*/ 777635 h 1016771"/>
                    <a:gd name="connsiteX111" fmla="*/ 758149 w 761692"/>
                    <a:gd name="connsiteY111" fmla="*/ 802434 h 1016771"/>
                    <a:gd name="connsiteX112" fmla="*/ 752835 w 761692"/>
                    <a:gd name="connsiteY112" fmla="*/ 814834 h 1016771"/>
                    <a:gd name="connsiteX113" fmla="*/ 743978 w 761692"/>
                    <a:gd name="connsiteY113" fmla="*/ 827234 h 1016771"/>
                    <a:gd name="connsiteX114" fmla="*/ 743978 w 761692"/>
                    <a:gd name="connsiteY114" fmla="*/ 837862 h 1016771"/>
                    <a:gd name="connsiteX115" fmla="*/ 747521 w 761692"/>
                    <a:gd name="connsiteY115" fmla="*/ 853804 h 1016771"/>
                    <a:gd name="connsiteX116" fmla="*/ 733350 w 761692"/>
                    <a:gd name="connsiteY116" fmla="*/ 867975 h 1016771"/>
                    <a:gd name="connsiteX117" fmla="*/ 724493 w 761692"/>
                    <a:gd name="connsiteY117" fmla="*/ 880375 h 1016771"/>
                    <a:gd name="connsiteX118" fmla="*/ 722722 w 761692"/>
                    <a:gd name="connsiteY118" fmla="*/ 899860 h 1016771"/>
                    <a:gd name="connsiteX119" fmla="*/ 722722 w 761692"/>
                    <a:gd name="connsiteY119" fmla="*/ 919345 h 1016771"/>
                    <a:gd name="connsiteX120" fmla="*/ 715636 w 761692"/>
                    <a:gd name="connsiteY120" fmla="*/ 940602 h 1016771"/>
                    <a:gd name="connsiteX121" fmla="*/ 708551 w 761692"/>
                    <a:gd name="connsiteY121" fmla="*/ 954773 h 1016771"/>
                    <a:gd name="connsiteX122" fmla="*/ 699694 w 761692"/>
                    <a:gd name="connsiteY122" fmla="*/ 965401 h 1016771"/>
                    <a:gd name="connsiteX123" fmla="*/ 692608 w 761692"/>
                    <a:gd name="connsiteY123" fmla="*/ 984886 h 1016771"/>
                    <a:gd name="connsiteX124" fmla="*/ 683751 w 761692"/>
                    <a:gd name="connsiteY124" fmla="*/ 997286 h 1016771"/>
                    <a:gd name="connsiteX125" fmla="*/ 673123 w 761692"/>
                    <a:gd name="connsiteY125" fmla="*/ 1002600 h 1016771"/>
                    <a:gd name="connsiteX126" fmla="*/ 662495 w 761692"/>
                    <a:gd name="connsiteY126" fmla="*/ 1013228 h 1016771"/>
                    <a:gd name="connsiteX127" fmla="*/ 644781 w 761692"/>
                    <a:gd name="connsiteY127" fmla="*/ 1016771 h 1016771"/>
                    <a:gd name="connsiteX128" fmla="*/ 635924 w 761692"/>
                    <a:gd name="connsiteY128" fmla="*/ 1004372 h 1016771"/>
                    <a:gd name="connsiteX129" fmla="*/ 623525 w 761692"/>
                    <a:gd name="connsiteY129" fmla="*/ 997286 h 1016771"/>
                    <a:gd name="connsiteX130" fmla="*/ 614668 w 761692"/>
                    <a:gd name="connsiteY130" fmla="*/ 986658 h 1016771"/>
                    <a:gd name="connsiteX131" fmla="*/ 593411 w 761692"/>
                    <a:gd name="connsiteY131" fmla="*/ 970715 h 1016771"/>
                    <a:gd name="connsiteX132" fmla="*/ 582783 w 761692"/>
                    <a:gd name="connsiteY132" fmla="*/ 965401 h 1016771"/>
                    <a:gd name="connsiteX133" fmla="*/ 531413 w 761692"/>
                    <a:gd name="connsiteY133" fmla="*/ 965401 h 1016771"/>
                    <a:gd name="connsiteX134" fmla="*/ 511928 w 761692"/>
                    <a:gd name="connsiteY134" fmla="*/ 965401 h 1016771"/>
                    <a:gd name="connsiteX135" fmla="*/ 492443 w 761692"/>
                    <a:gd name="connsiteY135" fmla="*/ 963630 h 1016771"/>
                    <a:gd name="connsiteX136" fmla="*/ 483586 w 761692"/>
                    <a:gd name="connsiteY136" fmla="*/ 958316 h 1016771"/>
                    <a:gd name="connsiteX137" fmla="*/ 469415 w 761692"/>
                    <a:gd name="connsiteY137" fmla="*/ 954773 h 1016771"/>
                    <a:gd name="connsiteX138" fmla="*/ 460558 w 761692"/>
                    <a:gd name="connsiteY138" fmla="*/ 942373 h 1016771"/>
                    <a:gd name="connsiteX139" fmla="*/ 446387 w 761692"/>
                    <a:gd name="connsiteY139" fmla="*/ 935288 h 1016771"/>
                    <a:gd name="connsiteX140" fmla="*/ 428673 w 761692"/>
                    <a:gd name="connsiteY140" fmla="*/ 928202 h 1016771"/>
                    <a:gd name="connsiteX141" fmla="*/ 418045 w 761692"/>
                    <a:gd name="connsiteY141" fmla="*/ 917574 h 1016771"/>
                    <a:gd name="connsiteX142" fmla="*/ 421588 w 761692"/>
                    <a:gd name="connsiteY142" fmla="*/ 903403 h 1016771"/>
                    <a:gd name="connsiteX143" fmla="*/ 418045 w 761692"/>
                    <a:gd name="connsiteY143" fmla="*/ 898089 h 1016771"/>
                    <a:gd name="connsiteX144" fmla="*/ 396788 w 761692"/>
                    <a:gd name="connsiteY144" fmla="*/ 898089 h 1016771"/>
                    <a:gd name="connsiteX145" fmla="*/ 382617 w 761692"/>
                    <a:gd name="connsiteY145" fmla="*/ 896318 h 1016771"/>
                    <a:gd name="connsiteX146" fmla="*/ 380846 w 761692"/>
                    <a:gd name="connsiteY146" fmla="*/ 906946 h 1016771"/>
                    <a:gd name="connsiteX147" fmla="*/ 373601 w 761692"/>
                    <a:gd name="connsiteY147" fmla="*/ 894832 h 1016771"/>
                    <a:gd name="connsiteX148" fmla="*/ 387164 w 761692"/>
                    <a:gd name="connsiteY148" fmla="*/ 896527 h 1016771"/>
                    <a:gd name="connsiteX149" fmla="*/ 383773 w 761692"/>
                    <a:gd name="connsiteY149" fmla="*/ 886355 h 1016771"/>
                    <a:gd name="connsiteX150" fmla="*/ 387164 w 761692"/>
                    <a:gd name="connsiteY150" fmla="*/ 876183 h 1016771"/>
                    <a:gd name="connsiteX151" fmla="*/ 388859 w 761692"/>
                    <a:gd name="connsiteY151" fmla="*/ 867707 h 1016771"/>
                    <a:gd name="connsiteX152" fmla="*/ 380382 w 761692"/>
                    <a:gd name="connsiteY152" fmla="*/ 859230 h 1016771"/>
                    <a:gd name="connsiteX153" fmla="*/ 373601 w 761692"/>
                    <a:gd name="connsiteY153" fmla="*/ 849058 h 1016771"/>
                    <a:gd name="connsiteX154" fmla="*/ 380382 w 761692"/>
                    <a:gd name="connsiteY154" fmla="*/ 838886 h 1016771"/>
                    <a:gd name="connsiteX155" fmla="*/ 383773 w 761692"/>
                    <a:gd name="connsiteY155" fmla="*/ 833800 h 1016771"/>
                    <a:gd name="connsiteX156" fmla="*/ 388859 w 761692"/>
                    <a:gd name="connsiteY156" fmla="*/ 825324 h 1016771"/>
                    <a:gd name="connsiteX157" fmla="*/ 387164 w 761692"/>
                    <a:gd name="connsiteY157" fmla="*/ 810066 h 1016771"/>
                    <a:gd name="connsiteX158" fmla="*/ 387164 w 761692"/>
                    <a:gd name="connsiteY158" fmla="*/ 796503 h 1016771"/>
                    <a:gd name="connsiteX159" fmla="*/ 378687 w 761692"/>
                    <a:gd name="connsiteY159" fmla="*/ 789722 h 1016771"/>
                    <a:gd name="connsiteX160" fmla="*/ 366820 w 761692"/>
                    <a:gd name="connsiteY160" fmla="*/ 782940 h 1016771"/>
                    <a:gd name="connsiteX161" fmla="*/ 356648 w 761692"/>
                    <a:gd name="connsiteY161" fmla="*/ 781245 h 1016771"/>
                    <a:gd name="connsiteX162" fmla="*/ 349866 w 761692"/>
                    <a:gd name="connsiteY162" fmla="*/ 771073 h 1016771"/>
                    <a:gd name="connsiteX163" fmla="*/ 349866 w 761692"/>
                    <a:gd name="connsiteY163" fmla="*/ 752425 h 1016771"/>
                    <a:gd name="connsiteX164" fmla="*/ 353257 w 761692"/>
                    <a:gd name="connsiteY164" fmla="*/ 743948 h 1016771"/>
                    <a:gd name="connsiteX165" fmla="*/ 354952 w 761692"/>
                    <a:gd name="connsiteY165" fmla="*/ 730385 h 1016771"/>
                    <a:gd name="connsiteX166" fmla="*/ 353257 w 761692"/>
                    <a:gd name="connsiteY166" fmla="*/ 713432 h 1016771"/>
                    <a:gd name="connsiteX167" fmla="*/ 346476 w 761692"/>
                    <a:gd name="connsiteY167" fmla="*/ 701565 h 1016771"/>
                    <a:gd name="connsiteX168" fmla="*/ 332913 w 761692"/>
                    <a:gd name="connsiteY168" fmla="*/ 689697 h 1016771"/>
                    <a:gd name="connsiteX169" fmla="*/ 324436 w 761692"/>
                    <a:gd name="connsiteY169" fmla="*/ 681221 h 1016771"/>
                    <a:gd name="connsiteX170" fmla="*/ 314264 w 761692"/>
                    <a:gd name="connsiteY170" fmla="*/ 676135 h 1016771"/>
                    <a:gd name="connsiteX171" fmla="*/ 293920 w 761692"/>
                    <a:gd name="connsiteY171" fmla="*/ 669354 h 1016771"/>
                    <a:gd name="connsiteX172" fmla="*/ 282053 w 761692"/>
                    <a:gd name="connsiteY172" fmla="*/ 667658 h 1016771"/>
                    <a:gd name="connsiteX173" fmla="*/ 266795 w 761692"/>
                    <a:gd name="connsiteY173" fmla="*/ 672744 h 1016771"/>
                    <a:gd name="connsiteX174" fmla="*/ 265100 w 761692"/>
                    <a:gd name="connsiteY174" fmla="*/ 672744 h 1016771"/>
                    <a:gd name="connsiteX175" fmla="*/ 263404 w 761692"/>
                    <a:gd name="connsiteY175" fmla="*/ 671049 h 1016771"/>
                    <a:gd name="connsiteX176" fmla="*/ 260014 w 761692"/>
                    <a:gd name="connsiteY176" fmla="*/ 671049 h 1016771"/>
                    <a:gd name="connsiteX177" fmla="*/ 258318 w 761692"/>
                    <a:gd name="connsiteY177" fmla="*/ 671049 h 1016771"/>
                    <a:gd name="connsiteX178" fmla="*/ 253232 w 761692"/>
                    <a:gd name="connsiteY178" fmla="*/ 671049 h 1016771"/>
                    <a:gd name="connsiteX179" fmla="*/ 248146 w 761692"/>
                    <a:gd name="connsiteY179" fmla="*/ 672744 h 1016771"/>
                    <a:gd name="connsiteX180" fmla="*/ 248146 w 761692"/>
                    <a:gd name="connsiteY180" fmla="*/ 674440 h 1016771"/>
                    <a:gd name="connsiteX181" fmla="*/ 246451 w 761692"/>
                    <a:gd name="connsiteY181" fmla="*/ 674440 h 1016771"/>
                    <a:gd name="connsiteX182" fmla="*/ 236279 w 761692"/>
                    <a:gd name="connsiteY182" fmla="*/ 679526 h 1016771"/>
                    <a:gd name="connsiteX183" fmla="*/ 226107 w 761692"/>
                    <a:gd name="connsiteY183" fmla="*/ 684612 h 1016771"/>
                    <a:gd name="connsiteX184" fmla="*/ 217630 w 761692"/>
                    <a:gd name="connsiteY184" fmla="*/ 684612 h 1016771"/>
                    <a:gd name="connsiteX185" fmla="*/ 207458 w 761692"/>
                    <a:gd name="connsiteY185" fmla="*/ 693088 h 1016771"/>
                    <a:gd name="connsiteX186" fmla="*/ 198982 w 761692"/>
                    <a:gd name="connsiteY186" fmla="*/ 694783 h 1016771"/>
                    <a:gd name="connsiteX187" fmla="*/ 192200 w 761692"/>
                    <a:gd name="connsiteY187" fmla="*/ 699869 h 1016771"/>
                    <a:gd name="connsiteX188" fmla="*/ 178638 w 761692"/>
                    <a:gd name="connsiteY188" fmla="*/ 706651 h 1016771"/>
                    <a:gd name="connsiteX189" fmla="*/ 163380 w 761692"/>
                    <a:gd name="connsiteY189" fmla="*/ 710041 h 1016771"/>
                    <a:gd name="connsiteX190" fmla="*/ 141340 w 761692"/>
                    <a:gd name="connsiteY190" fmla="*/ 710041 h 1016771"/>
                    <a:gd name="connsiteX191" fmla="*/ 134559 w 761692"/>
                    <a:gd name="connsiteY191" fmla="*/ 716823 h 1016771"/>
                    <a:gd name="connsiteX192" fmla="*/ 127778 w 761692"/>
                    <a:gd name="connsiteY192" fmla="*/ 718518 h 1016771"/>
                    <a:gd name="connsiteX193" fmla="*/ 120996 w 761692"/>
                    <a:gd name="connsiteY193" fmla="*/ 725299 h 1016771"/>
                    <a:gd name="connsiteX194" fmla="*/ 111172 w 761692"/>
                    <a:gd name="connsiteY194" fmla="*/ 733720 h 1016771"/>
                    <a:gd name="connsiteX195" fmla="*/ 106283 w 761692"/>
                    <a:gd name="connsiteY195" fmla="*/ 729808 h 1016771"/>
                    <a:gd name="connsiteX196" fmla="*/ 92112 w 761692"/>
                    <a:gd name="connsiteY196" fmla="*/ 724494 h 1016771"/>
                    <a:gd name="connsiteX197" fmla="*/ 77941 w 761692"/>
                    <a:gd name="connsiteY197" fmla="*/ 726265 h 1016771"/>
                    <a:gd name="connsiteX198" fmla="*/ 70855 w 761692"/>
                    <a:gd name="connsiteY198" fmla="*/ 719180 h 1016771"/>
                    <a:gd name="connsiteX199" fmla="*/ 70855 w 761692"/>
                    <a:gd name="connsiteY199" fmla="*/ 699695 h 1016771"/>
                    <a:gd name="connsiteX200" fmla="*/ 81483 w 761692"/>
                    <a:gd name="connsiteY200" fmla="*/ 685524 h 1016771"/>
                    <a:gd name="connsiteX201" fmla="*/ 85026 w 761692"/>
                    <a:gd name="connsiteY201" fmla="*/ 673124 h 1016771"/>
                    <a:gd name="connsiteX202" fmla="*/ 86797 w 761692"/>
                    <a:gd name="connsiteY202" fmla="*/ 660724 h 1016771"/>
                    <a:gd name="connsiteX203" fmla="*/ 97426 w 761692"/>
                    <a:gd name="connsiteY203" fmla="*/ 650096 h 1016771"/>
                    <a:gd name="connsiteX204" fmla="*/ 102740 w 761692"/>
                    <a:gd name="connsiteY204" fmla="*/ 635925 h 1016771"/>
                    <a:gd name="connsiteX205" fmla="*/ 113368 w 761692"/>
                    <a:gd name="connsiteY205" fmla="*/ 625297 h 1016771"/>
                    <a:gd name="connsiteX206" fmla="*/ 115139 w 761692"/>
                    <a:gd name="connsiteY206" fmla="*/ 612897 h 1016771"/>
                    <a:gd name="connsiteX207" fmla="*/ 127539 w 761692"/>
                    <a:gd name="connsiteY207" fmla="*/ 609354 h 1016771"/>
                    <a:gd name="connsiteX208" fmla="*/ 136396 w 761692"/>
                    <a:gd name="connsiteY208" fmla="*/ 604040 h 1016771"/>
                    <a:gd name="connsiteX209" fmla="*/ 132853 w 761692"/>
                    <a:gd name="connsiteY209" fmla="*/ 593412 h 1016771"/>
                    <a:gd name="connsiteX210" fmla="*/ 134625 w 761692"/>
                    <a:gd name="connsiteY210" fmla="*/ 584555 h 1016771"/>
                    <a:gd name="connsiteX211" fmla="*/ 131082 w 761692"/>
                    <a:gd name="connsiteY211" fmla="*/ 575698 h 1016771"/>
                    <a:gd name="connsiteX212" fmla="*/ 120454 w 761692"/>
                    <a:gd name="connsiteY212" fmla="*/ 568613 h 1016771"/>
                    <a:gd name="connsiteX213" fmla="*/ 125768 w 761692"/>
                    <a:gd name="connsiteY213" fmla="*/ 552670 h 1016771"/>
                    <a:gd name="connsiteX214" fmla="*/ 118682 w 761692"/>
                    <a:gd name="connsiteY214" fmla="*/ 543813 h 1016771"/>
                    <a:gd name="connsiteX215" fmla="*/ 90340 w 761692"/>
                    <a:gd name="connsiteY215" fmla="*/ 543813 h 1016771"/>
                    <a:gd name="connsiteX216" fmla="*/ 86797 w 761692"/>
                    <a:gd name="connsiteY216" fmla="*/ 542042 h 1016771"/>
                    <a:gd name="connsiteX217" fmla="*/ 83255 w 761692"/>
                    <a:gd name="connsiteY217" fmla="*/ 542042 h 1016771"/>
                    <a:gd name="connsiteX218" fmla="*/ 81483 w 761692"/>
                    <a:gd name="connsiteY218" fmla="*/ 540271 h 1016771"/>
                    <a:gd name="connsiteX219" fmla="*/ 81483 w 761692"/>
                    <a:gd name="connsiteY219" fmla="*/ 536728 h 1016771"/>
                    <a:gd name="connsiteX220" fmla="*/ 79712 w 761692"/>
                    <a:gd name="connsiteY220" fmla="*/ 531414 h 1016771"/>
                    <a:gd name="connsiteX221" fmla="*/ 77941 w 761692"/>
                    <a:gd name="connsiteY221" fmla="*/ 529642 h 1016771"/>
                    <a:gd name="connsiteX222" fmla="*/ 70855 w 761692"/>
                    <a:gd name="connsiteY222" fmla="*/ 527871 h 1016771"/>
                    <a:gd name="connsiteX223" fmla="*/ 60227 w 761692"/>
                    <a:gd name="connsiteY223" fmla="*/ 536728 h 1016771"/>
                    <a:gd name="connsiteX224" fmla="*/ 47827 w 761692"/>
                    <a:gd name="connsiteY224" fmla="*/ 526100 h 1016771"/>
                    <a:gd name="connsiteX225" fmla="*/ 42513 w 761692"/>
                    <a:gd name="connsiteY225" fmla="*/ 515471 h 1016771"/>
                    <a:gd name="connsiteX226" fmla="*/ 33656 w 761692"/>
                    <a:gd name="connsiteY226" fmla="*/ 506614 h 1016771"/>
                    <a:gd name="connsiteX227" fmla="*/ 31885 w 761692"/>
                    <a:gd name="connsiteY227" fmla="*/ 490672 h 1016771"/>
                    <a:gd name="connsiteX228" fmla="*/ 26571 w 761692"/>
                    <a:gd name="connsiteY228" fmla="*/ 476501 h 1016771"/>
                    <a:gd name="connsiteX229" fmla="*/ 24799 w 761692"/>
                    <a:gd name="connsiteY229" fmla="*/ 471187 h 1016771"/>
                    <a:gd name="connsiteX230" fmla="*/ 12400 w 761692"/>
                    <a:gd name="connsiteY230" fmla="*/ 472958 h 1016771"/>
                    <a:gd name="connsiteX231" fmla="*/ 7086 w 761692"/>
                    <a:gd name="connsiteY231" fmla="*/ 464101 h 1016771"/>
                    <a:gd name="connsiteX232" fmla="*/ 8857 w 761692"/>
                    <a:gd name="connsiteY232" fmla="*/ 446388 h 1016771"/>
                    <a:gd name="connsiteX233" fmla="*/ 3543 w 761692"/>
                    <a:gd name="connsiteY233" fmla="*/ 435759 h 1016771"/>
                    <a:gd name="connsiteX234" fmla="*/ 5314 w 761692"/>
                    <a:gd name="connsiteY234" fmla="*/ 412731 h 1016771"/>
                    <a:gd name="connsiteX235" fmla="*/ 0 w 761692"/>
                    <a:gd name="connsiteY235" fmla="*/ 396789 h 1016771"/>
                    <a:gd name="connsiteX236" fmla="*/ 3543 w 761692"/>
                    <a:gd name="connsiteY236" fmla="*/ 384389 h 1016771"/>
                    <a:gd name="connsiteX237" fmla="*/ 14171 w 761692"/>
                    <a:gd name="connsiteY237" fmla="*/ 380846 h 1016771"/>
                    <a:gd name="connsiteX238" fmla="*/ 24799 w 761692"/>
                    <a:gd name="connsiteY238" fmla="*/ 364904 h 1016771"/>
                    <a:gd name="connsiteX239" fmla="*/ 30113 w 761692"/>
                    <a:gd name="connsiteY239" fmla="*/ 350733 h 1016771"/>
                    <a:gd name="connsiteX240" fmla="*/ 35428 w 761692"/>
                    <a:gd name="connsiteY240" fmla="*/ 341876 h 1016771"/>
                    <a:gd name="connsiteX241" fmla="*/ 42513 w 761692"/>
                    <a:gd name="connsiteY241" fmla="*/ 327705 h 1016771"/>
                    <a:gd name="connsiteX242" fmla="*/ 42513 w 761692"/>
                    <a:gd name="connsiteY242" fmla="*/ 315305 h 1016771"/>
                    <a:gd name="connsiteX243" fmla="*/ 56684 w 761692"/>
                    <a:gd name="connsiteY243" fmla="*/ 309991 h 1016771"/>
                    <a:gd name="connsiteX244" fmla="*/ 60227 w 761692"/>
                    <a:gd name="connsiteY244" fmla="*/ 309991 h 1016771"/>
                    <a:gd name="connsiteX245" fmla="*/ 61998 w 761692"/>
                    <a:gd name="connsiteY245" fmla="*/ 311763 h 1016771"/>
                    <a:gd name="connsiteX246" fmla="*/ 67312 w 761692"/>
                    <a:gd name="connsiteY246" fmla="*/ 311763 h 1016771"/>
                    <a:gd name="connsiteX247" fmla="*/ 67312 w 761692"/>
                    <a:gd name="connsiteY247" fmla="*/ 309991 h 1016771"/>
                    <a:gd name="connsiteX248" fmla="*/ 67312 w 761692"/>
                    <a:gd name="connsiteY248" fmla="*/ 308220 h 1016771"/>
                    <a:gd name="connsiteX249" fmla="*/ 69084 w 761692"/>
                    <a:gd name="connsiteY249" fmla="*/ 302906 h 1016771"/>
                    <a:gd name="connsiteX250" fmla="*/ 70855 w 761692"/>
                    <a:gd name="connsiteY250" fmla="*/ 301134 h 1016771"/>
                    <a:gd name="connsiteX251" fmla="*/ 70855 w 761692"/>
                    <a:gd name="connsiteY251" fmla="*/ 299363 h 1016771"/>
                    <a:gd name="connsiteX252" fmla="*/ 77941 w 761692"/>
                    <a:gd name="connsiteY252" fmla="*/ 295820 h 1016771"/>
                    <a:gd name="connsiteX253" fmla="*/ 85026 w 761692"/>
                    <a:gd name="connsiteY253" fmla="*/ 295820 h 1016771"/>
                    <a:gd name="connsiteX254" fmla="*/ 93883 w 761692"/>
                    <a:gd name="connsiteY254" fmla="*/ 297592 h 1016771"/>
                    <a:gd name="connsiteX255" fmla="*/ 100968 w 761692"/>
                    <a:gd name="connsiteY255" fmla="*/ 288735 h 1016771"/>
                    <a:gd name="connsiteX256" fmla="*/ 97426 w 761692"/>
                    <a:gd name="connsiteY256" fmla="*/ 279878 h 1016771"/>
                    <a:gd name="connsiteX257" fmla="*/ 85026 w 761692"/>
                    <a:gd name="connsiteY257" fmla="*/ 276335 h 1016771"/>
                    <a:gd name="connsiteX258" fmla="*/ 76169 w 761692"/>
                    <a:gd name="connsiteY258" fmla="*/ 271021 h 1016771"/>
                    <a:gd name="connsiteX259" fmla="*/ 76169 w 761692"/>
                    <a:gd name="connsiteY259" fmla="*/ 262164 h 1016771"/>
                    <a:gd name="connsiteX260" fmla="*/ 81483 w 761692"/>
                    <a:gd name="connsiteY260" fmla="*/ 251536 h 1016771"/>
                    <a:gd name="connsiteX261" fmla="*/ 86797 w 761692"/>
                    <a:gd name="connsiteY261" fmla="*/ 255079 h 1016771"/>
                    <a:gd name="connsiteX262" fmla="*/ 104511 w 761692"/>
                    <a:gd name="connsiteY262" fmla="*/ 262164 h 1016771"/>
                    <a:gd name="connsiteX263" fmla="*/ 116911 w 761692"/>
                    <a:gd name="connsiteY263" fmla="*/ 265707 h 1016771"/>
                    <a:gd name="connsiteX264" fmla="*/ 132853 w 761692"/>
                    <a:gd name="connsiteY264" fmla="*/ 269250 h 1016771"/>
                    <a:gd name="connsiteX265" fmla="*/ 138167 w 761692"/>
                    <a:gd name="connsiteY265" fmla="*/ 265707 h 1016771"/>
                    <a:gd name="connsiteX266" fmla="*/ 150567 w 761692"/>
                    <a:gd name="connsiteY266" fmla="*/ 255079 h 1016771"/>
                    <a:gd name="connsiteX267" fmla="*/ 166509 w 761692"/>
                    <a:gd name="connsiteY267" fmla="*/ 255079 h 1016771"/>
                    <a:gd name="connsiteX268" fmla="*/ 166509 w 761692"/>
                    <a:gd name="connsiteY268" fmla="*/ 265707 h 1016771"/>
                    <a:gd name="connsiteX269" fmla="*/ 177138 w 761692"/>
                    <a:gd name="connsiteY269" fmla="*/ 272792 h 1016771"/>
                    <a:gd name="connsiteX270" fmla="*/ 194851 w 761692"/>
                    <a:gd name="connsiteY270" fmla="*/ 276335 h 1016771"/>
                    <a:gd name="connsiteX271" fmla="*/ 209022 w 761692"/>
                    <a:gd name="connsiteY271" fmla="*/ 279878 h 1016771"/>
                    <a:gd name="connsiteX272" fmla="*/ 221422 w 761692"/>
                    <a:gd name="connsiteY272" fmla="*/ 276335 h 1016771"/>
                    <a:gd name="connsiteX273" fmla="*/ 226736 w 761692"/>
                    <a:gd name="connsiteY273" fmla="*/ 269250 h 1016771"/>
                    <a:gd name="connsiteX274" fmla="*/ 226736 w 761692"/>
                    <a:gd name="connsiteY274" fmla="*/ 251536 h 1016771"/>
                    <a:gd name="connsiteX275" fmla="*/ 224965 w 761692"/>
                    <a:gd name="connsiteY275" fmla="*/ 239136 h 1016771"/>
                    <a:gd name="connsiteX276" fmla="*/ 214337 w 761692"/>
                    <a:gd name="connsiteY276" fmla="*/ 230279 h 1016771"/>
                    <a:gd name="connsiteX277" fmla="*/ 210794 w 761692"/>
                    <a:gd name="connsiteY277" fmla="*/ 217880 h 1016771"/>
                    <a:gd name="connsiteX278" fmla="*/ 221422 w 761692"/>
                    <a:gd name="connsiteY278" fmla="*/ 207251 h 1016771"/>
                    <a:gd name="connsiteX279" fmla="*/ 235593 w 761692"/>
                    <a:gd name="connsiteY279" fmla="*/ 214337 h 1016771"/>
                    <a:gd name="connsiteX280" fmla="*/ 246221 w 761692"/>
                    <a:gd name="connsiteY280" fmla="*/ 219651 h 1016771"/>
                    <a:gd name="connsiteX281" fmla="*/ 253307 w 761692"/>
                    <a:gd name="connsiteY281" fmla="*/ 221422 h 1016771"/>
                    <a:gd name="connsiteX282" fmla="*/ 262164 w 761692"/>
                    <a:gd name="connsiteY282" fmla="*/ 210794 h 1016771"/>
                    <a:gd name="connsiteX283" fmla="*/ 263935 w 761692"/>
                    <a:gd name="connsiteY283" fmla="*/ 201937 h 1016771"/>
                    <a:gd name="connsiteX284" fmla="*/ 274563 w 761692"/>
                    <a:gd name="connsiteY284" fmla="*/ 189538 h 1016771"/>
                    <a:gd name="connsiteX285" fmla="*/ 283420 w 761692"/>
                    <a:gd name="connsiteY285" fmla="*/ 178909 h 1016771"/>
                    <a:gd name="connsiteX286" fmla="*/ 286963 w 761692"/>
                    <a:gd name="connsiteY286" fmla="*/ 173595 h 1016771"/>
                    <a:gd name="connsiteX287" fmla="*/ 311762 w 761692"/>
                    <a:gd name="connsiteY287" fmla="*/ 168281 h 1016771"/>
                    <a:gd name="connsiteX288" fmla="*/ 325933 w 761692"/>
                    <a:gd name="connsiteY288" fmla="*/ 164738 h 1016771"/>
                    <a:gd name="connsiteX289" fmla="*/ 336562 w 761692"/>
                    <a:gd name="connsiteY289" fmla="*/ 159424 h 1016771"/>
                    <a:gd name="connsiteX290" fmla="*/ 348961 w 761692"/>
                    <a:gd name="connsiteY290" fmla="*/ 145253 h 1016771"/>
                    <a:gd name="connsiteX291" fmla="*/ 359589 w 761692"/>
                    <a:gd name="connsiteY291" fmla="*/ 143482 h 1016771"/>
                    <a:gd name="connsiteX292" fmla="*/ 371989 w 761692"/>
                    <a:gd name="connsiteY292" fmla="*/ 143482 h 1016771"/>
                    <a:gd name="connsiteX293" fmla="*/ 391474 w 761692"/>
                    <a:gd name="connsiteY293" fmla="*/ 143482 h 1016771"/>
                    <a:gd name="connsiteX294" fmla="*/ 396788 w 761692"/>
                    <a:gd name="connsiteY294" fmla="*/ 141710 h 1016771"/>
                    <a:gd name="connsiteX295" fmla="*/ 403874 w 761692"/>
                    <a:gd name="connsiteY295" fmla="*/ 134625 h 1016771"/>
                    <a:gd name="connsiteX296" fmla="*/ 409188 w 761692"/>
                    <a:gd name="connsiteY296" fmla="*/ 129311 h 1016771"/>
                    <a:gd name="connsiteX297" fmla="*/ 409188 w 761692"/>
                    <a:gd name="connsiteY297" fmla="*/ 123997 h 1016771"/>
                    <a:gd name="connsiteX298" fmla="*/ 414502 w 761692"/>
                    <a:gd name="connsiteY298" fmla="*/ 115140 h 1016771"/>
                    <a:gd name="connsiteX299" fmla="*/ 428673 w 761692"/>
                    <a:gd name="connsiteY299" fmla="*/ 115140 h 1016771"/>
                    <a:gd name="connsiteX300" fmla="*/ 432216 w 761692"/>
                    <a:gd name="connsiteY300" fmla="*/ 109826 h 1016771"/>
                    <a:gd name="connsiteX301" fmla="*/ 437530 w 761692"/>
                    <a:gd name="connsiteY301" fmla="*/ 100969 h 1016771"/>
                    <a:gd name="connsiteX302" fmla="*/ 448158 w 761692"/>
                    <a:gd name="connsiteY302" fmla="*/ 99197 h 1016771"/>
                    <a:gd name="connsiteX303" fmla="*/ 460558 w 761692"/>
                    <a:gd name="connsiteY303" fmla="*/ 97426 h 1016771"/>
                    <a:gd name="connsiteX304" fmla="*/ 472958 w 761692"/>
                    <a:gd name="connsiteY304" fmla="*/ 93883 h 1016771"/>
                    <a:gd name="connsiteX305" fmla="*/ 492443 w 761692"/>
                    <a:gd name="connsiteY305" fmla="*/ 93883 h 1016771"/>
                    <a:gd name="connsiteX306" fmla="*/ 501300 w 761692"/>
                    <a:gd name="connsiteY306" fmla="*/ 83255 h 1016771"/>
                    <a:gd name="connsiteX307" fmla="*/ 517242 w 761692"/>
                    <a:gd name="connsiteY307" fmla="*/ 81484 h 1016771"/>
                    <a:gd name="connsiteX308" fmla="*/ 522556 w 761692"/>
                    <a:gd name="connsiteY308" fmla="*/ 81484 h 1016771"/>
                    <a:gd name="connsiteX309" fmla="*/ 522556 w 761692"/>
                    <a:gd name="connsiteY309" fmla="*/ 60227 h 1016771"/>
                    <a:gd name="connsiteX310" fmla="*/ 526099 w 761692"/>
                    <a:gd name="connsiteY310" fmla="*/ 54913 h 1016771"/>
                    <a:gd name="connsiteX311" fmla="*/ 529642 w 761692"/>
                    <a:gd name="connsiteY311" fmla="*/ 46056 h 1016771"/>
                    <a:gd name="connsiteX312" fmla="*/ 538499 w 761692"/>
                    <a:gd name="connsiteY312" fmla="*/ 40742 h 1016771"/>
                    <a:gd name="connsiteX313" fmla="*/ 540270 w 761692"/>
                    <a:gd name="connsiteY313" fmla="*/ 30114 h 1016771"/>
                    <a:gd name="connsiteX314" fmla="*/ 536727 w 761692"/>
                    <a:gd name="connsiteY314" fmla="*/ 19485 h 1016771"/>
                    <a:gd name="connsiteX315" fmla="*/ 543813 w 761692"/>
                    <a:gd name="connsiteY315" fmla="*/ 5314 h 1016771"/>
                    <a:gd name="connsiteX316" fmla="*/ 554441 w 761692"/>
                    <a:gd name="connsiteY316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9645 w 761692"/>
                    <a:gd name="connsiteY9" fmla="*/ 860925 h 1016771"/>
                    <a:gd name="connsiteX10" fmla="*/ 148122 w 761692"/>
                    <a:gd name="connsiteY10" fmla="*/ 867707 h 1016771"/>
                    <a:gd name="connsiteX11" fmla="*/ 158294 w 761692"/>
                    <a:gd name="connsiteY11" fmla="*/ 879574 h 1016771"/>
                    <a:gd name="connsiteX12" fmla="*/ 175247 w 761692"/>
                    <a:gd name="connsiteY12" fmla="*/ 889746 h 1016771"/>
                    <a:gd name="connsiteX13" fmla="*/ 195591 w 761692"/>
                    <a:gd name="connsiteY13" fmla="*/ 893137 h 1016771"/>
                    <a:gd name="connsiteX14" fmla="*/ 175366 w 761692"/>
                    <a:gd name="connsiteY14" fmla="*/ 891003 h 1016771"/>
                    <a:gd name="connsiteX15" fmla="*/ 157653 w 761692"/>
                    <a:gd name="connsiteY15" fmla="*/ 880375 h 1016771"/>
                    <a:gd name="connsiteX16" fmla="*/ 147024 w 761692"/>
                    <a:gd name="connsiteY16" fmla="*/ 867975 h 1016771"/>
                    <a:gd name="connsiteX17" fmla="*/ 138167 w 761692"/>
                    <a:gd name="connsiteY17" fmla="*/ 860890 h 1016771"/>
                    <a:gd name="connsiteX18" fmla="*/ 138167 w 761692"/>
                    <a:gd name="connsiteY18" fmla="*/ 852033 h 1016771"/>
                    <a:gd name="connsiteX19" fmla="*/ 139939 w 761692"/>
                    <a:gd name="connsiteY19" fmla="*/ 850262 h 1016771"/>
                    <a:gd name="connsiteX20" fmla="*/ 139939 w 761692"/>
                    <a:gd name="connsiteY20" fmla="*/ 848490 h 1016771"/>
                    <a:gd name="connsiteX21" fmla="*/ 145253 w 761692"/>
                    <a:gd name="connsiteY21" fmla="*/ 843176 h 1016771"/>
                    <a:gd name="connsiteX22" fmla="*/ 147024 w 761692"/>
                    <a:gd name="connsiteY22" fmla="*/ 841405 h 1016771"/>
                    <a:gd name="connsiteX23" fmla="*/ 148796 w 761692"/>
                    <a:gd name="connsiteY23" fmla="*/ 839633 h 1016771"/>
                    <a:gd name="connsiteX24" fmla="*/ 150567 w 761692"/>
                    <a:gd name="connsiteY24" fmla="*/ 837862 h 1016771"/>
                    <a:gd name="connsiteX25" fmla="*/ 159250 w 761692"/>
                    <a:gd name="connsiteY25" fmla="*/ 829179 h 1016771"/>
                    <a:gd name="connsiteX26" fmla="*/ 116476 w 761692"/>
                    <a:gd name="connsiteY26" fmla="*/ 741349 h 1016771"/>
                    <a:gd name="connsiteX27" fmla="*/ 117606 w 761692"/>
                    <a:gd name="connsiteY27" fmla="*/ 742253 h 1016771"/>
                    <a:gd name="connsiteX28" fmla="*/ 122692 w 761692"/>
                    <a:gd name="connsiteY28" fmla="*/ 759206 h 1016771"/>
                    <a:gd name="connsiteX29" fmla="*/ 126082 w 761692"/>
                    <a:gd name="connsiteY29" fmla="*/ 771073 h 1016771"/>
                    <a:gd name="connsiteX30" fmla="*/ 129473 w 761692"/>
                    <a:gd name="connsiteY30" fmla="*/ 782940 h 1016771"/>
                    <a:gd name="connsiteX31" fmla="*/ 132864 w 761692"/>
                    <a:gd name="connsiteY31" fmla="*/ 793112 h 1016771"/>
                    <a:gd name="connsiteX32" fmla="*/ 136254 w 761692"/>
                    <a:gd name="connsiteY32" fmla="*/ 810066 h 1016771"/>
                    <a:gd name="connsiteX33" fmla="*/ 139058 w 761692"/>
                    <a:gd name="connsiteY33" fmla="*/ 818476 h 1016771"/>
                    <a:gd name="connsiteX34" fmla="*/ 138167 w 761692"/>
                    <a:gd name="connsiteY34" fmla="*/ 818377 h 1016771"/>
                    <a:gd name="connsiteX35" fmla="*/ 134625 w 761692"/>
                    <a:gd name="connsiteY35" fmla="*/ 807749 h 1016771"/>
                    <a:gd name="connsiteX36" fmla="*/ 131082 w 761692"/>
                    <a:gd name="connsiteY36" fmla="*/ 790035 h 1016771"/>
                    <a:gd name="connsiteX37" fmla="*/ 127539 w 761692"/>
                    <a:gd name="connsiteY37" fmla="*/ 779407 h 1016771"/>
                    <a:gd name="connsiteX38" fmla="*/ 123996 w 761692"/>
                    <a:gd name="connsiteY38" fmla="*/ 767007 h 1016771"/>
                    <a:gd name="connsiteX39" fmla="*/ 120454 w 761692"/>
                    <a:gd name="connsiteY39" fmla="*/ 754607 h 1016771"/>
                    <a:gd name="connsiteX40" fmla="*/ 116476 w 761692"/>
                    <a:gd name="connsiteY40" fmla="*/ 741349 h 1016771"/>
                    <a:gd name="connsiteX41" fmla="*/ 554441 w 761692"/>
                    <a:gd name="connsiteY41" fmla="*/ 0 h 1016771"/>
                    <a:gd name="connsiteX42" fmla="*/ 570383 w 761692"/>
                    <a:gd name="connsiteY42" fmla="*/ 3543 h 1016771"/>
                    <a:gd name="connsiteX43" fmla="*/ 577469 w 761692"/>
                    <a:gd name="connsiteY43" fmla="*/ 8857 h 1016771"/>
                    <a:gd name="connsiteX44" fmla="*/ 582783 w 761692"/>
                    <a:gd name="connsiteY44" fmla="*/ 17714 h 1016771"/>
                    <a:gd name="connsiteX45" fmla="*/ 582783 w 761692"/>
                    <a:gd name="connsiteY45" fmla="*/ 24799 h 1016771"/>
                    <a:gd name="connsiteX46" fmla="*/ 588097 w 761692"/>
                    <a:gd name="connsiteY46" fmla="*/ 33656 h 1016771"/>
                    <a:gd name="connsiteX47" fmla="*/ 598725 w 761692"/>
                    <a:gd name="connsiteY47" fmla="*/ 31885 h 1016771"/>
                    <a:gd name="connsiteX48" fmla="*/ 612896 w 761692"/>
                    <a:gd name="connsiteY48" fmla="*/ 37199 h 1016771"/>
                    <a:gd name="connsiteX49" fmla="*/ 618211 w 761692"/>
                    <a:gd name="connsiteY49" fmla="*/ 46056 h 1016771"/>
                    <a:gd name="connsiteX50" fmla="*/ 619982 w 761692"/>
                    <a:gd name="connsiteY50" fmla="*/ 54913 h 1016771"/>
                    <a:gd name="connsiteX51" fmla="*/ 618211 w 761692"/>
                    <a:gd name="connsiteY51" fmla="*/ 74398 h 1016771"/>
                    <a:gd name="connsiteX52" fmla="*/ 616439 w 761692"/>
                    <a:gd name="connsiteY52" fmla="*/ 85026 h 1016771"/>
                    <a:gd name="connsiteX53" fmla="*/ 621753 w 761692"/>
                    <a:gd name="connsiteY53" fmla="*/ 97426 h 1016771"/>
                    <a:gd name="connsiteX54" fmla="*/ 637696 w 761692"/>
                    <a:gd name="connsiteY54" fmla="*/ 113368 h 1016771"/>
                    <a:gd name="connsiteX55" fmla="*/ 644781 w 761692"/>
                    <a:gd name="connsiteY55" fmla="*/ 120454 h 1016771"/>
                    <a:gd name="connsiteX56" fmla="*/ 650095 w 761692"/>
                    <a:gd name="connsiteY56" fmla="*/ 136396 h 1016771"/>
                    <a:gd name="connsiteX57" fmla="*/ 655409 w 761692"/>
                    <a:gd name="connsiteY57" fmla="*/ 155881 h 1016771"/>
                    <a:gd name="connsiteX58" fmla="*/ 662495 w 761692"/>
                    <a:gd name="connsiteY58" fmla="*/ 171824 h 1016771"/>
                    <a:gd name="connsiteX59" fmla="*/ 660724 w 761692"/>
                    <a:gd name="connsiteY59" fmla="*/ 185995 h 1016771"/>
                    <a:gd name="connsiteX60" fmla="*/ 635924 w 761692"/>
                    <a:gd name="connsiteY60" fmla="*/ 194852 h 1016771"/>
                    <a:gd name="connsiteX61" fmla="*/ 619982 w 761692"/>
                    <a:gd name="connsiteY61" fmla="*/ 207251 h 1016771"/>
                    <a:gd name="connsiteX62" fmla="*/ 614668 w 761692"/>
                    <a:gd name="connsiteY62" fmla="*/ 223194 h 1016771"/>
                    <a:gd name="connsiteX63" fmla="*/ 618211 w 761692"/>
                    <a:gd name="connsiteY63" fmla="*/ 242679 h 1016771"/>
                    <a:gd name="connsiteX64" fmla="*/ 612896 w 761692"/>
                    <a:gd name="connsiteY64" fmla="*/ 256850 h 1016771"/>
                    <a:gd name="connsiteX65" fmla="*/ 625296 w 761692"/>
                    <a:gd name="connsiteY65" fmla="*/ 267478 h 1016771"/>
                    <a:gd name="connsiteX66" fmla="*/ 641238 w 761692"/>
                    <a:gd name="connsiteY66" fmla="*/ 269250 h 1016771"/>
                    <a:gd name="connsiteX67" fmla="*/ 658952 w 761692"/>
                    <a:gd name="connsiteY67" fmla="*/ 286963 h 1016771"/>
                    <a:gd name="connsiteX68" fmla="*/ 653638 w 761692"/>
                    <a:gd name="connsiteY68" fmla="*/ 309991 h 1016771"/>
                    <a:gd name="connsiteX69" fmla="*/ 653638 w 761692"/>
                    <a:gd name="connsiteY69" fmla="*/ 329476 h 1016771"/>
                    <a:gd name="connsiteX70" fmla="*/ 643010 w 761692"/>
                    <a:gd name="connsiteY70" fmla="*/ 338333 h 1016771"/>
                    <a:gd name="connsiteX71" fmla="*/ 632382 w 761692"/>
                    <a:gd name="connsiteY71" fmla="*/ 338333 h 1016771"/>
                    <a:gd name="connsiteX72" fmla="*/ 618211 w 761692"/>
                    <a:gd name="connsiteY72" fmla="*/ 357819 h 1016771"/>
                    <a:gd name="connsiteX73" fmla="*/ 609354 w 761692"/>
                    <a:gd name="connsiteY73" fmla="*/ 361361 h 1016771"/>
                    <a:gd name="connsiteX74" fmla="*/ 596954 w 761692"/>
                    <a:gd name="connsiteY74" fmla="*/ 363133 h 1016771"/>
                    <a:gd name="connsiteX75" fmla="*/ 581012 w 761692"/>
                    <a:gd name="connsiteY75" fmla="*/ 379075 h 1016771"/>
                    <a:gd name="connsiteX76" fmla="*/ 589868 w 761692"/>
                    <a:gd name="connsiteY76" fmla="*/ 393246 h 1016771"/>
                    <a:gd name="connsiteX77" fmla="*/ 586326 w 761692"/>
                    <a:gd name="connsiteY77" fmla="*/ 409189 h 1016771"/>
                    <a:gd name="connsiteX78" fmla="*/ 570383 w 761692"/>
                    <a:gd name="connsiteY78" fmla="*/ 398560 h 1016771"/>
                    <a:gd name="connsiteX79" fmla="*/ 550898 w 761692"/>
                    <a:gd name="connsiteY79" fmla="*/ 405646 h 1016771"/>
                    <a:gd name="connsiteX80" fmla="*/ 531413 w 761692"/>
                    <a:gd name="connsiteY80" fmla="*/ 425131 h 1016771"/>
                    <a:gd name="connsiteX81" fmla="*/ 543813 w 761692"/>
                    <a:gd name="connsiteY81" fmla="*/ 444616 h 1016771"/>
                    <a:gd name="connsiteX82" fmla="*/ 557984 w 761692"/>
                    <a:gd name="connsiteY82" fmla="*/ 462330 h 1016771"/>
                    <a:gd name="connsiteX83" fmla="*/ 570383 w 761692"/>
                    <a:gd name="connsiteY83" fmla="*/ 478272 h 1016771"/>
                    <a:gd name="connsiteX84" fmla="*/ 579240 w 761692"/>
                    <a:gd name="connsiteY84" fmla="*/ 485358 h 1016771"/>
                    <a:gd name="connsiteX85" fmla="*/ 602268 w 761692"/>
                    <a:gd name="connsiteY85" fmla="*/ 483586 h 1016771"/>
                    <a:gd name="connsiteX86" fmla="*/ 623525 w 761692"/>
                    <a:gd name="connsiteY86" fmla="*/ 474730 h 1016771"/>
                    <a:gd name="connsiteX87" fmla="*/ 639467 w 761692"/>
                    <a:gd name="connsiteY87" fmla="*/ 464101 h 1016771"/>
                    <a:gd name="connsiteX88" fmla="*/ 662495 w 761692"/>
                    <a:gd name="connsiteY88" fmla="*/ 464101 h 1016771"/>
                    <a:gd name="connsiteX89" fmla="*/ 673123 w 761692"/>
                    <a:gd name="connsiteY89" fmla="*/ 464101 h 1016771"/>
                    <a:gd name="connsiteX90" fmla="*/ 681980 w 761692"/>
                    <a:gd name="connsiteY90" fmla="*/ 467644 h 1016771"/>
                    <a:gd name="connsiteX91" fmla="*/ 703237 w 761692"/>
                    <a:gd name="connsiteY91" fmla="*/ 471187 h 1016771"/>
                    <a:gd name="connsiteX92" fmla="*/ 708551 w 761692"/>
                    <a:gd name="connsiteY92" fmla="*/ 474730 h 1016771"/>
                    <a:gd name="connsiteX93" fmla="*/ 722722 w 761692"/>
                    <a:gd name="connsiteY93" fmla="*/ 501300 h 1016771"/>
                    <a:gd name="connsiteX94" fmla="*/ 724493 w 761692"/>
                    <a:gd name="connsiteY94" fmla="*/ 522557 h 1016771"/>
                    <a:gd name="connsiteX95" fmla="*/ 722722 w 761692"/>
                    <a:gd name="connsiteY95" fmla="*/ 540271 h 1016771"/>
                    <a:gd name="connsiteX96" fmla="*/ 735121 w 761692"/>
                    <a:gd name="connsiteY96" fmla="*/ 552670 h 1016771"/>
                    <a:gd name="connsiteX97" fmla="*/ 735121 w 761692"/>
                    <a:gd name="connsiteY97" fmla="*/ 570384 h 1016771"/>
                    <a:gd name="connsiteX98" fmla="*/ 751064 w 761692"/>
                    <a:gd name="connsiteY98" fmla="*/ 581012 h 1016771"/>
                    <a:gd name="connsiteX99" fmla="*/ 761692 w 761692"/>
                    <a:gd name="connsiteY99" fmla="*/ 604040 h 1016771"/>
                    <a:gd name="connsiteX100" fmla="*/ 747521 w 761692"/>
                    <a:gd name="connsiteY100" fmla="*/ 616440 h 1016771"/>
                    <a:gd name="connsiteX101" fmla="*/ 728036 w 761692"/>
                    <a:gd name="connsiteY101" fmla="*/ 627068 h 1016771"/>
                    <a:gd name="connsiteX102" fmla="*/ 726264 w 761692"/>
                    <a:gd name="connsiteY102" fmla="*/ 650096 h 1016771"/>
                    <a:gd name="connsiteX103" fmla="*/ 728036 w 761692"/>
                    <a:gd name="connsiteY103" fmla="*/ 673124 h 1016771"/>
                    <a:gd name="connsiteX104" fmla="*/ 742207 w 761692"/>
                    <a:gd name="connsiteY104" fmla="*/ 689066 h 1016771"/>
                    <a:gd name="connsiteX105" fmla="*/ 742207 w 761692"/>
                    <a:gd name="connsiteY105" fmla="*/ 712094 h 1016771"/>
                    <a:gd name="connsiteX106" fmla="*/ 740435 w 761692"/>
                    <a:gd name="connsiteY106" fmla="*/ 735122 h 1016771"/>
                    <a:gd name="connsiteX107" fmla="*/ 742207 w 761692"/>
                    <a:gd name="connsiteY107" fmla="*/ 751065 h 1016771"/>
                    <a:gd name="connsiteX108" fmla="*/ 747521 w 761692"/>
                    <a:gd name="connsiteY108" fmla="*/ 768778 h 1016771"/>
                    <a:gd name="connsiteX109" fmla="*/ 759921 w 761692"/>
                    <a:gd name="connsiteY109" fmla="*/ 777635 h 1016771"/>
                    <a:gd name="connsiteX110" fmla="*/ 758149 w 761692"/>
                    <a:gd name="connsiteY110" fmla="*/ 802434 h 1016771"/>
                    <a:gd name="connsiteX111" fmla="*/ 752835 w 761692"/>
                    <a:gd name="connsiteY111" fmla="*/ 814834 h 1016771"/>
                    <a:gd name="connsiteX112" fmla="*/ 743978 w 761692"/>
                    <a:gd name="connsiteY112" fmla="*/ 827234 h 1016771"/>
                    <a:gd name="connsiteX113" fmla="*/ 743978 w 761692"/>
                    <a:gd name="connsiteY113" fmla="*/ 837862 h 1016771"/>
                    <a:gd name="connsiteX114" fmla="*/ 747521 w 761692"/>
                    <a:gd name="connsiteY114" fmla="*/ 853804 h 1016771"/>
                    <a:gd name="connsiteX115" fmla="*/ 733350 w 761692"/>
                    <a:gd name="connsiteY115" fmla="*/ 867975 h 1016771"/>
                    <a:gd name="connsiteX116" fmla="*/ 724493 w 761692"/>
                    <a:gd name="connsiteY116" fmla="*/ 880375 h 1016771"/>
                    <a:gd name="connsiteX117" fmla="*/ 722722 w 761692"/>
                    <a:gd name="connsiteY117" fmla="*/ 899860 h 1016771"/>
                    <a:gd name="connsiteX118" fmla="*/ 722722 w 761692"/>
                    <a:gd name="connsiteY118" fmla="*/ 919345 h 1016771"/>
                    <a:gd name="connsiteX119" fmla="*/ 715636 w 761692"/>
                    <a:gd name="connsiteY119" fmla="*/ 940602 h 1016771"/>
                    <a:gd name="connsiteX120" fmla="*/ 708551 w 761692"/>
                    <a:gd name="connsiteY120" fmla="*/ 954773 h 1016771"/>
                    <a:gd name="connsiteX121" fmla="*/ 699694 w 761692"/>
                    <a:gd name="connsiteY121" fmla="*/ 965401 h 1016771"/>
                    <a:gd name="connsiteX122" fmla="*/ 692608 w 761692"/>
                    <a:gd name="connsiteY122" fmla="*/ 984886 h 1016771"/>
                    <a:gd name="connsiteX123" fmla="*/ 683751 w 761692"/>
                    <a:gd name="connsiteY123" fmla="*/ 997286 h 1016771"/>
                    <a:gd name="connsiteX124" fmla="*/ 673123 w 761692"/>
                    <a:gd name="connsiteY124" fmla="*/ 1002600 h 1016771"/>
                    <a:gd name="connsiteX125" fmla="*/ 662495 w 761692"/>
                    <a:gd name="connsiteY125" fmla="*/ 1013228 h 1016771"/>
                    <a:gd name="connsiteX126" fmla="*/ 644781 w 761692"/>
                    <a:gd name="connsiteY126" fmla="*/ 1016771 h 1016771"/>
                    <a:gd name="connsiteX127" fmla="*/ 635924 w 761692"/>
                    <a:gd name="connsiteY127" fmla="*/ 1004372 h 1016771"/>
                    <a:gd name="connsiteX128" fmla="*/ 623525 w 761692"/>
                    <a:gd name="connsiteY128" fmla="*/ 997286 h 1016771"/>
                    <a:gd name="connsiteX129" fmla="*/ 614668 w 761692"/>
                    <a:gd name="connsiteY129" fmla="*/ 986658 h 1016771"/>
                    <a:gd name="connsiteX130" fmla="*/ 593411 w 761692"/>
                    <a:gd name="connsiteY130" fmla="*/ 970715 h 1016771"/>
                    <a:gd name="connsiteX131" fmla="*/ 582783 w 761692"/>
                    <a:gd name="connsiteY131" fmla="*/ 965401 h 1016771"/>
                    <a:gd name="connsiteX132" fmla="*/ 531413 w 761692"/>
                    <a:gd name="connsiteY132" fmla="*/ 965401 h 1016771"/>
                    <a:gd name="connsiteX133" fmla="*/ 511928 w 761692"/>
                    <a:gd name="connsiteY133" fmla="*/ 965401 h 1016771"/>
                    <a:gd name="connsiteX134" fmla="*/ 492443 w 761692"/>
                    <a:gd name="connsiteY134" fmla="*/ 963630 h 1016771"/>
                    <a:gd name="connsiteX135" fmla="*/ 483586 w 761692"/>
                    <a:gd name="connsiteY135" fmla="*/ 958316 h 1016771"/>
                    <a:gd name="connsiteX136" fmla="*/ 469415 w 761692"/>
                    <a:gd name="connsiteY136" fmla="*/ 954773 h 1016771"/>
                    <a:gd name="connsiteX137" fmla="*/ 460558 w 761692"/>
                    <a:gd name="connsiteY137" fmla="*/ 942373 h 1016771"/>
                    <a:gd name="connsiteX138" fmla="*/ 446387 w 761692"/>
                    <a:gd name="connsiteY138" fmla="*/ 935288 h 1016771"/>
                    <a:gd name="connsiteX139" fmla="*/ 428673 w 761692"/>
                    <a:gd name="connsiteY139" fmla="*/ 928202 h 1016771"/>
                    <a:gd name="connsiteX140" fmla="*/ 418045 w 761692"/>
                    <a:gd name="connsiteY140" fmla="*/ 917574 h 1016771"/>
                    <a:gd name="connsiteX141" fmla="*/ 421588 w 761692"/>
                    <a:gd name="connsiteY141" fmla="*/ 903403 h 1016771"/>
                    <a:gd name="connsiteX142" fmla="*/ 418045 w 761692"/>
                    <a:gd name="connsiteY142" fmla="*/ 898089 h 1016771"/>
                    <a:gd name="connsiteX143" fmla="*/ 396788 w 761692"/>
                    <a:gd name="connsiteY143" fmla="*/ 898089 h 1016771"/>
                    <a:gd name="connsiteX144" fmla="*/ 382617 w 761692"/>
                    <a:gd name="connsiteY144" fmla="*/ 896318 h 1016771"/>
                    <a:gd name="connsiteX145" fmla="*/ 380846 w 761692"/>
                    <a:gd name="connsiteY145" fmla="*/ 906946 h 1016771"/>
                    <a:gd name="connsiteX146" fmla="*/ 373601 w 761692"/>
                    <a:gd name="connsiteY146" fmla="*/ 894832 h 1016771"/>
                    <a:gd name="connsiteX147" fmla="*/ 387164 w 761692"/>
                    <a:gd name="connsiteY147" fmla="*/ 896527 h 1016771"/>
                    <a:gd name="connsiteX148" fmla="*/ 383773 w 761692"/>
                    <a:gd name="connsiteY148" fmla="*/ 886355 h 1016771"/>
                    <a:gd name="connsiteX149" fmla="*/ 387164 w 761692"/>
                    <a:gd name="connsiteY149" fmla="*/ 876183 h 1016771"/>
                    <a:gd name="connsiteX150" fmla="*/ 388859 w 761692"/>
                    <a:gd name="connsiteY150" fmla="*/ 867707 h 1016771"/>
                    <a:gd name="connsiteX151" fmla="*/ 380382 w 761692"/>
                    <a:gd name="connsiteY151" fmla="*/ 859230 h 1016771"/>
                    <a:gd name="connsiteX152" fmla="*/ 373601 w 761692"/>
                    <a:gd name="connsiteY152" fmla="*/ 849058 h 1016771"/>
                    <a:gd name="connsiteX153" fmla="*/ 380382 w 761692"/>
                    <a:gd name="connsiteY153" fmla="*/ 838886 h 1016771"/>
                    <a:gd name="connsiteX154" fmla="*/ 383773 w 761692"/>
                    <a:gd name="connsiteY154" fmla="*/ 833800 h 1016771"/>
                    <a:gd name="connsiteX155" fmla="*/ 388859 w 761692"/>
                    <a:gd name="connsiteY155" fmla="*/ 825324 h 1016771"/>
                    <a:gd name="connsiteX156" fmla="*/ 387164 w 761692"/>
                    <a:gd name="connsiteY156" fmla="*/ 810066 h 1016771"/>
                    <a:gd name="connsiteX157" fmla="*/ 387164 w 761692"/>
                    <a:gd name="connsiteY157" fmla="*/ 796503 h 1016771"/>
                    <a:gd name="connsiteX158" fmla="*/ 378687 w 761692"/>
                    <a:gd name="connsiteY158" fmla="*/ 789722 h 1016771"/>
                    <a:gd name="connsiteX159" fmla="*/ 366820 w 761692"/>
                    <a:gd name="connsiteY159" fmla="*/ 782940 h 1016771"/>
                    <a:gd name="connsiteX160" fmla="*/ 356648 w 761692"/>
                    <a:gd name="connsiteY160" fmla="*/ 781245 h 1016771"/>
                    <a:gd name="connsiteX161" fmla="*/ 349866 w 761692"/>
                    <a:gd name="connsiteY161" fmla="*/ 771073 h 1016771"/>
                    <a:gd name="connsiteX162" fmla="*/ 349866 w 761692"/>
                    <a:gd name="connsiteY162" fmla="*/ 752425 h 1016771"/>
                    <a:gd name="connsiteX163" fmla="*/ 353257 w 761692"/>
                    <a:gd name="connsiteY163" fmla="*/ 743948 h 1016771"/>
                    <a:gd name="connsiteX164" fmla="*/ 354952 w 761692"/>
                    <a:gd name="connsiteY164" fmla="*/ 730385 h 1016771"/>
                    <a:gd name="connsiteX165" fmla="*/ 353257 w 761692"/>
                    <a:gd name="connsiteY165" fmla="*/ 713432 h 1016771"/>
                    <a:gd name="connsiteX166" fmla="*/ 346476 w 761692"/>
                    <a:gd name="connsiteY166" fmla="*/ 701565 h 1016771"/>
                    <a:gd name="connsiteX167" fmla="*/ 332913 w 761692"/>
                    <a:gd name="connsiteY167" fmla="*/ 689697 h 1016771"/>
                    <a:gd name="connsiteX168" fmla="*/ 324436 w 761692"/>
                    <a:gd name="connsiteY168" fmla="*/ 681221 h 1016771"/>
                    <a:gd name="connsiteX169" fmla="*/ 314264 w 761692"/>
                    <a:gd name="connsiteY169" fmla="*/ 676135 h 1016771"/>
                    <a:gd name="connsiteX170" fmla="*/ 293920 w 761692"/>
                    <a:gd name="connsiteY170" fmla="*/ 669354 h 1016771"/>
                    <a:gd name="connsiteX171" fmla="*/ 282053 w 761692"/>
                    <a:gd name="connsiteY171" fmla="*/ 667658 h 1016771"/>
                    <a:gd name="connsiteX172" fmla="*/ 266795 w 761692"/>
                    <a:gd name="connsiteY172" fmla="*/ 672744 h 1016771"/>
                    <a:gd name="connsiteX173" fmla="*/ 265100 w 761692"/>
                    <a:gd name="connsiteY173" fmla="*/ 672744 h 1016771"/>
                    <a:gd name="connsiteX174" fmla="*/ 263404 w 761692"/>
                    <a:gd name="connsiteY174" fmla="*/ 671049 h 1016771"/>
                    <a:gd name="connsiteX175" fmla="*/ 260014 w 761692"/>
                    <a:gd name="connsiteY175" fmla="*/ 671049 h 1016771"/>
                    <a:gd name="connsiteX176" fmla="*/ 258318 w 761692"/>
                    <a:gd name="connsiteY176" fmla="*/ 671049 h 1016771"/>
                    <a:gd name="connsiteX177" fmla="*/ 253232 w 761692"/>
                    <a:gd name="connsiteY177" fmla="*/ 671049 h 1016771"/>
                    <a:gd name="connsiteX178" fmla="*/ 248146 w 761692"/>
                    <a:gd name="connsiteY178" fmla="*/ 672744 h 1016771"/>
                    <a:gd name="connsiteX179" fmla="*/ 248146 w 761692"/>
                    <a:gd name="connsiteY179" fmla="*/ 674440 h 1016771"/>
                    <a:gd name="connsiteX180" fmla="*/ 246451 w 761692"/>
                    <a:gd name="connsiteY180" fmla="*/ 674440 h 1016771"/>
                    <a:gd name="connsiteX181" fmla="*/ 236279 w 761692"/>
                    <a:gd name="connsiteY181" fmla="*/ 679526 h 1016771"/>
                    <a:gd name="connsiteX182" fmla="*/ 226107 w 761692"/>
                    <a:gd name="connsiteY182" fmla="*/ 684612 h 1016771"/>
                    <a:gd name="connsiteX183" fmla="*/ 217630 w 761692"/>
                    <a:gd name="connsiteY183" fmla="*/ 684612 h 1016771"/>
                    <a:gd name="connsiteX184" fmla="*/ 207458 w 761692"/>
                    <a:gd name="connsiteY184" fmla="*/ 693088 h 1016771"/>
                    <a:gd name="connsiteX185" fmla="*/ 198982 w 761692"/>
                    <a:gd name="connsiteY185" fmla="*/ 694783 h 1016771"/>
                    <a:gd name="connsiteX186" fmla="*/ 192200 w 761692"/>
                    <a:gd name="connsiteY186" fmla="*/ 699869 h 1016771"/>
                    <a:gd name="connsiteX187" fmla="*/ 178638 w 761692"/>
                    <a:gd name="connsiteY187" fmla="*/ 706651 h 1016771"/>
                    <a:gd name="connsiteX188" fmla="*/ 163380 w 761692"/>
                    <a:gd name="connsiteY188" fmla="*/ 710041 h 1016771"/>
                    <a:gd name="connsiteX189" fmla="*/ 141340 w 761692"/>
                    <a:gd name="connsiteY189" fmla="*/ 710041 h 1016771"/>
                    <a:gd name="connsiteX190" fmla="*/ 134559 w 761692"/>
                    <a:gd name="connsiteY190" fmla="*/ 716823 h 1016771"/>
                    <a:gd name="connsiteX191" fmla="*/ 127778 w 761692"/>
                    <a:gd name="connsiteY191" fmla="*/ 718518 h 1016771"/>
                    <a:gd name="connsiteX192" fmla="*/ 120996 w 761692"/>
                    <a:gd name="connsiteY192" fmla="*/ 725299 h 1016771"/>
                    <a:gd name="connsiteX193" fmla="*/ 111172 w 761692"/>
                    <a:gd name="connsiteY193" fmla="*/ 733720 h 1016771"/>
                    <a:gd name="connsiteX194" fmla="*/ 106283 w 761692"/>
                    <a:gd name="connsiteY194" fmla="*/ 729808 h 1016771"/>
                    <a:gd name="connsiteX195" fmla="*/ 92112 w 761692"/>
                    <a:gd name="connsiteY195" fmla="*/ 724494 h 1016771"/>
                    <a:gd name="connsiteX196" fmla="*/ 77941 w 761692"/>
                    <a:gd name="connsiteY196" fmla="*/ 726265 h 1016771"/>
                    <a:gd name="connsiteX197" fmla="*/ 70855 w 761692"/>
                    <a:gd name="connsiteY197" fmla="*/ 719180 h 1016771"/>
                    <a:gd name="connsiteX198" fmla="*/ 70855 w 761692"/>
                    <a:gd name="connsiteY198" fmla="*/ 699695 h 1016771"/>
                    <a:gd name="connsiteX199" fmla="*/ 81483 w 761692"/>
                    <a:gd name="connsiteY199" fmla="*/ 685524 h 1016771"/>
                    <a:gd name="connsiteX200" fmla="*/ 85026 w 761692"/>
                    <a:gd name="connsiteY200" fmla="*/ 673124 h 1016771"/>
                    <a:gd name="connsiteX201" fmla="*/ 86797 w 761692"/>
                    <a:gd name="connsiteY201" fmla="*/ 660724 h 1016771"/>
                    <a:gd name="connsiteX202" fmla="*/ 97426 w 761692"/>
                    <a:gd name="connsiteY202" fmla="*/ 650096 h 1016771"/>
                    <a:gd name="connsiteX203" fmla="*/ 102740 w 761692"/>
                    <a:gd name="connsiteY203" fmla="*/ 635925 h 1016771"/>
                    <a:gd name="connsiteX204" fmla="*/ 113368 w 761692"/>
                    <a:gd name="connsiteY204" fmla="*/ 625297 h 1016771"/>
                    <a:gd name="connsiteX205" fmla="*/ 115139 w 761692"/>
                    <a:gd name="connsiteY205" fmla="*/ 612897 h 1016771"/>
                    <a:gd name="connsiteX206" fmla="*/ 127539 w 761692"/>
                    <a:gd name="connsiteY206" fmla="*/ 609354 h 1016771"/>
                    <a:gd name="connsiteX207" fmla="*/ 136396 w 761692"/>
                    <a:gd name="connsiteY207" fmla="*/ 604040 h 1016771"/>
                    <a:gd name="connsiteX208" fmla="*/ 132853 w 761692"/>
                    <a:gd name="connsiteY208" fmla="*/ 593412 h 1016771"/>
                    <a:gd name="connsiteX209" fmla="*/ 134625 w 761692"/>
                    <a:gd name="connsiteY209" fmla="*/ 584555 h 1016771"/>
                    <a:gd name="connsiteX210" fmla="*/ 131082 w 761692"/>
                    <a:gd name="connsiteY210" fmla="*/ 575698 h 1016771"/>
                    <a:gd name="connsiteX211" fmla="*/ 120454 w 761692"/>
                    <a:gd name="connsiteY211" fmla="*/ 568613 h 1016771"/>
                    <a:gd name="connsiteX212" fmla="*/ 125768 w 761692"/>
                    <a:gd name="connsiteY212" fmla="*/ 552670 h 1016771"/>
                    <a:gd name="connsiteX213" fmla="*/ 118682 w 761692"/>
                    <a:gd name="connsiteY213" fmla="*/ 543813 h 1016771"/>
                    <a:gd name="connsiteX214" fmla="*/ 90340 w 761692"/>
                    <a:gd name="connsiteY214" fmla="*/ 543813 h 1016771"/>
                    <a:gd name="connsiteX215" fmla="*/ 86797 w 761692"/>
                    <a:gd name="connsiteY215" fmla="*/ 542042 h 1016771"/>
                    <a:gd name="connsiteX216" fmla="*/ 83255 w 761692"/>
                    <a:gd name="connsiteY216" fmla="*/ 542042 h 1016771"/>
                    <a:gd name="connsiteX217" fmla="*/ 81483 w 761692"/>
                    <a:gd name="connsiteY217" fmla="*/ 540271 h 1016771"/>
                    <a:gd name="connsiteX218" fmla="*/ 81483 w 761692"/>
                    <a:gd name="connsiteY218" fmla="*/ 536728 h 1016771"/>
                    <a:gd name="connsiteX219" fmla="*/ 79712 w 761692"/>
                    <a:gd name="connsiteY219" fmla="*/ 531414 h 1016771"/>
                    <a:gd name="connsiteX220" fmla="*/ 77941 w 761692"/>
                    <a:gd name="connsiteY220" fmla="*/ 529642 h 1016771"/>
                    <a:gd name="connsiteX221" fmla="*/ 70855 w 761692"/>
                    <a:gd name="connsiteY221" fmla="*/ 527871 h 1016771"/>
                    <a:gd name="connsiteX222" fmla="*/ 60227 w 761692"/>
                    <a:gd name="connsiteY222" fmla="*/ 536728 h 1016771"/>
                    <a:gd name="connsiteX223" fmla="*/ 47827 w 761692"/>
                    <a:gd name="connsiteY223" fmla="*/ 526100 h 1016771"/>
                    <a:gd name="connsiteX224" fmla="*/ 42513 w 761692"/>
                    <a:gd name="connsiteY224" fmla="*/ 515471 h 1016771"/>
                    <a:gd name="connsiteX225" fmla="*/ 33656 w 761692"/>
                    <a:gd name="connsiteY225" fmla="*/ 506614 h 1016771"/>
                    <a:gd name="connsiteX226" fmla="*/ 31885 w 761692"/>
                    <a:gd name="connsiteY226" fmla="*/ 490672 h 1016771"/>
                    <a:gd name="connsiteX227" fmla="*/ 26571 w 761692"/>
                    <a:gd name="connsiteY227" fmla="*/ 476501 h 1016771"/>
                    <a:gd name="connsiteX228" fmla="*/ 24799 w 761692"/>
                    <a:gd name="connsiteY228" fmla="*/ 471187 h 1016771"/>
                    <a:gd name="connsiteX229" fmla="*/ 12400 w 761692"/>
                    <a:gd name="connsiteY229" fmla="*/ 472958 h 1016771"/>
                    <a:gd name="connsiteX230" fmla="*/ 7086 w 761692"/>
                    <a:gd name="connsiteY230" fmla="*/ 464101 h 1016771"/>
                    <a:gd name="connsiteX231" fmla="*/ 8857 w 761692"/>
                    <a:gd name="connsiteY231" fmla="*/ 446388 h 1016771"/>
                    <a:gd name="connsiteX232" fmla="*/ 3543 w 761692"/>
                    <a:gd name="connsiteY232" fmla="*/ 435759 h 1016771"/>
                    <a:gd name="connsiteX233" fmla="*/ 5314 w 761692"/>
                    <a:gd name="connsiteY233" fmla="*/ 412731 h 1016771"/>
                    <a:gd name="connsiteX234" fmla="*/ 0 w 761692"/>
                    <a:gd name="connsiteY234" fmla="*/ 396789 h 1016771"/>
                    <a:gd name="connsiteX235" fmla="*/ 3543 w 761692"/>
                    <a:gd name="connsiteY235" fmla="*/ 384389 h 1016771"/>
                    <a:gd name="connsiteX236" fmla="*/ 14171 w 761692"/>
                    <a:gd name="connsiteY236" fmla="*/ 380846 h 1016771"/>
                    <a:gd name="connsiteX237" fmla="*/ 24799 w 761692"/>
                    <a:gd name="connsiteY237" fmla="*/ 364904 h 1016771"/>
                    <a:gd name="connsiteX238" fmla="*/ 30113 w 761692"/>
                    <a:gd name="connsiteY238" fmla="*/ 350733 h 1016771"/>
                    <a:gd name="connsiteX239" fmla="*/ 35428 w 761692"/>
                    <a:gd name="connsiteY239" fmla="*/ 341876 h 1016771"/>
                    <a:gd name="connsiteX240" fmla="*/ 42513 w 761692"/>
                    <a:gd name="connsiteY240" fmla="*/ 327705 h 1016771"/>
                    <a:gd name="connsiteX241" fmla="*/ 42513 w 761692"/>
                    <a:gd name="connsiteY241" fmla="*/ 315305 h 1016771"/>
                    <a:gd name="connsiteX242" fmla="*/ 56684 w 761692"/>
                    <a:gd name="connsiteY242" fmla="*/ 309991 h 1016771"/>
                    <a:gd name="connsiteX243" fmla="*/ 60227 w 761692"/>
                    <a:gd name="connsiteY243" fmla="*/ 309991 h 1016771"/>
                    <a:gd name="connsiteX244" fmla="*/ 61998 w 761692"/>
                    <a:gd name="connsiteY244" fmla="*/ 311763 h 1016771"/>
                    <a:gd name="connsiteX245" fmla="*/ 67312 w 761692"/>
                    <a:gd name="connsiteY245" fmla="*/ 311763 h 1016771"/>
                    <a:gd name="connsiteX246" fmla="*/ 67312 w 761692"/>
                    <a:gd name="connsiteY246" fmla="*/ 309991 h 1016771"/>
                    <a:gd name="connsiteX247" fmla="*/ 67312 w 761692"/>
                    <a:gd name="connsiteY247" fmla="*/ 308220 h 1016771"/>
                    <a:gd name="connsiteX248" fmla="*/ 69084 w 761692"/>
                    <a:gd name="connsiteY248" fmla="*/ 302906 h 1016771"/>
                    <a:gd name="connsiteX249" fmla="*/ 70855 w 761692"/>
                    <a:gd name="connsiteY249" fmla="*/ 301134 h 1016771"/>
                    <a:gd name="connsiteX250" fmla="*/ 70855 w 761692"/>
                    <a:gd name="connsiteY250" fmla="*/ 299363 h 1016771"/>
                    <a:gd name="connsiteX251" fmla="*/ 77941 w 761692"/>
                    <a:gd name="connsiteY251" fmla="*/ 295820 h 1016771"/>
                    <a:gd name="connsiteX252" fmla="*/ 85026 w 761692"/>
                    <a:gd name="connsiteY252" fmla="*/ 295820 h 1016771"/>
                    <a:gd name="connsiteX253" fmla="*/ 93883 w 761692"/>
                    <a:gd name="connsiteY253" fmla="*/ 297592 h 1016771"/>
                    <a:gd name="connsiteX254" fmla="*/ 100968 w 761692"/>
                    <a:gd name="connsiteY254" fmla="*/ 288735 h 1016771"/>
                    <a:gd name="connsiteX255" fmla="*/ 97426 w 761692"/>
                    <a:gd name="connsiteY255" fmla="*/ 279878 h 1016771"/>
                    <a:gd name="connsiteX256" fmla="*/ 85026 w 761692"/>
                    <a:gd name="connsiteY256" fmla="*/ 276335 h 1016771"/>
                    <a:gd name="connsiteX257" fmla="*/ 76169 w 761692"/>
                    <a:gd name="connsiteY257" fmla="*/ 271021 h 1016771"/>
                    <a:gd name="connsiteX258" fmla="*/ 76169 w 761692"/>
                    <a:gd name="connsiteY258" fmla="*/ 262164 h 1016771"/>
                    <a:gd name="connsiteX259" fmla="*/ 81483 w 761692"/>
                    <a:gd name="connsiteY259" fmla="*/ 251536 h 1016771"/>
                    <a:gd name="connsiteX260" fmla="*/ 86797 w 761692"/>
                    <a:gd name="connsiteY260" fmla="*/ 255079 h 1016771"/>
                    <a:gd name="connsiteX261" fmla="*/ 104511 w 761692"/>
                    <a:gd name="connsiteY261" fmla="*/ 262164 h 1016771"/>
                    <a:gd name="connsiteX262" fmla="*/ 116911 w 761692"/>
                    <a:gd name="connsiteY262" fmla="*/ 265707 h 1016771"/>
                    <a:gd name="connsiteX263" fmla="*/ 132853 w 761692"/>
                    <a:gd name="connsiteY263" fmla="*/ 269250 h 1016771"/>
                    <a:gd name="connsiteX264" fmla="*/ 138167 w 761692"/>
                    <a:gd name="connsiteY264" fmla="*/ 265707 h 1016771"/>
                    <a:gd name="connsiteX265" fmla="*/ 150567 w 761692"/>
                    <a:gd name="connsiteY265" fmla="*/ 255079 h 1016771"/>
                    <a:gd name="connsiteX266" fmla="*/ 166509 w 761692"/>
                    <a:gd name="connsiteY266" fmla="*/ 255079 h 1016771"/>
                    <a:gd name="connsiteX267" fmla="*/ 166509 w 761692"/>
                    <a:gd name="connsiteY267" fmla="*/ 265707 h 1016771"/>
                    <a:gd name="connsiteX268" fmla="*/ 177138 w 761692"/>
                    <a:gd name="connsiteY268" fmla="*/ 272792 h 1016771"/>
                    <a:gd name="connsiteX269" fmla="*/ 194851 w 761692"/>
                    <a:gd name="connsiteY269" fmla="*/ 276335 h 1016771"/>
                    <a:gd name="connsiteX270" fmla="*/ 209022 w 761692"/>
                    <a:gd name="connsiteY270" fmla="*/ 279878 h 1016771"/>
                    <a:gd name="connsiteX271" fmla="*/ 221422 w 761692"/>
                    <a:gd name="connsiteY271" fmla="*/ 276335 h 1016771"/>
                    <a:gd name="connsiteX272" fmla="*/ 226736 w 761692"/>
                    <a:gd name="connsiteY272" fmla="*/ 269250 h 1016771"/>
                    <a:gd name="connsiteX273" fmla="*/ 226736 w 761692"/>
                    <a:gd name="connsiteY273" fmla="*/ 251536 h 1016771"/>
                    <a:gd name="connsiteX274" fmla="*/ 224965 w 761692"/>
                    <a:gd name="connsiteY274" fmla="*/ 239136 h 1016771"/>
                    <a:gd name="connsiteX275" fmla="*/ 214337 w 761692"/>
                    <a:gd name="connsiteY275" fmla="*/ 230279 h 1016771"/>
                    <a:gd name="connsiteX276" fmla="*/ 210794 w 761692"/>
                    <a:gd name="connsiteY276" fmla="*/ 217880 h 1016771"/>
                    <a:gd name="connsiteX277" fmla="*/ 221422 w 761692"/>
                    <a:gd name="connsiteY277" fmla="*/ 207251 h 1016771"/>
                    <a:gd name="connsiteX278" fmla="*/ 235593 w 761692"/>
                    <a:gd name="connsiteY278" fmla="*/ 214337 h 1016771"/>
                    <a:gd name="connsiteX279" fmla="*/ 246221 w 761692"/>
                    <a:gd name="connsiteY279" fmla="*/ 219651 h 1016771"/>
                    <a:gd name="connsiteX280" fmla="*/ 253307 w 761692"/>
                    <a:gd name="connsiteY280" fmla="*/ 221422 h 1016771"/>
                    <a:gd name="connsiteX281" fmla="*/ 262164 w 761692"/>
                    <a:gd name="connsiteY281" fmla="*/ 210794 h 1016771"/>
                    <a:gd name="connsiteX282" fmla="*/ 263935 w 761692"/>
                    <a:gd name="connsiteY282" fmla="*/ 201937 h 1016771"/>
                    <a:gd name="connsiteX283" fmla="*/ 274563 w 761692"/>
                    <a:gd name="connsiteY283" fmla="*/ 189538 h 1016771"/>
                    <a:gd name="connsiteX284" fmla="*/ 283420 w 761692"/>
                    <a:gd name="connsiteY284" fmla="*/ 178909 h 1016771"/>
                    <a:gd name="connsiteX285" fmla="*/ 286963 w 761692"/>
                    <a:gd name="connsiteY285" fmla="*/ 173595 h 1016771"/>
                    <a:gd name="connsiteX286" fmla="*/ 311762 w 761692"/>
                    <a:gd name="connsiteY286" fmla="*/ 168281 h 1016771"/>
                    <a:gd name="connsiteX287" fmla="*/ 325933 w 761692"/>
                    <a:gd name="connsiteY287" fmla="*/ 164738 h 1016771"/>
                    <a:gd name="connsiteX288" fmla="*/ 336562 w 761692"/>
                    <a:gd name="connsiteY288" fmla="*/ 159424 h 1016771"/>
                    <a:gd name="connsiteX289" fmla="*/ 348961 w 761692"/>
                    <a:gd name="connsiteY289" fmla="*/ 145253 h 1016771"/>
                    <a:gd name="connsiteX290" fmla="*/ 359589 w 761692"/>
                    <a:gd name="connsiteY290" fmla="*/ 143482 h 1016771"/>
                    <a:gd name="connsiteX291" fmla="*/ 371989 w 761692"/>
                    <a:gd name="connsiteY291" fmla="*/ 143482 h 1016771"/>
                    <a:gd name="connsiteX292" fmla="*/ 391474 w 761692"/>
                    <a:gd name="connsiteY292" fmla="*/ 143482 h 1016771"/>
                    <a:gd name="connsiteX293" fmla="*/ 396788 w 761692"/>
                    <a:gd name="connsiteY293" fmla="*/ 141710 h 1016771"/>
                    <a:gd name="connsiteX294" fmla="*/ 403874 w 761692"/>
                    <a:gd name="connsiteY294" fmla="*/ 134625 h 1016771"/>
                    <a:gd name="connsiteX295" fmla="*/ 409188 w 761692"/>
                    <a:gd name="connsiteY295" fmla="*/ 129311 h 1016771"/>
                    <a:gd name="connsiteX296" fmla="*/ 409188 w 761692"/>
                    <a:gd name="connsiteY296" fmla="*/ 123997 h 1016771"/>
                    <a:gd name="connsiteX297" fmla="*/ 414502 w 761692"/>
                    <a:gd name="connsiteY297" fmla="*/ 115140 h 1016771"/>
                    <a:gd name="connsiteX298" fmla="*/ 428673 w 761692"/>
                    <a:gd name="connsiteY298" fmla="*/ 115140 h 1016771"/>
                    <a:gd name="connsiteX299" fmla="*/ 432216 w 761692"/>
                    <a:gd name="connsiteY299" fmla="*/ 109826 h 1016771"/>
                    <a:gd name="connsiteX300" fmla="*/ 437530 w 761692"/>
                    <a:gd name="connsiteY300" fmla="*/ 100969 h 1016771"/>
                    <a:gd name="connsiteX301" fmla="*/ 448158 w 761692"/>
                    <a:gd name="connsiteY301" fmla="*/ 99197 h 1016771"/>
                    <a:gd name="connsiteX302" fmla="*/ 460558 w 761692"/>
                    <a:gd name="connsiteY302" fmla="*/ 97426 h 1016771"/>
                    <a:gd name="connsiteX303" fmla="*/ 472958 w 761692"/>
                    <a:gd name="connsiteY303" fmla="*/ 93883 h 1016771"/>
                    <a:gd name="connsiteX304" fmla="*/ 492443 w 761692"/>
                    <a:gd name="connsiteY304" fmla="*/ 93883 h 1016771"/>
                    <a:gd name="connsiteX305" fmla="*/ 501300 w 761692"/>
                    <a:gd name="connsiteY305" fmla="*/ 83255 h 1016771"/>
                    <a:gd name="connsiteX306" fmla="*/ 517242 w 761692"/>
                    <a:gd name="connsiteY306" fmla="*/ 81484 h 1016771"/>
                    <a:gd name="connsiteX307" fmla="*/ 522556 w 761692"/>
                    <a:gd name="connsiteY307" fmla="*/ 81484 h 1016771"/>
                    <a:gd name="connsiteX308" fmla="*/ 522556 w 761692"/>
                    <a:gd name="connsiteY308" fmla="*/ 60227 h 1016771"/>
                    <a:gd name="connsiteX309" fmla="*/ 526099 w 761692"/>
                    <a:gd name="connsiteY309" fmla="*/ 54913 h 1016771"/>
                    <a:gd name="connsiteX310" fmla="*/ 529642 w 761692"/>
                    <a:gd name="connsiteY310" fmla="*/ 46056 h 1016771"/>
                    <a:gd name="connsiteX311" fmla="*/ 538499 w 761692"/>
                    <a:gd name="connsiteY311" fmla="*/ 40742 h 1016771"/>
                    <a:gd name="connsiteX312" fmla="*/ 540270 w 761692"/>
                    <a:gd name="connsiteY312" fmla="*/ 30114 h 1016771"/>
                    <a:gd name="connsiteX313" fmla="*/ 536727 w 761692"/>
                    <a:gd name="connsiteY313" fmla="*/ 19485 h 1016771"/>
                    <a:gd name="connsiteX314" fmla="*/ 543813 w 761692"/>
                    <a:gd name="connsiteY314" fmla="*/ 5314 h 1016771"/>
                    <a:gd name="connsiteX315" fmla="*/ 554441 w 761692"/>
                    <a:gd name="connsiteY315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9645 w 761692"/>
                    <a:gd name="connsiteY9" fmla="*/ 860925 h 1016771"/>
                    <a:gd name="connsiteX10" fmla="*/ 148122 w 761692"/>
                    <a:gd name="connsiteY10" fmla="*/ 867707 h 1016771"/>
                    <a:gd name="connsiteX11" fmla="*/ 158294 w 761692"/>
                    <a:gd name="connsiteY11" fmla="*/ 879574 h 1016771"/>
                    <a:gd name="connsiteX12" fmla="*/ 175247 w 761692"/>
                    <a:gd name="connsiteY12" fmla="*/ 889746 h 1016771"/>
                    <a:gd name="connsiteX13" fmla="*/ 175366 w 761692"/>
                    <a:gd name="connsiteY13" fmla="*/ 891003 h 1016771"/>
                    <a:gd name="connsiteX14" fmla="*/ 157653 w 761692"/>
                    <a:gd name="connsiteY14" fmla="*/ 880375 h 1016771"/>
                    <a:gd name="connsiteX15" fmla="*/ 147024 w 761692"/>
                    <a:gd name="connsiteY15" fmla="*/ 867975 h 1016771"/>
                    <a:gd name="connsiteX16" fmla="*/ 138167 w 761692"/>
                    <a:gd name="connsiteY16" fmla="*/ 860890 h 1016771"/>
                    <a:gd name="connsiteX17" fmla="*/ 138167 w 761692"/>
                    <a:gd name="connsiteY17" fmla="*/ 852033 h 1016771"/>
                    <a:gd name="connsiteX18" fmla="*/ 139939 w 761692"/>
                    <a:gd name="connsiteY18" fmla="*/ 850262 h 1016771"/>
                    <a:gd name="connsiteX19" fmla="*/ 139939 w 761692"/>
                    <a:gd name="connsiteY19" fmla="*/ 848490 h 1016771"/>
                    <a:gd name="connsiteX20" fmla="*/ 145253 w 761692"/>
                    <a:gd name="connsiteY20" fmla="*/ 843176 h 1016771"/>
                    <a:gd name="connsiteX21" fmla="*/ 147024 w 761692"/>
                    <a:gd name="connsiteY21" fmla="*/ 841405 h 1016771"/>
                    <a:gd name="connsiteX22" fmla="*/ 148796 w 761692"/>
                    <a:gd name="connsiteY22" fmla="*/ 839633 h 1016771"/>
                    <a:gd name="connsiteX23" fmla="*/ 150567 w 761692"/>
                    <a:gd name="connsiteY23" fmla="*/ 837862 h 1016771"/>
                    <a:gd name="connsiteX24" fmla="*/ 159250 w 761692"/>
                    <a:gd name="connsiteY24" fmla="*/ 829179 h 1016771"/>
                    <a:gd name="connsiteX25" fmla="*/ 116476 w 761692"/>
                    <a:gd name="connsiteY25" fmla="*/ 741349 h 1016771"/>
                    <a:gd name="connsiteX26" fmla="*/ 117606 w 761692"/>
                    <a:gd name="connsiteY26" fmla="*/ 742253 h 1016771"/>
                    <a:gd name="connsiteX27" fmla="*/ 122692 w 761692"/>
                    <a:gd name="connsiteY27" fmla="*/ 759206 h 1016771"/>
                    <a:gd name="connsiteX28" fmla="*/ 126082 w 761692"/>
                    <a:gd name="connsiteY28" fmla="*/ 771073 h 1016771"/>
                    <a:gd name="connsiteX29" fmla="*/ 129473 w 761692"/>
                    <a:gd name="connsiteY29" fmla="*/ 782940 h 1016771"/>
                    <a:gd name="connsiteX30" fmla="*/ 132864 w 761692"/>
                    <a:gd name="connsiteY30" fmla="*/ 793112 h 1016771"/>
                    <a:gd name="connsiteX31" fmla="*/ 136254 w 761692"/>
                    <a:gd name="connsiteY31" fmla="*/ 810066 h 1016771"/>
                    <a:gd name="connsiteX32" fmla="*/ 139058 w 761692"/>
                    <a:gd name="connsiteY32" fmla="*/ 818476 h 1016771"/>
                    <a:gd name="connsiteX33" fmla="*/ 138167 w 761692"/>
                    <a:gd name="connsiteY33" fmla="*/ 818377 h 1016771"/>
                    <a:gd name="connsiteX34" fmla="*/ 134625 w 761692"/>
                    <a:gd name="connsiteY34" fmla="*/ 807749 h 1016771"/>
                    <a:gd name="connsiteX35" fmla="*/ 131082 w 761692"/>
                    <a:gd name="connsiteY35" fmla="*/ 790035 h 1016771"/>
                    <a:gd name="connsiteX36" fmla="*/ 127539 w 761692"/>
                    <a:gd name="connsiteY36" fmla="*/ 779407 h 1016771"/>
                    <a:gd name="connsiteX37" fmla="*/ 123996 w 761692"/>
                    <a:gd name="connsiteY37" fmla="*/ 767007 h 1016771"/>
                    <a:gd name="connsiteX38" fmla="*/ 120454 w 761692"/>
                    <a:gd name="connsiteY38" fmla="*/ 754607 h 1016771"/>
                    <a:gd name="connsiteX39" fmla="*/ 116476 w 761692"/>
                    <a:gd name="connsiteY39" fmla="*/ 741349 h 1016771"/>
                    <a:gd name="connsiteX40" fmla="*/ 554441 w 761692"/>
                    <a:gd name="connsiteY40" fmla="*/ 0 h 1016771"/>
                    <a:gd name="connsiteX41" fmla="*/ 570383 w 761692"/>
                    <a:gd name="connsiteY41" fmla="*/ 3543 h 1016771"/>
                    <a:gd name="connsiteX42" fmla="*/ 577469 w 761692"/>
                    <a:gd name="connsiteY42" fmla="*/ 8857 h 1016771"/>
                    <a:gd name="connsiteX43" fmla="*/ 582783 w 761692"/>
                    <a:gd name="connsiteY43" fmla="*/ 17714 h 1016771"/>
                    <a:gd name="connsiteX44" fmla="*/ 582783 w 761692"/>
                    <a:gd name="connsiteY44" fmla="*/ 24799 h 1016771"/>
                    <a:gd name="connsiteX45" fmla="*/ 588097 w 761692"/>
                    <a:gd name="connsiteY45" fmla="*/ 33656 h 1016771"/>
                    <a:gd name="connsiteX46" fmla="*/ 598725 w 761692"/>
                    <a:gd name="connsiteY46" fmla="*/ 31885 h 1016771"/>
                    <a:gd name="connsiteX47" fmla="*/ 612896 w 761692"/>
                    <a:gd name="connsiteY47" fmla="*/ 37199 h 1016771"/>
                    <a:gd name="connsiteX48" fmla="*/ 618211 w 761692"/>
                    <a:gd name="connsiteY48" fmla="*/ 46056 h 1016771"/>
                    <a:gd name="connsiteX49" fmla="*/ 619982 w 761692"/>
                    <a:gd name="connsiteY49" fmla="*/ 54913 h 1016771"/>
                    <a:gd name="connsiteX50" fmla="*/ 618211 w 761692"/>
                    <a:gd name="connsiteY50" fmla="*/ 74398 h 1016771"/>
                    <a:gd name="connsiteX51" fmla="*/ 616439 w 761692"/>
                    <a:gd name="connsiteY51" fmla="*/ 85026 h 1016771"/>
                    <a:gd name="connsiteX52" fmla="*/ 621753 w 761692"/>
                    <a:gd name="connsiteY52" fmla="*/ 97426 h 1016771"/>
                    <a:gd name="connsiteX53" fmla="*/ 637696 w 761692"/>
                    <a:gd name="connsiteY53" fmla="*/ 113368 h 1016771"/>
                    <a:gd name="connsiteX54" fmla="*/ 644781 w 761692"/>
                    <a:gd name="connsiteY54" fmla="*/ 120454 h 1016771"/>
                    <a:gd name="connsiteX55" fmla="*/ 650095 w 761692"/>
                    <a:gd name="connsiteY55" fmla="*/ 136396 h 1016771"/>
                    <a:gd name="connsiteX56" fmla="*/ 655409 w 761692"/>
                    <a:gd name="connsiteY56" fmla="*/ 155881 h 1016771"/>
                    <a:gd name="connsiteX57" fmla="*/ 662495 w 761692"/>
                    <a:gd name="connsiteY57" fmla="*/ 171824 h 1016771"/>
                    <a:gd name="connsiteX58" fmla="*/ 660724 w 761692"/>
                    <a:gd name="connsiteY58" fmla="*/ 185995 h 1016771"/>
                    <a:gd name="connsiteX59" fmla="*/ 635924 w 761692"/>
                    <a:gd name="connsiteY59" fmla="*/ 194852 h 1016771"/>
                    <a:gd name="connsiteX60" fmla="*/ 619982 w 761692"/>
                    <a:gd name="connsiteY60" fmla="*/ 207251 h 1016771"/>
                    <a:gd name="connsiteX61" fmla="*/ 614668 w 761692"/>
                    <a:gd name="connsiteY61" fmla="*/ 223194 h 1016771"/>
                    <a:gd name="connsiteX62" fmla="*/ 618211 w 761692"/>
                    <a:gd name="connsiteY62" fmla="*/ 242679 h 1016771"/>
                    <a:gd name="connsiteX63" fmla="*/ 612896 w 761692"/>
                    <a:gd name="connsiteY63" fmla="*/ 256850 h 1016771"/>
                    <a:gd name="connsiteX64" fmla="*/ 625296 w 761692"/>
                    <a:gd name="connsiteY64" fmla="*/ 267478 h 1016771"/>
                    <a:gd name="connsiteX65" fmla="*/ 641238 w 761692"/>
                    <a:gd name="connsiteY65" fmla="*/ 269250 h 1016771"/>
                    <a:gd name="connsiteX66" fmla="*/ 658952 w 761692"/>
                    <a:gd name="connsiteY66" fmla="*/ 286963 h 1016771"/>
                    <a:gd name="connsiteX67" fmla="*/ 653638 w 761692"/>
                    <a:gd name="connsiteY67" fmla="*/ 309991 h 1016771"/>
                    <a:gd name="connsiteX68" fmla="*/ 653638 w 761692"/>
                    <a:gd name="connsiteY68" fmla="*/ 329476 h 1016771"/>
                    <a:gd name="connsiteX69" fmla="*/ 643010 w 761692"/>
                    <a:gd name="connsiteY69" fmla="*/ 338333 h 1016771"/>
                    <a:gd name="connsiteX70" fmla="*/ 632382 w 761692"/>
                    <a:gd name="connsiteY70" fmla="*/ 338333 h 1016771"/>
                    <a:gd name="connsiteX71" fmla="*/ 618211 w 761692"/>
                    <a:gd name="connsiteY71" fmla="*/ 357819 h 1016771"/>
                    <a:gd name="connsiteX72" fmla="*/ 609354 w 761692"/>
                    <a:gd name="connsiteY72" fmla="*/ 361361 h 1016771"/>
                    <a:gd name="connsiteX73" fmla="*/ 596954 w 761692"/>
                    <a:gd name="connsiteY73" fmla="*/ 363133 h 1016771"/>
                    <a:gd name="connsiteX74" fmla="*/ 581012 w 761692"/>
                    <a:gd name="connsiteY74" fmla="*/ 379075 h 1016771"/>
                    <a:gd name="connsiteX75" fmla="*/ 589868 w 761692"/>
                    <a:gd name="connsiteY75" fmla="*/ 393246 h 1016771"/>
                    <a:gd name="connsiteX76" fmla="*/ 586326 w 761692"/>
                    <a:gd name="connsiteY76" fmla="*/ 409189 h 1016771"/>
                    <a:gd name="connsiteX77" fmla="*/ 570383 w 761692"/>
                    <a:gd name="connsiteY77" fmla="*/ 398560 h 1016771"/>
                    <a:gd name="connsiteX78" fmla="*/ 550898 w 761692"/>
                    <a:gd name="connsiteY78" fmla="*/ 405646 h 1016771"/>
                    <a:gd name="connsiteX79" fmla="*/ 531413 w 761692"/>
                    <a:gd name="connsiteY79" fmla="*/ 425131 h 1016771"/>
                    <a:gd name="connsiteX80" fmla="*/ 543813 w 761692"/>
                    <a:gd name="connsiteY80" fmla="*/ 444616 h 1016771"/>
                    <a:gd name="connsiteX81" fmla="*/ 557984 w 761692"/>
                    <a:gd name="connsiteY81" fmla="*/ 462330 h 1016771"/>
                    <a:gd name="connsiteX82" fmla="*/ 570383 w 761692"/>
                    <a:gd name="connsiteY82" fmla="*/ 478272 h 1016771"/>
                    <a:gd name="connsiteX83" fmla="*/ 579240 w 761692"/>
                    <a:gd name="connsiteY83" fmla="*/ 485358 h 1016771"/>
                    <a:gd name="connsiteX84" fmla="*/ 602268 w 761692"/>
                    <a:gd name="connsiteY84" fmla="*/ 483586 h 1016771"/>
                    <a:gd name="connsiteX85" fmla="*/ 623525 w 761692"/>
                    <a:gd name="connsiteY85" fmla="*/ 474730 h 1016771"/>
                    <a:gd name="connsiteX86" fmla="*/ 639467 w 761692"/>
                    <a:gd name="connsiteY86" fmla="*/ 464101 h 1016771"/>
                    <a:gd name="connsiteX87" fmla="*/ 662495 w 761692"/>
                    <a:gd name="connsiteY87" fmla="*/ 464101 h 1016771"/>
                    <a:gd name="connsiteX88" fmla="*/ 673123 w 761692"/>
                    <a:gd name="connsiteY88" fmla="*/ 464101 h 1016771"/>
                    <a:gd name="connsiteX89" fmla="*/ 681980 w 761692"/>
                    <a:gd name="connsiteY89" fmla="*/ 467644 h 1016771"/>
                    <a:gd name="connsiteX90" fmla="*/ 703237 w 761692"/>
                    <a:gd name="connsiteY90" fmla="*/ 471187 h 1016771"/>
                    <a:gd name="connsiteX91" fmla="*/ 708551 w 761692"/>
                    <a:gd name="connsiteY91" fmla="*/ 474730 h 1016771"/>
                    <a:gd name="connsiteX92" fmla="*/ 722722 w 761692"/>
                    <a:gd name="connsiteY92" fmla="*/ 501300 h 1016771"/>
                    <a:gd name="connsiteX93" fmla="*/ 724493 w 761692"/>
                    <a:gd name="connsiteY93" fmla="*/ 522557 h 1016771"/>
                    <a:gd name="connsiteX94" fmla="*/ 722722 w 761692"/>
                    <a:gd name="connsiteY94" fmla="*/ 540271 h 1016771"/>
                    <a:gd name="connsiteX95" fmla="*/ 735121 w 761692"/>
                    <a:gd name="connsiteY95" fmla="*/ 552670 h 1016771"/>
                    <a:gd name="connsiteX96" fmla="*/ 735121 w 761692"/>
                    <a:gd name="connsiteY96" fmla="*/ 570384 h 1016771"/>
                    <a:gd name="connsiteX97" fmla="*/ 751064 w 761692"/>
                    <a:gd name="connsiteY97" fmla="*/ 581012 h 1016771"/>
                    <a:gd name="connsiteX98" fmla="*/ 761692 w 761692"/>
                    <a:gd name="connsiteY98" fmla="*/ 604040 h 1016771"/>
                    <a:gd name="connsiteX99" fmla="*/ 747521 w 761692"/>
                    <a:gd name="connsiteY99" fmla="*/ 616440 h 1016771"/>
                    <a:gd name="connsiteX100" fmla="*/ 728036 w 761692"/>
                    <a:gd name="connsiteY100" fmla="*/ 627068 h 1016771"/>
                    <a:gd name="connsiteX101" fmla="*/ 726264 w 761692"/>
                    <a:gd name="connsiteY101" fmla="*/ 650096 h 1016771"/>
                    <a:gd name="connsiteX102" fmla="*/ 728036 w 761692"/>
                    <a:gd name="connsiteY102" fmla="*/ 673124 h 1016771"/>
                    <a:gd name="connsiteX103" fmla="*/ 742207 w 761692"/>
                    <a:gd name="connsiteY103" fmla="*/ 689066 h 1016771"/>
                    <a:gd name="connsiteX104" fmla="*/ 742207 w 761692"/>
                    <a:gd name="connsiteY104" fmla="*/ 712094 h 1016771"/>
                    <a:gd name="connsiteX105" fmla="*/ 740435 w 761692"/>
                    <a:gd name="connsiteY105" fmla="*/ 735122 h 1016771"/>
                    <a:gd name="connsiteX106" fmla="*/ 742207 w 761692"/>
                    <a:gd name="connsiteY106" fmla="*/ 751065 h 1016771"/>
                    <a:gd name="connsiteX107" fmla="*/ 747521 w 761692"/>
                    <a:gd name="connsiteY107" fmla="*/ 768778 h 1016771"/>
                    <a:gd name="connsiteX108" fmla="*/ 759921 w 761692"/>
                    <a:gd name="connsiteY108" fmla="*/ 777635 h 1016771"/>
                    <a:gd name="connsiteX109" fmla="*/ 758149 w 761692"/>
                    <a:gd name="connsiteY109" fmla="*/ 802434 h 1016771"/>
                    <a:gd name="connsiteX110" fmla="*/ 752835 w 761692"/>
                    <a:gd name="connsiteY110" fmla="*/ 814834 h 1016771"/>
                    <a:gd name="connsiteX111" fmla="*/ 743978 w 761692"/>
                    <a:gd name="connsiteY111" fmla="*/ 827234 h 1016771"/>
                    <a:gd name="connsiteX112" fmla="*/ 743978 w 761692"/>
                    <a:gd name="connsiteY112" fmla="*/ 837862 h 1016771"/>
                    <a:gd name="connsiteX113" fmla="*/ 747521 w 761692"/>
                    <a:gd name="connsiteY113" fmla="*/ 853804 h 1016771"/>
                    <a:gd name="connsiteX114" fmla="*/ 733350 w 761692"/>
                    <a:gd name="connsiteY114" fmla="*/ 867975 h 1016771"/>
                    <a:gd name="connsiteX115" fmla="*/ 724493 w 761692"/>
                    <a:gd name="connsiteY115" fmla="*/ 880375 h 1016771"/>
                    <a:gd name="connsiteX116" fmla="*/ 722722 w 761692"/>
                    <a:gd name="connsiteY116" fmla="*/ 899860 h 1016771"/>
                    <a:gd name="connsiteX117" fmla="*/ 722722 w 761692"/>
                    <a:gd name="connsiteY117" fmla="*/ 919345 h 1016771"/>
                    <a:gd name="connsiteX118" fmla="*/ 715636 w 761692"/>
                    <a:gd name="connsiteY118" fmla="*/ 940602 h 1016771"/>
                    <a:gd name="connsiteX119" fmla="*/ 708551 w 761692"/>
                    <a:gd name="connsiteY119" fmla="*/ 954773 h 1016771"/>
                    <a:gd name="connsiteX120" fmla="*/ 699694 w 761692"/>
                    <a:gd name="connsiteY120" fmla="*/ 965401 h 1016771"/>
                    <a:gd name="connsiteX121" fmla="*/ 692608 w 761692"/>
                    <a:gd name="connsiteY121" fmla="*/ 984886 h 1016771"/>
                    <a:gd name="connsiteX122" fmla="*/ 683751 w 761692"/>
                    <a:gd name="connsiteY122" fmla="*/ 997286 h 1016771"/>
                    <a:gd name="connsiteX123" fmla="*/ 673123 w 761692"/>
                    <a:gd name="connsiteY123" fmla="*/ 1002600 h 1016771"/>
                    <a:gd name="connsiteX124" fmla="*/ 662495 w 761692"/>
                    <a:gd name="connsiteY124" fmla="*/ 1013228 h 1016771"/>
                    <a:gd name="connsiteX125" fmla="*/ 644781 w 761692"/>
                    <a:gd name="connsiteY125" fmla="*/ 1016771 h 1016771"/>
                    <a:gd name="connsiteX126" fmla="*/ 635924 w 761692"/>
                    <a:gd name="connsiteY126" fmla="*/ 1004372 h 1016771"/>
                    <a:gd name="connsiteX127" fmla="*/ 623525 w 761692"/>
                    <a:gd name="connsiteY127" fmla="*/ 997286 h 1016771"/>
                    <a:gd name="connsiteX128" fmla="*/ 614668 w 761692"/>
                    <a:gd name="connsiteY128" fmla="*/ 986658 h 1016771"/>
                    <a:gd name="connsiteX129" fmla="*/ 593411 w 761692"/>
                    <a:gd name="connsiteY129" fmla="*/ 970715 h 1016771"/>
                    <a:gd name="connsiteX130" fmla="*/ 582783 w 761692"/>
                    <a:gd name="connsiteY130" fmla="*/ 965401 h 1016771"/>
                    <a:gd name="connsiteX131" fmla="*/ 531413 w 761692"/>
                    <a:gd name="connsiteY131" fmla="*/ 965401 h 1016771"/>
                    <a:gd name="connsiteX132" fmla="*/ 511928 w 761692"/>
                    <a:gd name="connsiteY132" fmla="*/ 965401 h 1016771"/>
                    <a:gd name="connsiteX133" fmla="*/ 492443 w 761692"/>
                    <a:gd name="connsiteY133" fmla="*/ 963630 h 1016771"/>
                    <a:gd name="connsiteX134" fmla="*/ 483586 w 761692"/>
                    <a:gd name="connsiteY134" fmla="*/ 958316 h 1016771"/>
                    <a:gd name="connsiteX135" fmla="*/ 469415 w 761692"/>
                    <a:gd name="connsiteY135" fmla="*/ 954773 h 1016771"/>
                    <a:gd name="connsiteX136" fmla="*/ 460558 w 761692"/>
                    <a:gd name="connsiteY136" fmla="*/ 942373 h 1016771"/>
                    <a:gd name="connsiteX137" fmla="*/ 446387 w 761692"/>
                    <a:gd name="connsiteY137" fmla="*/ 935288 h 1016771"/>
                    <a:gd name="connsiteX138" fmla="*/ 428673 w 761692"/>
                    <a:gd name="connsiteY138" fmla="*/ 928202 h 1016771"/>
                    <a:gd name="connsiteX139" fmla="*/ 418045 w 761692"/>
                    <a:gd name="connsiteY139" fmla="*/ 917574 h 1016771"/>
                    <a:gd name="connsiteX140" fmla="*/ 421588 w 761692"/>
                    <a:gd name="connsiteY140" fmla="*/ 903403 h 1016771"/>
                    <a:gd name="connsiteX141" fmla="*/ 418045 w 761692"/>
                    <a:gd name="connsiteY141" fmla="*/ 898089 h 1016771"/>
                    <a:gd name="connsiteX142" fmla="*/ 396788 w 761692"/>
                    <a:gd name="connsiteY142" fmla="*/ 898089 h 1016771"/>
                    <a:gd name="connsiteX143" fmla="*/ 382617 w 761692"/>
                    <a:gd name="connsiteY143" fmla="*/ 896318 h 1016771"/>
                    <a:gd name="connsiteX144" fmla="*/ 380846 w 761692"/>
                    <a:gd name="connsiteY144" fmla="*/ 906946 h 1016771"/>
                    <a:gd name="connsiteX145" fmla="*/ 373601 w 761692"/>
                    <a:gd name="connsiteY145" fmla="*/ 894832 h 1016771"/>
                    <a:gd name="connsiteX146" fmla="*/ 387164 w 761692"/>
                    <a:gd name="connsiteY146" fmla="*/ 896527 h 1016771"/>
                    <a:gd name="connsiteX147" fmla="*/ 383773 w 761692"/>
                    <a:gd name="connsiteY147" fmla="*/ 886355 h 1016771"/>
                    <a:gd name="connsiteX148" fmla="*/ 387164 w 761692"/>
                    <a:gd name="connsiteY148" fmla="*/ 876183 h 1016771"/>
                    <a:gd name="connsiteX149" fmla="*/ 388859 w 761692"/>
                    <a:gd name="connsiteY149" fmla="*/ 867707 h 1016771"/>
                    <a:gd name="connsiteX150" fmla="*/ 380382 w 761692"/>
                    <a:gd name="connsiteY150" fmla="*/ 859230 h 1016771"/>
                    <a:gd name="connsiteX151" fmla="*/ 373601 w 761692"/>
                    <a:gd name="connsiteY151" fmla="*/ 849058 h 1016771"/>
                    <a:gd name="connsiteX152" fmla="*/ 380382 w 761692"/>
                    <a:gd name="connsiteY152" fmla="*/ 838886 h 1016771"/>
                    <a:gd name="connsiteX153" fmla="*/ 383773 w 761692"/>
                    <a:gd name="connsiteY153" fmla="*/ 833800 h 1016771"/>
                    <a:gd name="connsiteX154" fmla="*/ 388859 w 761692"/>
                    <a:gd name="connsiteY154" fmla="*/ 825324 h 1016771"/>
                    <a:gd name="connsiteX155" fmla="*/ 387164 w 761692"/>
                    <a:gd name="connsiteY155" fmla="*/ 810066 h 1016771"/>
                    <a:gd name="connsiteX156" fmla="*/ 387164 w 761692"/>
                    <a:gd name="connsiteY156" fmla="*/ 796503 h 1016771"/>
                    <a:gd name="connsiteX157" fmla="*/ 378687 w 761692"/>
                    <a:gd name="connsiteY157" fmla="*/ 789722 h 1016771"/>
                    <a:gd name="connsiteX158" fmla="*/ 366820 w 761692"/>
                    <a:gd name="connsiteY158" fmla="*/ 782940 h 1016771"/>
                    <a:gd name="connsiteX159" fmla="*/ 356648 w 761692"/>
                    <a:gd name="connsiteY159" fmla="*/ 781245 h 1016771"/>
                    <a:gd name="connsiteX160" fmla="*/ 349866 w 761692"/>
                    <a:gd name="connsiteY160" fmla="*/ 771073 h 1016771"/>
                    <a:gd name="connsiteX161" fmla="*/ 349866 w 761692"/>
                    <a:gd name="connsiteY161" fmla="*/ 752425 h 1016771"/>
                    <a:gd name="connsiteX162" fmla="*/ 353257 w 761692"/>
                    <a:gd name="connsiteY162" fmla="*/ 743948 h 1016771"/>
                    <a:gd name="connsiteX163" fmla="*/ 354952 w 761692"/>
                    <a:gd name="connsiteY163" fmla="*/ 730385 h 1016771"/>
                    <a:gd name="connsiteX164" fmla="*/ 353257 w 761692"/>
                    <a:gd name="connsiteY164" fmla="*/ 713432 h 1016771"/>
                    <a:gd name="connsiteX165" fmla="*/ 346476 w 761692"/>
                    <a:gd name="connsiteY165" fmla="*/ 701565 h 1016771"/>
                    <a:gd name="connsiteX166" fmla="*/ 332913 w 761692"/>
                    <a:gd name="connsiteY166" fmla="*/ 689697 h 1016771"/>
                    <a:gd name="connsiteX167" fmla="*/ 324436 w 761692"/>
                    <a:gd name="connsiteY167" fmla="*/ 681221 h 1016771"/>
                    <a:gd name="connsiteX168" fmla="*/ 314264 w 761692"/>
                    <a:gd name="connsiteY168" fmla="*/ 676135 h 1016771"/>
                    <a:gd name="connsiteX169" fmla="*/ 293920 w 761692"/>
                    <a:gd name="connsiteY169" fmla="*/ 669354 h 1016771"/>
                    <a:gd name="connsiteX170" fmla="*/ 282053 w 761692"/>
                    <a:gd name="connsiteY170" fmla="*/ 667658 h 1016771"/>
                    <a:gd name="connsiteX171" fmla="*/ 266795 w 761692"/>
                    <a:gd name="connsiteY171" fmla="*/ 672744 h 1016771"/>
                    <a:gd name="connsiteX172" fmla="*/ 265100 w 761692"/>
                    <a:gd name="connsiteY172" fmla="*/ 672744 h 1016771"/>
                    <a:gd name="connsiteX173" fmla="*/ 263404 w 761692"/>
                    <a:gd name="connsiteY173" fmla="*/ 671049 h 1016771"/>
                    <a:gd name="connsiteX174" fmla="*/ 260014 w 761692"/>
                    <a:gd name="connsiteY174" fmla="*/ 671049 h 1016771"/>
                    <a:gd name="connsiteX175" fmla="*/ 258318 w 761692"/>
                    <a:gd name="connsiteY175" fmla="*/ 671049 h 1016771"/>
                    <a:gd name="connsiteX176" fmla="*/ 253232 w 761692"/>
                    <a:gd name="connsiteY176" fmla="*/ 671049 h 1016771"/>
                    <a:gd name="connsiteX177" fmla="*/ 248146 w 761692"/>
                    <a:gd name="connsiteY177" fmla="*/ 672744 h 1016771"/>
                    <a:gd name="connsiteX178" fmla="*/ 248146 w 761692"/>
                    <a:gd name="connsiteY178" fmla="*/ 674440 h 1016771"/>
                    <a:gd name="connsiteX179" fmla="*/ 246451 w 761692"/>
                    <a:gd name="connsiteY179" fmla="*/ 674440 h 1016771"/>
                    <a:gd name="connsiteX180" fmla="*/ 236279 w 761692"/>
                    <a:gd name="connsiteY180" fmla="*/ 679526 h 1016771"/>
                    <a:gd name="connsiteX181" fmla="*/ 226107 w 761692"/>
                    <a:gd name="connsiteY181" fmla="*/ 684612 h 1016771"/>
                    <a:gd name="connsiteX182" fmla="*/ 217630 w 761692"/>
                    <a:gd name="connsiteY182" fmla="*/ 684612 h 1016771"/>
                    <a:gd name="connsiteX183" fmla="*/ 207458 w 761692"/>
                    <a:gd name="connsiteY183" fmla="*/ 693088 h 1016771"/>
                    <a:gd name="connsiteX184" fmla="*/ 198982 w 761692"/>
                    <a:gd name="connsiteY184" fmla="*/ 694783 h 1016771"/>
                    <a:gd name="connsiteX185" fmla="*/ 192200 w 761692"/>
                    <a:gd name="connsiteY185" fmla="*/ 699869 h 1016771"/>
                    <a:gd name="connsiteX186" fmla="*/ 178638 w 761692"/>
                    <a:gd name="connsiteY186" fmla="*/ 706651 h 1016771"/>
                    <a:gd name="connsiteX187" fmla="*/ 163380 w 761692"/>
                    <a:gd name="connsiteY187" fmla="*/ 710041 h 1016771"/>
                    <a:gd name="connsiteX188" fmla="*/ 141340 w 761692"/>
                    <a:gd name="connsiteY188" fmla="*/ 710041 h 1016771"/>
                    <a:gd name="connsiteX189" fmla="*/ 134559 w 761692"/>
                    <a:gd name="connsiteY189" fmla="*/ 716823 h 1016771"/>
                    <a:gd name="connsiteX190" fmla="*/ 127778 w 761692"/>
                    <a:gd name="connsiteY190" fmla="*/ 718518 h 1016771"/>
                    <a:gd name="connsiteX191" fmla="*/ 120996 w 761692"/>
                    <a:gd name="connsiteY191" fmla="*/ 725299 h 1016771"/>
                    <a:gd name="connsiteX192" fmla="*/ 111172 w 761692"/>
                    <a:gd name="connsiteY192" fmla="*/ 733720 h 1016771"/>
                    <a:gd name="connsiteX193" fmla="*/ 106283 w 761692"/>
                    <a:gd name="connsiteY193" fmla="*/ 729808 h 1016771"/>
                    <a:gd name="connsiteX194" fmla="*/ 92112 w 761692"/>
                    <a:gd name="connsiteY194" fmla="*/ 724494 h 1016771"/>
                    <a:gd name="connsiteX195" fmla="*/ 77941 w 761692"/>
                    <a:gd name="connsiteY195" fmla="*/ 726265 h 1016771"/>
                    <a:gd name="connsiteX196" fmla="*/ 70855 w 761692"/>
                    <a:gd name="connsiteY196" fmla="*/ 719180 h 1016771"/>
                    <a:gd name="connsiteX197" fmla="*/ 70855 w 761692"/>
                    <a:gd name="connsiteY197" fmla="*/ 699695 h 1016771"/>
                    <a:gd name="connsiteX198" fmla="*/ 81483 w 761692"/>
                    <a:gd name="connsiteY198" fmla="*/ 685524 h 1016771"/>
                    <a:gd name="connsiteX199" fmla="*/ 85026 w 761692"/>
                    <a:gd name="connsiteY199" fmla="*/ 673124 h 1016771"/>
                    <a:gd name="connsiteX200" fmla="*/ 86797 w 761692"/>
                    <a:gd name="connsiteY200" fmla="*/ 660724 h 1016771"/>
                    <a:gd name="connsiteX201" fmla="*/ 97426 w 761692"/>
                    <a:gd name="connsiteY201" fmla="*/ 650096 h 1016771"/>
                    <a:gd name="connsiteX202" fmla="*/ 102740 w 761692"/>
                    <a:gd name="connsiteY202" fmla="*/ 635925 h 1016771"/>
                    <a:gd name="connsiteX203" fmla="*/ 113368 w 761692"/>
                    <a:gd name="connsiteY203" fmla="*/ 625297 h 1016771"/>
                    <a:gd name="connsiteX204" fmla="*/ 115139 w 761692"/>
                    <a:gd name="connsiteY204" fmla="*/ 612897 h 1016771"/>
                    <a:gd name="connsiteX205" fmla="*/ 127539 w 761692"/>
                    <a:gd name="connsiteY205" fmla="*/ 609354 h 1016771"/>
                    <a:gd name="connsiteX206" fmla="*/ 136396 w 761692"/>
                    <a:gd name="connsiteY206" fmla="*/ 604040 h 1016771"/>
                    <a:gd name="connsiteX207" fmla="*/ 132853 w 761692"/>
                    <a:gd name="connsiteY207" fmla="*/ 593412 h 1016771"/>
                    <a:gd name="connsiteX208" fmla="*/ 134625 w 761692"/>
                    <a:gd name="connsiteY208" fmla="*/ 584555 h 1016771"/>
                    <a:gd name="connsiteX209" fmla="*/ 131082 w 761692"/>
                    <a:gd name="connsiteY209" fmla="*/ 575698 h 1016771"/>
                    <a:gd name="connsiteX210" fmla="*/ 120454 w 761692"/>
                    <a:gd name="connsiteY210" fmla="*/ 568613 h 1016771"/>
                    <a:gd name="connsiteX211" fmla="*/ 125768 w 761692"/>
                    <a:gd name="connsiteY211" fmla="*/ 552670 h 1016771"/>
                    <a:gd name="connsiteX212" fmla="*/ 118682 w 761692"/>
                    <a:gd name="connsiteY212" fmla="*/ 543813 h 1016771"/>
                    <a:gd name="connsiteX213" fmla="*/ 90340 w 761692"/>
                    <a:gd name="connsiteY213" fmla="*/ 543813 h 1016771"/>
                    <a:gd name="connsiteX214" fmla="*/ 86797 w 761692"/>
                    <a:gd name="connsiteY214" fmla="*/ 542042 h 1016771"/>
                    <a:gd name="connsiteX215" fmla="*/ 83255 w 761692"/>
                    <a:gd name="connsiteY215" fmla="*/ 542042 h 1016771"/>
                    <a:gd name="connsiteX216" fmla="*/ 81483 w 761692"/>
                    <a:gd name="connsiteY216" fmla="*/ 540271 h 1016771"/>
                    <a:gd name="connsiteX217" fmla="*/ 81483 w 761692"/>
                    <a:gd name="connsiteY217" fmla="*/ 536728 h 1016771"/>
                    <a:gd name="connsiteX218" fmla="*/ 79712 w 761692"/>
                    <a:gd name="connsiteY218" fmla="*/ 531414 h 1016771"/>
                    <a:gd name="connsiteX219" fmla="*/ 77941 w 761692"/>
                    <a:gd name="connsiteY219" fmla="*/ 529642 h 1016771"/>
                    <a:gd name="connsiteX220" fmla="*/ 70855 w 761692"/>
                    <a:gd name="connsiteY220" fmla="*/ 527871 h 1016771"/>
                    <a:gd name="connsiteX221" fmla="*/ 60227 w 761692"/>
                    <a:gd name="connsiteY221" fmla="*/ 536728 h 1016771"/>
                    <a:gd name="connsiteX222" fmla="*/ 47827 w 761692"/>
                    <a:gd name="connsiteY222" fmla="*/ 526100 h 1016771"/>
                    <a:gd name="connsiteX223" fmla="*/ 42513 w 761692"/>
                    <a:gd name="connsiteY223" fmla="*/ 515471 h 1016771"/>
                    <a:gd name="connsiteX224" fmla="*/ 33656 w 761692"/>
                    <a:gd name="connsiteY224" fmla="*/ 506614 h 1016771"/>
                    <a:gd name="connsiteX225" fmla="*/ 31885 w 761692"/>
                    <a:gd name="connsiteY225" fmla="*/ 490672 h 1016771"/>
                    <a:gd name="connsiteX226" fmla="*/ 26571 w 761692"/>
                    <a:gd name="connsiteY226" fmla="*/ 476501 h 1016771"/>
                    <a:gd name="connsiteX227" fmla="*/ 24799 w 761692"/>
                    <a:gd name="connsiteY227" fmla="*/ 471187 h 1016771"/>
                    <a:gd name="connsiteX228" fmla="*/ 12400 w 761692"/>
                    <a:gd name="connsiteY228" fmla="*/ 472958 h 1016771"/>
                    <a:gd name="connsiteX229" fmla="*/ 7086 w 761692"/>
                    <a:gd name="connsiteY229" fmla="*/ 464101 h 1016771"/>
                    <a:gd name="connsiteX230" fmla="*/ 8857 w 761692"/>
                    <a:gd name="connsiteY230" fmla="*/ 446388 h 1016771"/>
                    <a:gd name="connsiteX231" fmla="*/ 3543 w 761692"/>
                    <a:gd name="connsiteY231" fmla="*/ 435759 h 1016771"/>
                    <a:gd name="connsiteX232" fmla="*/ 5314 w 761692"/>
                    <a:gd name="connsiteY232" fmla="*/ 412731 h 1016771"/>
                    <a:gd name="connsiteX233" fmla="*/ 0 w 761692"/>
                    <a:gd name="connsiteY233" fmla="*/ 396789 h 1016771"/>
                    <a:gd name="connsiteX234" fmla="*/ 3543 w 761692"/>
                    <a:gd name="connsiteY234" fmla="*/ 384389 h 1016771"/>
                    <a:gd name="connsiteX235" fmla="*/ 14171 w 761692"/>
                    <a:gd name="connsiteY235" fmla="*/ 380846 h 1016771"/>
                    <a:gd name="connsiteX236" fmla="*/ 24799 w 761692"/>
                    <a:gd name="connsiteY236" fmla="*/ 364904 h 1016771"/>
                    <a:gd name="connsiteX237" fmla="*/ 30113 w 761692"/>
                    <a:gd name="connsiteY237" fmla="*/ 350733 h 1016771"/>
                    <a:gd name="connsiteX238" fmla="*/ 35428 w 761692"/>
                    <a:gd name="connsiteY238" fmla="*/ 341876 h 1016771"/>
                    <a:gd name="connsiteX239" fmla="*/ 42513 w 761692"/>
                    <a:gd name="connsiteY239" fmla="*/ 327705 h 1016771"/>
                    <a:gd name="connsiteX240" fmla="*/ 42513 w 761692"/>
                    <a:gd name="connsiteY240" fmla="*/ 315305 h 1016771"/>
                    <a:gd name="connsiteX241" fmla="*/ 56684 w 761692"/>
                    <a:gd name="connsiteY241" fmla="*/ 309991 h 1016771"/>
                    <a:gd name="connsiteX242" fmla="*/ 60227 w 761692"/>
                    <a:gd name="connsiteY242" fmla="*/ 309991 h 1016771"/>
                    <a:gd name="connsiteX243" fmla="*/ 61998 w 761692"/>
                    <a:gd name="connsiteY243" fmla="*/ 311763 h 1016771"/>
                    <a:gd name="connsiteX244" fmla="*/ 67312 w 761692"/>
                    <a:gd name="connsiteY244" fmla="*/ 311763 h 1016771"/>
                    <a:gd name="connsiteX245" fmla="*/ 67312 w 761692"/>
                    <a:gd name="connsiteY245" fmla="*/ 309991 h 1016771"/>
                    <a:gd name="connsiteX246" fmla="*/ 67312 w 761692"/>
                    <a:gd name="connsiteY246" fmla="*/ 308220 h 1016771"/>
                    <a:gd name="connsiteX247" fmla="*/ 69084 w 761692"/>
                    <a:gd name="connsiteY247" fmla="*/ 302906 h 1016771"/>
                    <a:gd name="connsiteX248" fmla="*/ 70855 w 761692"/>
                    <a:gd name="connsiteY248" fmla="*/ 301134 h 1016771"/>
                    <a:gd name="connsiteX249" fmla="*/ 70855 w 761692"/>
                    <a:gd name="connsiteY249" fmla="*/ 299363 h 1016771"/>
                    <a:gd name="connsiteX250" fmla="*/ 77941 w 761692"/>
                    <a:gd name="connsiteY250" fmla="*/ 295820 h 1016771"/>
                    <a:gd name="connsiteX251" fmla="*/ 85026 w 761692"/>
                    <a:gd name="connsiteY251" fmla="*/ 295820 h 1016771"/>
                    <a:gd name="connsiteX252" fmla="*/ 93883 w 761692"/>
                    <a:gd name="connsiteY252" fmla="*/ 297592 h 1016771"/>
                    <a:gd name="connsiteX253" fmla="*/ 100968 w 761692"/>
                    <a:gd name="connsiteY253" fmla="*/ 288735 h 1016771"/>
                    <a:gd name="connsiteX254" fmla="*/ 97426 w 761692"/>
                    <a:gd name="connsiteY254" fmla="*/ 279878 h 1016771"/>
                    <a:gd name="connsiteX255" fmla="*/ 85026 w 761692"/>
                    <a:gd name="connsiteY255" fmla="*/ 276335 h 1016771"/>
                    <a:gd name="connsiteX256" fmla="*/ 76169 w 761692"/>
                    <a:gd name="connsiteY256" fmla="*/ 271021 h 1016771"/>
                    <a:gd name="connsiteX257" fmla="*/ 76169 w 761692"/>
                    <a:gd name="connsiteY257" fmla="*/ 262164 h 1016771"/>
                    <a:gd name="connsiteX258" fmla="*/ 81483 w 761692"/>
                    <a:gd name="connsiteY258" fmla="*/ 251536 h 1016771"/>
                    <a:gd name="connsiteX259" fmla="*/ 86797 w 761692"/>
                    <a:gd name="connsiteY259" fmla="*/ 255079 h 1016771"/>
                    <a:gd name="connsiteX260" fmla="*/ 104511 w 761692"/>
                    <a:gd name="connsiteY260" fmla="*/ 262164 h 1016771"/>
                    <a:gd name="connsiteX261" fmla="*/ 116911 w 761692"/>
                    <a:gd name="connsiteY261" fmla="*/ 265707 h 1016771"/>
                    <a:gd name="connsiteX262" fmla="*/ 132853 w 761692"/>
                    <a:gd name="connsiteY262" fmla="*/ 269250 h 1016771"/>
                    <a:gd name="connsiteX263" fmla="*/ 138167 w 761692"/>
                    <a:gd name="connsiteY263" fmla="*/ 265707 h 1016771"/>
                    <a:gd name="connsiteX264" fmla="*/ 150567 w 761692"/>
                    <a:gd name="connsiteY264" fmla="*/ 255079 h 1016771"/>
                    <a:gd name="connsiteX265" fmla="*/ 166509 w 761692"/>
                    <a:gd name="connsiteY265" fmla="*/ 255079 h 1016771"/>
                    <a:gd name="connsiteX266" fmla="*/ 166509 w 761692"/>
                    <a:gd name="connsiteY266" fmla="*/ 265707 h 1016771"/>
                    <a:gd name="connsiteX267" fmla="*/ 177138 w 761692"/>
                    <a:gd name="connsiteY267" fmla="*/ 272792 h 1016771"/>
                    <a:gd name="connsiteX268" fmla="*/ 194851 w 761692"/>
                    <a:gd name="connsiteY268" fmla="*/ 276335 h 1016771"/>
                    <a:gd name="connsiteX269" fmla="*/ 209022 w 761692"/>
                    <a:gd name="connsiteY269" fmla="*/ 279878 h 1016771"/>
                    <a:gd name="connsiteX270" fmla="*/ 221422 w 761692"/>
                    <a:gd name="connsiteY270" fmla="*/ 276335 h 1016771"/>
                    <a:gd name="connsiteX271" fmla="*/ 226736 w 761692"/>
                    <a:gd name="connsiteY271" fmla="*/ 269250 h 1016771"/>
                    <a:gd name="connsiteX272" fmla="*/ 226736 w 761692"/>
                    <a:gd name="connsiteY272" fmla="*/ 251536 h 1016771"/>
                    <a:gd name="connsiteX273" fmla="*/ 224965 w 761692"/>
                    <a:gd name="connsiteY273" fmla="*/ 239136 h 1016771"/>
                    <a:gd name="connsiteX274" fmla="*/ 214337 w 761692"/>
                    <a:gd name="connsiteY274" fmla="*/ 230279 h 1016771"/>
                    <a:gd name="connsiteX275" fmla="*/ 210794 w 761692"/>
                    <a:gd name="connsiteY275" fmla="*/ 217880 h 1016771"/>
                    <a:gd name="connsiteX276" fmla="*/ 221422 w 761692"/>
                    <a:gd name="connsiteY276" fmla="*/ 207251 h 1016771"/>
                    <a:gd name="connsiteX277" fmla="*/ 235593 w 761692"/>
                    <a:gd name="connsiteY277" fmla="*/ 214337 h 1016771"/>
                    <a:gd name="connsiteX278" fmla="*/ 246221 w 761692"/>
                    <a:gd name="connsiteY278" fmla="*/ 219651 h 1016771"/>
                    <a:gd name="connsiteX279" fmla="*/ 253307 w 761692"/>
                    <a:gd name="connsiteY279" fmla="*/ 221422 h 1016771"/>
                    <a:gd name="connsiteX280" fmla="*/ 262164 w 761692"/>
                    <a:gd name="connsiteY280" fmla="*/ 210794 h 1016771"/>
                    <a:gd name="connsiteX281" fmla="*/ 263935 w 761692"/>
                    <a:gd name="connsiteY281" fmla="*/ 201937 h 1016771"/>
                    <a:gd name="connsiteX282" fmla="*/ 274563 w 761692"/>
                    <a:gd name="connsiteY282" fmla="*/ 189538 h 1016771"/>
                    <a:gd name="connsiteX283" fmla="*/ 283420 w 761692"/>
                    <a:gd name="connsiteY283" fmla="*/ 178909 h 1016771"/>
                    <a:gd name="connsiteX284" fmla="*/ 286963 w 761692"/>
                    <a:gd name="connsiteY284" fmla="*/ 173595 h 1016771"/>
                    <a:gd name="connsiteX285" fmla="*/ 311762 w 761692"/>
                    <a:gd name="connsiteY285" fmla="*/ 168281 h 1016771"/>
                    <a:gd name="connsiteX286" fmla="*/ 325933 w 761692"/>
                    <a:gd name="connsiteY286" fmla="*/ 164738 h 1016771"/>
                    <a:gd name="connsiteX287" fmla="*/ 336562 w 761692"/>
                    <a:gd name="connsiteY287" fmla="*/ 159424 h 1016771"/>
                    <a:gd name="connsiteX288" fmla="*/ 348961 w 761692"/>
                    <a:gd name="connsiteY288" fmla="*/ 145253 h 1016771"/>
                    <a:gd name="connsiteX289" fmla="*/ 359589 w 761692"/>
                    <a:gd name="connsiteY289" fmla="*/ 143482 h 1016771"/>
                    <a:gd name="connsiteX290" fmla="*/ 371989 w 761692"/>
                    <a:gd name="connsiteY290" fmla="*/ 143482 h 1016771"/>
                    <a:gd name="connsiteX291" fmla="*/ 391474 w 761692"/>
                    <a:gd name="connsiteY291" fmla="*/ 143482 h 1016771"/>
                    <a:gd name="connsiteX292" fmla="*/ 396788 w 761692"/>
                    <a:gd name="connsiteY292" fmla="*/ 141710 h 1016771"/>
                    <a:gd name="connsiteX293" fmla="*/ 403874 w 761692"/>
                    <a:gd name="connsiteY293" fmla="*/ 134625 h 1016771"/>
                    <a:gd name="connsiteX294" fmla="*/ 409188 w 761692"/>
                    <a:gd name="connsiteY294" fmla="*/ 129311 h 1016771"/>
                    <a:gd name="connsiteX295" fmla="*/ 409188 w 761692"/>
                    <a:gd name="connsiteY295" fmla="*/ 123997 h 1016771"/>
                    <a:gd name="connsiteX296" fmla="*/ 414502 w 761692"/>
                    <a:gd name="connsiteY296" fmla="*/ 115140 h 1016771"/>
                    <a:gd name="connsiteX297" fmla="*/ 428673 w 761692"/>
                    <a:gd name="connsiteY297" fmla="*/ 115140 h 1016771"/>
                    <a:gd name="connsiteX298" fmla="*/ 432216 w 761692"/>
                    <a:gd name="connsiteY298" fmla="*/ 109826 h 1016771"/>
                    <a:gd name="connsiteX299" fmla="*/ 437530 w 761692"/>
                    <a:gd name="connsiteY299" fmla="*/ 100969 h 1016771"/>
                    <a:gd name="connsiteX300" fmla="*/ 448158 w 761692"/>
                    <a:gd name="connsiteY300" fmla="*/ 99197 h 1016771"/>
                    <a:gd name="connsiteX301" fmla="*/ 460558 w 761692"/>
                    <a:gd name="connsiteY301" fmla="*/ 97426 h 1016771"/>
                    <a:gd name="connsiteX302" fmla="*/ 472958 w 761692"/>
                    <a:gd name="connsiteY302" fmla="*/ 93883 h 1016771"/>
                    <a:gd name="connsiteX303" fmla="*/ 492443 w 761692"/>
                    <a:gd name="connsiteY303" fmla="*/ 93883 h 1016771"/>
                    <a:gd name="connsiteX304" fmla="*/ 501300 w 761692"/>
                    <a:gd name="connsiteY304" fmla="*/ 83255 h 1016771"/>
                    <a:gd name="connsiteX305" fmla="*/ 517242 w 761692"/>
                    <a:gd name="connsiteY305" fmla="*/ 81484 h 1016771"/>
                    <a:gd name="connsiteX306" fmla="*/ 522556 w 761692"/>
                    <a:gd name="connsiteY306" fmla="*/ 81484 h 1016771"/>
                    <a:gd name="connsiteX307" fmla="*/ 522556 w 761692"/>
                    <a:gd name="connsiteY307" fmla="*/ 60227 h 1016771"/>
                    <a:gd name="connsiteX308" fmla="*/ 526099 w 761692"/>
                    <a:gd name="connsiteY308" fmla="*/ 54913 h 1016771"/>
                    <a:gd name="connsiteX309" fmla="*/ 529642 w 761692"/>
                    <a:gd name="connsiteY309" fmla="*/ 46056 h 1016771"/>
                    <a:gd name="connsiteX310" fmla="*/ 538499 w 761692"/>
                    <a:gd name="connsiteY310" fmla="*/ 40742 h 1016771"/>
                    <a:gd name="connsiteX311" fmla="*/ 540270 w 761692"/>
                    <a:gd name="connsiteY311" fmla="*/ 30114 h 1016771"/>
                    <a:gd name="connsiteX312" fmla="*/ 536727 w 761692"/>
                    <a:gd name="connsiteY312" fmla="*/ 19485 h 1016771"/>
                    <a:gd name="connsiteX313" fmla="*/ 543813 w 761692"/>
                    <a:gd name="connsiteY313" fmla="*/ 5314 h 1016771"/>
                    <a:gd name="connsiteX314" fmla="*/ 554441 w 761692"/>
                    <a:gd name="connsiteY314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9645 w 761692"/>
                    <a:gd name="connsiteY9" fmla="*/ 860925 h 1016771"/>
                    <a:gd name="connsiteX10" fmla="*/ 148122 w 761692"/>
                    <a:gd name="connsiteY10" fmla="*/ 867707 h 1016771"/>
                    <a:gd name="connsiteX11" fmla="*/ 158294 w 761692"/>
                    <a:gd name="connsiteY11" fmla="*/ 879574 h 1016771"/>
                    <a:gd name="connsiteX12" fmla="*/ 175247 w 761692"/>
                    <a:gd name="connsiteY12" fmla="*/ 889746 h 1016771"/>
                    <a:gd name="connsiteX13" fmla="*/ 157653 w 761692"/>
                    <a:gd name="connsiteY13" fmla="*/ 880375 h 1016771"/>
                    <a:gd name="connsiteX14" fmla="*/ 147024 w 761692"/>
                    <a:gd name="connsiteY14" fmla="*/ 867975 h 1016771"/>
                    <a:gd name="connsiteX15" fmla="*/ 138167 w 761692"/>
                    <a:gd name="connsiteY15" fmla="*/ 860890 h 1016771"/>
                    <a:gd name="connsiteX16" fmla="*/ 138167 w 761692"/>
                    <a:gd name="connsiteY16" fmla="*/ 852033 h 1016771"/>
                    <a:gd name="connsiteX17" fmla="*/ 139939 w 761692"/>
                    <a:gd name="connsiteY17" fmla="*/ 850262 h 1016771"/>
                    <a:gd name="connsiteX18" fmla="*/ 139939 w 761692"/>
                    <a:gd name="connsiteY18" fmla="*/ 848490 h 1016771"/>
                    <a:gd name="connsiteX19" fmla="*/ 145253 w 761692"/>
                    <a:gd name="connsiteY19" fmla="*/ 843176 h 1016771"/>
                    <a:gd name="connsiteX20" fmla="*/ 147024 w 761692"/>
                    <a:gd name="connsiteY20" fmla="*/ 841405 h 1016771"/>
                    <a:gd name="connsiteX21" fmla="*/ 148796 w 761692"/>
                    <a:gd name="connsiteY21" fmla="*/ 839633 h 1016771"/>
                    <a:gd name="connsiteX22" fmla="*/ 150567 w 761692"/>
                    <a:gd name="connsiteY22" fmla="*/ 837862 h 1016771"/>
                    <a:gd name="connsiteX23" fmla="*/ 159250 w 761692"/>
                    <a:gd name="connsiteY23" fmla="*/ 829179 h 1016771"/>
                    <a:gd name="connsiteX24" fmla="*/ 116476 w 761692"/>
                    <a:gd name="connsiteY24" fmla="*/ 741349 h 1016771"/>
                    <a:gd name="connsiteX25" fmla="*/ 117606 w 761692"/>
                    <a:gd name="connsiteY25" fmla="*/ 742253 h 1016771"/>
                    <a:gd name="connsiteX26" fmla="*/ 122692 w 761692"/>
                    <a:gd name="connsiteY26" fmla="*/ 759206 h 1016771"/>
                    <a:gd name="connsiteX27" fmla="*/ 126082 w 761692"/>
                    <a:gd name="connsiteY27" fmla="*/ 771073 h 1016771"/>
                    <a:gd name="connsiteX28" fmla="*/ 129473 w 761692"/>
                    <a:gd name="connsiteY28" fmla="*/ 782940 h 1016771"/>
                    <a:gd name="connsiteX29" fmla="*/ 132864 w 761692"/>
                    <a:gd name="connsiteY29" fmla="*/ 793112 h 1016771"/>
                    <a:gd name="connsiteX30" fmla="*/ 136254 w 761692"/>
                    <a:gd name="connsiteY30" fmla="*/ 810066 h 1016771"/>
                    <a:gd name="connsiteX31" fmla="*/ 139058 w 761692"/>
                    <a:gd name="connsiteY31" fmla="*/ 818476 h 1016771"/>
                    <a:gd name="connsiteX32" fmla="*/ 138167 w 761692"/>
                    <a:gd name="connsiteY32" fmla="*/ 818377 h 1016771"/>
                    <a:gd name="connsiteX33" fmla="*/ 134625 w 761692"/>
                    <a:gd name="connsiteY33" fmla="*/ 807749 h 1016771"/>
                    <a:gd name="connsiteX34" fmla="*/ 131082 w 761692"/>
                    <a:gd name="connsiteY34" fmla="*/ 790035 h 1016771"/>
                    <a:gd name="connsiteX35" fmla="*/ 127539 w 761692"/>
                    <a:gd name="connsiteY35" fmla="*/ 779407 h 1016771"/>
                    <a:gd name="connsiteX36" fmla="*/ 123996 w 761692"/>
                    <a:gd name="connsiteY36" fmla="*/ 767007 h 1016771"/>
                    <a:gd name="connsiteX37" fmla="*/ 120454 w 761692"/>
                    <a:gd name="connsiteY37" fmla="*/ 754607 h 1016771"/>
                    <a:gd name="connsiteX38" fmla="*/ 116476 w 761692"/>
                    <a:gd name="connsiteY38" fmla="*/ 741349 h 1016771"/>
                    <a:gd name="connsiteX39" fmla="*/ 554441 w 761692"/>
                    <a:gd name="connsiteY39" fmla="*/ 0 h 1016771"/>
                    <a:gd name="connsiteX40" fmla="*/ 570383 w 761692"/>
                    <a:gd name="connsiteY40" fmla="*/ 3543 h 1016771"/>
                    <a:gd name="connsiteX41" fmla="*/ 577469 w 761692"/>
                    <a:gd name="connsiteY41" fmla="*/ 8857 h 1016771"/>
                    <a:gd name="connsiteX42" fmla="*/ 582783 w 761692"/>
                    <a:gd name="connsiteY42" fmla="*/ 17714 h 1016771"/>
                    <a:gd name="connsiteX43" fmla="*/ 582783 w 761692"/>
                    <a:gd name="connsiteY43" fmla="*/ 24799 h 1016771"/>
                    <a:gd name="connsiteX44" fmla="*/ 588097 w 761692"/>
                    <a:gd name="connsiteY44" fmla="*/ 33656 h 1016771"/>
                    <a:gd name="connsiteX45" fmla="*/ 598725 w 761692"/>
                    <a:gd name="connsiteY45" fmla="*/ 31885 h 1016771"/>
                    <a:gd name="connsiteX46" fmla="*/ 612896 w 761692"/>
                    <a:gd name="connsiteY46" fmla="*/ 37199 h 1016771"/>
                    <a:gd name="connsiteX47" fmla="*/ 618211 w 761692"/>
                    <a:gd name="connsiteY47" fmla="*/ 46056 h 1016771"/>
                    <a:gd name="connsiteX48" fmla="*/ 619982 w 761692"/>
                    <a:gd name="connsiteY48" fmla="*/ 54913 h 1016771"/>
                    <a:gd name="connsiteX49" fmla="*/ 618211 w 761692"/>
                    <a:gd name="connsiteY49" fmla="*/ 74398 h 1016771"/>
                    <a:gd name="connsiteX50" fmla="*/ 616439 w 761692"/>
                    <a:gd name="connsiteY50" fmla="*/ 85026 h 1016771"/>
                    <a:gd name="connsiteX51" fmla="*/ 621753 w 761692"/>
                    <a:gd name="connsiteY51" fmla="*/ 97426 h 1016771"/>
                    <a:gd name="connsiteX52" fmla="*/ 637696 w 761692"/>
                    <a:gd name="connsiteY52" fmla="*/ 113368 h 1016771"/>
                    <a:gd name="connsiteX53" fmla="*/ 644781 w 761692"/>
                    <a:gd name="connsiteY53" fmla="*/ 120454 h 1016771"/>
                    <a:gd name="connsiteX54" fmla="*/ 650095 w 761692"/>
                    <a:gd name="connsiteY54" fmla="*/ 136396 h 1016771"/>
                    <a:gd name="connsiteX55" fmla="*/ 655409 w 761692"/>
                    <a:gd name="connsiteY55" fmla="*/ 155881 h 1016771"/>
                    <a:gd name="connsiteX56" fmla="*/ 662495 w 761692"/>
                    <a:gd name="connsiteY56" fmla="*/ 171824 h 1016771"/>
                    <a:gd name="connsiteX57" fmla="*/ 660724 w 761692"/>
                    <a:gd name="connsiteY57" fmla="*/ 185995 h 1016771"/>
                    <a:gd name="connsiteX58" fmla="*/ 635924 w 761692"/>
                    <a:gd name="connsiteY58" fmla="*/ 194852 h 1016771"/>
                    <a:gd name="connsiteX59" fmla="*/ 619982 w 761692"/>
                    <a:gd name="connsiteY59" fmla="*/ 207251 h 1016771"/>
                    <a:gd name="connsiteX60" fmla="*/ 614668 w 761692"/>
                    <a:gd name="connsiteY60" fmla="*/ 223194 h 1016771"/>
                    <a:gd name="connsiteX61" fmla="*/ 618211 w 761692"/>
                    <a:gd name="connsiteY61" fmla="*/ 242679 h 1016771"/>
                    <a:gd name="connsiteX62" fmla="*/ 612896 w 761692"/>
                    <a:gd name="connsiteY62" fmla="*/ 256850 h 1016771"/>
                    <a:gd name="connsiteX63" fmla="*/ 625296 w 761692"/>
                    <a:gd name="connsiteY63" fmla="*/ 267478 h 1016771"/>
                    <a:gd name="connsiteX64" fmla="*/ 641238 w 761692"/>
                    <a:gd name="connsiteY64" fmla="*/ 269250 h 1016771"/>
                    <a:gd name="connsiteX65" fmla="*/ 658952 w 761692"/>
                    <a:gd name="connsiteY65" fmla="*/ 286963 h 1016771"/>
                    <a:gd name="connsiteX66" fmla="*/ 653638 w 761692"/>
                    <a:gd name="connsiteY66" fmla="*/ 309991 h 1016771"/>
                    <a:gd name="connsiteX67" fmla="*/ 653638 w 761692"/>
                    <a:gd name="connsiteY67" fmla="*/ 329476 h 1016771"/>
                    <a:gd name="connsiteX68" fmla="*/ 643010 w 761692"/>
                    <a:gd name="connsiteY68" fmla="*/ 338333 h 1016771"/>
                    <a:gd name="connsiteX69" fmla="*/ 632382 w 761692"/>
                    <a:gd name="connsiteY69" fmla="*/ 338333 h 1016771"/>
                    <a:gd name="connsiteX70" fmla="*/ 618211 w 761692"/>
                    <a:gd name="connsiteY70" fmla="*/ 357819 h 1016771"/>
                    <a:gd name="connsiteX71" fmla="*/ 609354 w 761692"/>
                    <a:gd name="connsiteY71" fmla="*/ 361361 h 1016771"/>
                    <a:gd name="connsiteX72" fmla="*/ 596954 w 761692"/>
                    <a:gd name="connsiteY72" fmla="*/ 363133 h 1016771"/>
                    <a:gd name="connsiteX73" fmla="*/ 581012 w 761692"/>
                    <a:gd name="connsiteY73" fmla="*/ 379075 h 1016771"/>
                    <a:gd name="connsiteX74" fmla="*/ 589868 w 761692"/>
                    <a:gd name="connsiteY74" fmla="*/ 393246 h 1016771"/>
                    <a:gd name="connsiteX75" fmla="*/ 586326 w 761692"/>
                    <a:gd name="connsiteY75" fmla="*/ 409189 h 1016771"/>
                    <a:gd name="connsiteX76" fmla="*/ 570383 w 761692"/>
                    <a:gd name="connsiteY76" fmla="*/ 398560 h 1016771"/>
                    <a:gd name="connsiteX77" fmla="*/ 550898 w 761692"/>
                    <a:gd name="connsiteY77" fmla="*/ 405646 h 1016771"/>
                    <a:gd name="connsiteX78" fmla="*/ 531413 w 761692"/>
                    <a:gd name="connsiteY78" fmla="*/ 425131 h 1016771"/>
                    <a:gd name="connsiteX79" fmla="*/ 543813 w 761692"/>
                    <a:gd name="connsiteY79" fmla="*/ 444616 h 1016771"/>
                    <a:gd name="connsiteX80" fmla="*/ 557984 w 761692"/>
                    <a:gd name="connsiteY80" fmla="*/ 462330 h 1016771"/>
                    <a:gd name="connsiteX81" fmla="*/ 570383 w 761692"/>
                    <a:gd name="connsiteY81" fmla="*/ 478272 h 1016771"/>
                    <a:gd name="connsiteX82" fmla="*/ 579240 w 761692"/>
                    <a:gd name="connsiteY82" fmla="*/ 485358 h 1016771"/>
                    <a:gd name="connsiteX83" fmla="*/ 602268 w 761692"/>
                    <a:gd name="connsiteY83" fmla="*/ 483586 h 1016771"/>
                    <a:gd name="connsiteX84" fmla="*/ 623525 w 761692"/>
                    <a:gd name="connsiteY84" fmla="*/ 474730 h 1016771"/>
                    <a:gd name="connsiteX85" fmla="*/ 639467 w 761692"/>
                    <a:gd name="connsiteY85" fmla="*/ 464101 h 1016771"/>
                    <a:gd name="connsiteX86" fmla="*/ 662495 w 761692"/>
                    <a:gd name="connsiteY86" fmla="*/ 464101 h 1016771"/>
                    <a:gd name="connsiteX87" fmla="*/ 673123 w 761692"/>
                    <a:gd name="connsiteY87" fmla="*/ 464101 h 1016771"/>
                    <a:gd name="connsiteX88" fmla="*/ 681980 w 761692"/>
                    <a:gd name="connsiteY88" fmla="*/ 467644 h 1016771"/>
                    <a:gd name="connsiteX89" fmla="*/ 703237 w 761692"/>
                    <a:gd name="connsiteY89" fmla="*/ 471187 h 1016771"/>
                    <a:gd name="connsiteX90" fmla="*/ 708551 w 761692"/>
                    <a:gd name="connsiteY90" fmla="*/ 474730 h 1016771"/>
                    <a:gd name="connsiteX91" fmla="*/ 722722 w 761692"/>
                    <a:gd name="connsiteY91" fmla="*/ 501300 h 1016771"/>
                    <a:gd name="connsiteX92" fmla="*/ 724493 w 761692"/>
                    <a:gd name="connsiteY92" fmla="*/ 522557 h 1016771"/>
                    <a:gd name="connsiteX93" fmla="*/ 722722 w 761692"/>
                    <a:gd name="connsiteY93" fmla="*/ 540271 h 1016771"/>
                    <a:gd name="connsiteX94" fmla="*/ 735121 w 761692"/>
                    <a:gd name="connsiteY94" fmla="*/ 552670 h 1016771"/>
                    <a:gd name="connsiteX95" fmla="*/ 735121 w 761692"/>
                    <a:gd name="connsiteY95" fmla="*/ 570384 h 1016771"/>
                    <a:gd name="connsiteX96" fmla="*/ 751064 w 761692"/>
                    <a:gd name="connsiteY96" fmla="*/ 581012 h 1016771"/>
                    <a:gd name="connsiteX97" fmla="*/ 761692 w 761692"/>
                    <a:gd name="connsiteY97" fmla="*/ 604040 h 1016771"/>
                    <a:gd name="connsiteX98" fmla="*/ 747521 w 761692"/>
                    <a:gd name="connsiteY98" fmla="*/ 616440 h 1016771"/>
                    <a:gd name="connsiteX99" fmla="*/ 728036 w 761692"/>
                    <a:gd name="connsiteY99" fmla="*/ 627068 h 1016771"/>
                    <a:gd name="connsiteX100" fmla="*/ 726264 w 761692"/>
                    <a:gd name="connsiteY100" fmla="*/ 650096 h 1016771"/>
                    <a:gd name="connsiteX101" fmla="*/ 728036 w 761692"/>
                    <a:gd name="connsiteY101" fmla="*/ 673124 h 1016771"/>
                    <a:gd name="connsiteX102" fmla="*/ 742207 w 761692"/>
                    <a:gd name="connsiteY102" fmla="*/ 689066 h 1016771"/>
                    <a:gd name="connsiteX103" fmla="*/ 742207 w 761692"/>
                    <a:gd name="connsiteY103" fmla="*/ 712094 h 1016771"/>
                    <a:gd name="connsiteX104" fmla="*/ 740435 w 761692"/>
                    <a:gd name="connsiteY104" fmla="*/ 735122 h 1016771"/>
                    <a:gd name="connsiteX105" fmla="*/ 742207 w 761692"/>
                    <a:gd name="connsiteY105" fmla="*/ 751065 h 1016771"/>
                    <a:gd name="connsiteX106" fmla="*/ 747521 w 761692"/>
                    <a:gd name="connsiteY106" fmla="*/ 768778 h 1016771"/>
                    <a:gd name="connsiteX107" fmla="*/ 759921 w 761692"/>
                    <a:gd name="connsiteY107" fmla="*/ 777635 h 1016771"/>
                    <a:gd name="connsiteX108" fmla="*/ 758149 w 761692"/>
                    <a:gd name="connsiteY108" fmla="*/ 802434 h 1016771"/>
                    <a:gd name="connsiteX109" fmla="*/ 752835 w 761692"/>
                    <a:gd name="connsiteY109" fmla="*/ 814834 h 1016771"/>
                    <a:gd name="connsiteX110" fmla="*/ 743978 w 761692"/>
                    <a:gd name="connsiteY110" fmla="*/ 827234 h 1016771"/>
                    <a:gd name="connsiteX111" fmla="*/ 743978 w 761692"/>
                    <a:gd name="connsiteY111" fmla="*/ 837862 h 1016771"/>
                    <a:gd name="connsiteX112" fmla="*/ 747521 w 761692"/>
                    <a:gd name="connsiteY112" fmla="*/ 853804 h 1016771"/>
                    <a:gd name="connsiteX113" fmla="*/ 733350 w 761692"/>
                    <a:gd name="connsiteY113" fmla="*/ 867975 h 1016771"/>
                    <a:gd name="connsiteX114" fmla="*/ 724493 w 761692"/>
                    <a:gd name="connsiteY114" fmla="*/ 880375 h 1016771"/>
                    <a:gd name="connsiteX115" fmla="*/ 722722 w 761692"/>
                    <a:gd name="connsiteY115" fmla="*/ 899860 h 1016771"/>
                    <a:gd name="connsiteX116" fmla="*/ 722722 w 761692"/>
                    <a:gd name="connsiteY116" fmla="*/ 919345 h 1016771"/>
                    <a:gd name="connsiteX117" fmla="*/ 715636 w 761692"/>
                    <a:gd name="connsiteY117" fmla="*/ 940602 h 1016771"/>
                    <a:gd name="connsiteX118" fmla="*/ 708551 w 761692"/>
                    <a:gd name="connsiteY118" fmla="*/ 954773 h 1016771"/>
                    <a:gd name="connsiteX119" fmla="*/ 699694 w 761692"/>
                    <a:gd name="connsiteY119" fmla="*/ 965401 h 1016771"/>
                    <a:gd name="connsiteX120" fmla="*/ 692608 w 761692"/>
                    <a:gd name="connsiteY120" fmla="*/ 984886 h 1016771"/>
                    <a:gd name="connsiteX121" fmla="*/ 683751 w 761692"/>
                    <a:gd name="connsiteY121" fmla="*/ 997286 h 1016771"/>
                    <a:gd name="connsiteX122" fmla="*/ 673123 w 761692"/>
                    <a:gd name="connsiteY122" fmla="*/ 1002600 h 1016771"/>
                    <a:gd name="connsiteX123" fmla="*/ 662495 w 761692"/>
                    <a:gd name="connsiteY123" fmla="*/ 1013228 h 1016771"/>
                    <a:gd name="connsiteX124" fmla="*/ 644781 w 761692"/>
                    <a:gd name="connsiteY124" fmla="*/ 1016771 h 1016771"/>
                    <a:gd name="connsiteX125" fmla="*/ 635924 w 761692"/>
                    <a:gd name="connsiteY125" fmla="*/ 1004372 h 1016771"/>
                    <a:gd name="connsiteX126" fmla="*/ 623525 w 761692"/>
                    <a:gd name="connsiteY126" fmla="*/ 997286 h 1016771"/>
                    <a:gd name="connsiteX127" fmla="*/ 614668 w 761692"/>
                    <a:gd name="connsiteY127" fmla="*/ 986658 h 1016771"/>
                    <a:gd name="connsiteX128" fmla="*/ 593411 w 761692"/>
                    <a:gd name="connsiteY128" fmla="*/ 970715 h 1016771"/>
                    <a:gd name="connsiteX129" fmla="*/ 582783 w 761692"/>
                    <a:gd name="connsiteY129" fmla="*/ 965401 h 1016771"/>
                    <a:gd name="connsiteX130" fmla="*/ 531413 w 761692"/>
                    <a:gd name="connsiteY130" fmla="*/ 965401 h 1016771"/>
                    <a:gd name="connsiteX131" fmla="*/ 511928 w 761692"/>
                    <a:gd name="connsiteY131" fmla="*/ 965401 h 1016771"/>
                    <a:gd name="connsiteX132" fmla="*/ 492443 w 761692"/>
                    <a:gd name="connsiteY132" fmla="*/ 963630 h 1016771"/>
                    <a:gd name="connsiteX133" fmla="*/ 483586 w 761692"/>
                    <a:gd name="connsiteY133" fmla="*/ 958316 h 1016771"/>
                    <a:gd name="connsiteX134" fmla="*/ 469415 w 761692"/>
                    <a:gd name="connsiteY134" fmla="*/ 954773 h 1016771"/>
                    <a:gd name="connsiteX135" fmla="*/ 460558 w 761692"/>
                    <a:gd name="connsiteY135" fmla="*/ 942373 h 1016771"/>
                    <a:gd name="connsiteX136" fmla="*/ 446387 w 761692"/>
                    <a:gd name="connsiteY136" fmla="*/ 935288 h 1016771"/>
                    <a:gd name="connsiteX137" fmla="*/ 428673 w 761692"/>
                    <a:gd name="connsiteY137" fmla="*/ 928202 h 1016771"/>
                    <a:gd name="connsiteX138" fmla="*/ 418045 w 761692"/>
                    <a:gd name="connsiteY138" fmla="*/ 917574 h 1016771"/>
                    <a:gd name="connsiteX139" fmla="*/ 421588 w 761692"/>
                    <a:gd name="connsiteY139" fmla="*/ 903403 h 1016771"/>
                    <a:gd name="connsiteX140" fmla="*/ 418045 w 761692"/>
                    <a:gd name="connsiteY140" fmla="*/ 898089 h 1016771"/>
                    <a:gd name="connsiteX141" fmla="*/ 396788 w 761692"/>
                    <a:gd name="connsiteY141" fmla="*/ 898089 h 1016771"/>
                    <a:gd name="connsiteX142" fmla="*/ 382617 w 761692"/>
                    <a:gd name="connsiteY142" fmla="*/ 896318 h 1016771"/>
                    <a:gd name="connsiteX143" fmla="*/ 380846 w 761692"/>
                    <a:gd name="connsiteY143" fmla="*/ 906946 h 1016771"/>
                    <a:gd name="connsiteX144" fmla="*/ 373601 w 761692"/>
                    <a:gd name="connsiteY144" fmla="*/ 894832 h 1016771"/>
                    <a:gd name="connsiteX145" fmla="*/ 387164 w 761692"/>
                    <a:gd name="connsiteY145" fmla="*/ 896527 h 1016771"/>
                    <a:gd name="connsiteX146" fmla="*/ 383773 w 761692"/>
                    <a:gd name="connsiteY146" fmla="*/ 886355 h 1016771"/>
                    <a:gd name="connsiteX147" fmla="*/ 387164 w 761692"/>
                    <a:gd name="connsiteY147" fmla="*/ 876183 h 1016771"/>
                    <a:gd name="connsiteX148" fmla="*/ 388859 w 761692"/>
                    <a:gd name="connsiteY148" fmla="*/ 867707 h 1016771"/>
                    <a:gd name="connsiteX149" fmla="*/ 380382 w 761692"/>
                    <a:gd name="connsiteY149" fmla="*/ 859230 h 1016771"/>
                    <a:gd name="connsiteX150" fmla="*/ 373601 w 761692"/>
                    <a:gd name="connsiteY150" fmla="*/ 849058 h 1016771"/>
                    <a:gd name="connsiteX151" fmla="*/ 380382 w 761692"/>
                    <a:gd name="connsiteY151" fmla="*/ 838886 h 1016771"/>
                    <a:gd name="connsiteX152" fmla="*/ 383773 w 761692"/>
                    <a:gd name="connsiteY152" fmla="*/ 833800 h 1016771"/>
                    <a:gd name="connsiteX153" fmla="*/ 388859 w 761692"/>
                    <a:gd name="connsiteY153" fmla="*/ 825324 h 1016771"/>
                    <a:gd name="connsiteX154" fmla="*/ 387164 w 761692"/>
                    <a:gd name="connsiteY154" fmla="*/ 810066 h 1016771"/>
                    <a:gd name="connsiteX155" fmla="*/ 387164 w 761692"/>
                    <a:gd name="connsiteY155" fmla="*/ 796503 h 1016771"/>
                    <a:gd name="connsiteX156" fmla="*/ 378687 w 761692"/>
                    <a:gd name="connsiteY156" fmla="*/ 789722 h 1016771"/>
                    <a:gd name="connsiteX157" fmla="*/ 366820 w 761692"/>
                    <a:gd name="connsiteY157" fmla="*/ 782940 h 1016771"/>
                    <a:gd name="connsiteX158" fmla="*/ 356648 w 761692"/>
                    <a:gd name="connsiteY158" fmla="*/ 781245 h 1016771"/>
                    <a:gd name="connsiteX159" fmla="*/ 349866 w 761692"/>
                    <a:gd name="connsiteY159" fmla="*/ 771073 h 1016771"/>
                    <a:gd name="connsiteX160" fmla="*/ 349866 w 761692"/>
                    <a:gd name="connsiteY160" fmla="*/ 752425 h 1016771"/>
                    <a:gd name="connsiteX161" fmla="*/ 353257 w 761692"/>
                    <a:gd name="connsiteY161" fmla="*/ 743948 h 1016771"/>
                    <a:gd name="connsiteX162" fmla="*/ 354952 w 761692"/>
                    <a:gd name="connsiteY162" fmla="*/ 730385 h 1016771"/>
                    <a:gd name="connsiteX163" fmla="*/ 353257 w 761692"/>
                    <a:gd name="connsiteY163" fmla="*/ 713432 h 1016771"/>
                    <a:gd name="connsiteX164" fmla="*/ 346476 w 761692"/>
                    <a:gd name="connsiteY164" fmla="*/ 701565 h 1016771"/>
                    <a:gd name="connsiteX165" fmla="*/ 332913 w 761692"/>
                    <a:gd name="connsiteY165" fmla="*/ 689697 h 1016771"/>
                    <a:gd name="connsiteX166" fmla="*/ 324436 w 761692"/>
                    <a:gd name="connsiteY166" fmla="*/ 681221 h 1016771"/>
                    <a:gd name="connsiteX167" fmla="*/ 314264 w 761692"/>
                    <a:gd name="connsiteY167" fmla="*/ 676135 h 1016771"/>
                    <a:gd name="connsiteX168" fmla="*/ 293920 w 761692"/>
                    <a:gd name="connsiteY168" fmla="*/ 669354 h 1016771"/>
                    <a:gd name="connsiteX169" fmla="*/ 282053 w 761692"/>
                    <a:gd name="connsiteY169" fmla="*/ 667658 h 1016771"/>
                    <a:gd name="connsiteX170" fmla="*/ 266795 w 761692"/>
                    <a:gd name="connsiteY170" fmla="*/ 672744 h 1016771"/>
                    <a:gd name="connsiteX171" fmla="*/ 265100 w 761692"/>
                    <a:gd name="connsiteY171" fmla="*/ 672744 h 1016771"/>
                    <a:gd name="connsiteX172" fmla="*/ 263404 w 761692"/>
                    <a:gd name="connsiteY172" fmla="*/ 671049 h 1016771"/>
                    <a:gd name="connsiteX173" fmla="*/ 260014 w 761692"/>
                    <a:gd name="connsiteY173" fmla="*/ 671049 h 1016771"/>
                    <a:gd name="connsiteX174" fmla="*/ 258318 w 761692"/>
                    <a:gd name="connsiteY174" fmla="*/ 671049 h 1016771"/>
                    <a:gd name="connsiteX175" fmla="*/ 253232 w 761692"/>
                    <a:gd name="connsiteY175" fmla="*/ 671049 h 1016771"/>
                    <a:gd name="connsiteX176" fmla="*/ 248146 w 761692"/>
                    <a:gd name="connsiteY176" fmla="*/ 672744 h 1016771"/>
                    <a:gd name="connsiteX177" fmla="*/ 248146 w 761692"/>
                    <a:gd name="connsiteY177" fmla="*/ 674440 h 1016771"/>
                    <a:gd name="connsiteX178" fmla="*/ 246451 w 761692"/>
                    <a:gd name="connsiteY178" fmla="*/ 674440 h 1016771"/>
                    <a:gd name="connsiteX179" fmla="*/ 236279 w 761692"/>
                    <a:gd name="connsiteY179" fmla="*/ 679526 h 1016771"/>
                    <a:gd name="connsiteX180" fmla="*/ 226107 w 761692"/>
                    <a:gd name="connsiteY180" fmla="*/ 684612 h 1016771"/>
                    <a:gd name="connsiteX181" fmla="*/ 217630 w 761692"/>
                    <a:gd name="connsiteY181" fmla="*/ 684612 h 1016771"/>
                    <a:gd name="connsiteX182" fmla="*/ 207458 w 761692"/>
                    <a:gd name="connsiteY182" fmla="*/ 693088 h 1016771"/>
                    <a:gd name="connsiteX183" fmla="*/ 198982 w 761692"/>
                    <a:gd name="connsiteY183" fmla="*/ 694783 h 1016771"/>
                    <a:gd name="connsiteX184" fmla="*/ 192200 w 761692"/>
                    <a:gd name="connsiteY184" fmla="*/ 699869 h 1016771"/>
                    <a:gd name="connsiteX185" fmla="*/ 178638 w 761692"/>
                    <a:gd name="connsiteY185" fmla="*/ 706651 h 1016771"/>
                    <a:gd name="connsiteX186" fmla="*/ 163380 w 761692"/>
                    <a:gd name="connsiteY186" fmla="*/ 710041 h 1016771"/>
                    <a:gd name="connsiteX187" fmla="*/ 141340 w 761692"/>
                    <a:gd name="connsiteY187" fmla="*/ 710041 h 1016771"/>
                    <a:gd name="connsiteX188" fmla="*/ 134559 w 761692"/>
                    <a:gd name="connsiteY188" fmla="*/ 716823 h 1016771"/>
                    <a:gd name="connsiteX189" fmla="*/ 127778 w 761692"/>
                    <a:gd name="connsiteY189" fmla="*/ 718518 h 1016771"/>
                    <a:gd name="connsiteX190" fmla="*/ 120996 w 761692"/>
                    <a:gd name="connsiteY190" fmla="*/ 725299 h 1016771"/>
                    <a:gd name="connsiteX191" fmla="*/ 111172 w 761692"/>
                    <a:gd name="connsiteY191" fmla="*/ 733720 h 1016771"/>
                    <a:gd name="connsiteX192" fmla="*/ 106283 w 761692"/>
                    <a:gd name="connsiteY192" fmla="*/ 729808 h 1016771"/>
                    <a:gd name="connsiteX193" fmla="*/ 92112 w 761692"/>
                    <a:gd name="connsiteY193" fmla="*/ 724494 h 1016771"/>
                    <a:gd name="connsiteX194" fmla="*/ 77941 w 761692"/>
                    <a:gd name="connsiteY194" fmla="*/ 726265 h 1016771"/>
                    <a:gd name="connsiteX195" fmla="*/ 70855 w 761692"/>
                    <a:gd name="connsiteY195" fmla="*/ 719180 h 1016771"/>
                    <a:gd name="connsiteX196" fmla="*/ 70855 w 761692"/>
                    <a:gd name="connsiteY196" fmla="*/ 699695 h 1016771"/>
                    <a:gd name="connsiteX197" fmla="*/ 81483 w 761692"/>
                    <a:gd name="connsiteY197" fmla="*/ 685524 h 1016771"/>
                    <a:gd name="connsiteX198" fmla="*/ 85026 w 761692"/>
                    <a:gd name="connsiteY198" fmla="*/ 673124 h 1016771"/>
                    <a:gd name="connsiteX199" fmla="*/ 86797 w 761692"/>
                    <a:gd name="connsiteY199" fmla="*/ 660724 h 1016771"/>
                    <a:gd name="connsiteX200" fmla="*/ 97426 w 761692"/>
                    <a:gd name="connsiteY200" fmla="*/ 650096 h 1016771"/>
                    <a:gd name="connsiteX201" fmla="*/ 102740 w 761692"/>
                    <a:gd name="connsiteY201" fmla="*/ 635925 h 1016771"/>
                    <a:gd name="connsiteX202" fmla="*/ 113368 w 761692"/>
                    <a:gd name="connsiteY202" fmla="*/ 625297 h 1016771"/>
                    <a:gd name="connsiteX203" fmla="*/ 115139 w 761692"/>
                    <a:gd name="connsiteY203" fmla="*/ 612897 h 1016771"/>
                    <a:gd name="connsiteX204" fmla="*/ 127539 w 761692"/>
                    <a:gd name="connsiteY204" fmla="*/ 609354 h 1016771"/>
                    <a:gd name="connsiteX205" fmla="*/ 136396 w 761692"/>
                    <a:gd name="connsiteY205" fmla="*/ 604040 h 1016771"/>
                    <a:gd name="connsiteX206" fmla="*/ 132853 w 761692"/>
                    <a:gd name="connsiteY206" fmla="*/ 593412 h 1016771"/>
                    <a:gd name="connsiteX207" fmla="*/ 134625 w 761692"/>
                    <a:gd name="connsiteY207" fmla="*/ 584555 h 1016771"/>
                    <a:gd name="connsiteX208" fmla="*/ 131082 w 761692"/>
                    <a:gd name="connsiteY208" fmla="*/ 575698 h 1016771"/>
                    <a:gd name="connsiteX209" fmla="*/ 120454 w 761692"/>
                    <a:gd name="connsiteY209" fmla="*/ 568613 h 1016771"/>
                    <a:gd name="connsiteX210" fmla="*/ 125768 w 761692"/>
                    <a:gd name="connsiteY210" fmla="*/ 552670 h 1016771"/>
                    <a:gd name="connsiteX211" fmla="*/ 118682 w 761692"/>
                    <a:gd name="connsiteY211" fmla="*/ 543813 h 1016771"/>
                    <a:gd name="connsiteX212" fmla="*/ 90340 w 761692"/>
                    <a:gd name="connsiteY212" fmla="*/ 543813 h 1016771"/>
                    <a:gd name="connsiteX213" fmla="*/ 86797 w 761692"/>
                    <a:gd name="connsiteY213" fmla="*/ 542042 h 1016771"/>
                    <a:gd name="connsiteX214" fmla="*/ 83255 w 761692"/>
                    <a:gd name="connsiteY214" fmla="*/ 542042 h 1016771"/>
                    <a:gd name="connsiteX215" fmla="*/ 81483 w 761692"/>
                    <a:gd name="connsiteY215" fmla="*/ 540271 h 1016771"/>
                    <a:gd name="connsiteX216" fmla="*/ 81483 w 761692"/>
                    <a:gd name="connsiteY216" fmla="*/ 536728 h 1016771"/>
                    <a:gd name="connsiteX217" fmla="*/ 79712 w 761692"/>
                    <a:gd name="connsiteY217" fmla="*/ 531414 h 1016771"/>
                    <a:gd name="connsiteX218" fmla="*/ 77941 w 761692"/>
                    <a:gd name="connsiteY218" fmla="*/ 529642 h 1016771"/>
                    <a:gd name="connsiteX219" fmla="*/ 70855 w 761692"/>
                    <a:gd name="connsiteY219" fmla="*/ 527871 h 1016771"/>
                    <a:gd name="connsiteX220" fmla="*/ 60227 w 761692"/>
                    <a:gd name="connsiteY220" fmla="*/ 536728 h 1016771"/>
                    <a:gd name="connsiteX221" fmla="*/ 47827 w 761692"/>
                    <a:gd name="connsiteY221" fmla="*/ 526100 h 1016771"/>
                    <a:gd name="connsiteX222" fmla="*/ 42513 w 761692"/>
                    <a:gd name="connsiteY222" fmla="*/ 515471 h 1016771"/>
                    <a:gd name="connsiteX223" fmla="*/ 33656 w 761692"/>
                    <a:gd name="connsiteY223" fmla="*/ 506614 h 1016771"/>
                    <a:gd name="connsiteX224" fmla="*/ 31885 w 761692"/>
                    <a:gd name="connsiteY224" fmla="*/ 490672 h 1016771"/>
                    <a:gd name="connsiteX225" fmla="*/ 26571 w 761692"/>
                    <a:gd name="connsiteY225" fmla="*/ 476501 h 1016771"/>
                    <a:gd name="connsiteX226" fmla="*/ 24799 w 761692"/>
                    <a:gd name="connsiteY226" fmla="*/ 471187 h 1016771"/>
                    <a:gd name="connsiteX227" fmla="*/ 12400 w 761692"/>
                    <a:gd name="connsiteY227" fmla="*/ 472958 h 1016771"/>
                    <a:gd name="connsiteX228" fmla="*/ 7086 w 761692"/>
                    <a:gd name="connsiteY228" fmla="*/ 464101 h 1016771"/>
                    <a:gd name="connsiteX229" fmla="*/ 8857 w 761692"/>
                    <a:gd name="connsiteY229" fmla="*/ 446388 h 1016771"/>
                    <a:gd name="connsiteX230" fmla="*/ 3543 w 761692"/>
                    <a:gd name="connsiteY230" fmla="*/ 435759 h 1016771"/>
                    <a:gd name="connsiteX231" fmla="*/ 5314 w 761692"/>
                    <a:gd name="connsiteY231" fmla="*/ 412731 h 1016771"/>
                    <a:gd name="connsiteX232" fmla="*/ 0 w 761692"/>
                    <a:gd name="connsiteY232" fmla="*/ 396789 h 1016771"/>
                    <a:gd name="connsiteX233" fmla="*/ 3543 w 761692"/>
                    <a:gd name="connsiteY233" fmla="*/ 384389 h 1016771"/>
                    <a:gd name="connsiteX234" fmla="*/ 14171 w 761692"/>
                    <a:gd name="connsiteY234" fmla="*/ 380846 h 1016771"/>
                    <a:gd name="connsiteX235" fmla="*/ 24799 w 761692"/>
                    <a:gd name="connsiteY235" fmla="*/ 364904 h 1016771"/>
                    <a:gd name="connsiteX236" fmla="*/ 30113 w 761692"/>
                    <a:gd name="connsiteY236" fmla="*/ 350733 h 1016771"/>
                    <a:gd name="connsiteX237" fmla="*/ 35428 w 761692"/>
                    <a:gd name="connsiteY237" fmla="*/ 341876 h 1016771"/>
                    <a:gd name="connsiteX238" fmla="*/ 42513 w 761692"/>
                    <a:gd name="connsiteY238" fmla="*/ 327705 h 1016771"/>
                    <a:gd name="connsiteX239" fmla="*/ 42513 w 761692"/>
                    <a:gd name="connsiteY239" fmla="*/ 315305 h 1016771"/>
                    <a:gd name="connsiteX240" fmla="*/ 56684 w 761692"/>
                    <a:gd name="connsiteY240" fmla="*/ 309991 h 1016771"/>
                    <a:gd name="connsiteX241" fmla="*/ 60227 w 761692"/>
                    <a:gd name="connsiteY241" fmla="*/ 309991 h 1016771"/>
                    <a:gd name="connsiteX242" fmla="*/ 61998 w 761692"/>
                    <a:gd name="connsiteY242" fmla="*/ 311763 h 1016771"/>
                    <a:gd name="connsiteX243" fmla="*/ 67312 w 761692"/>
                    <a:gd name="connsiteY243" fmla="*/ 311763 h 1016771"/>
                    <a:gd name="connsiteX244" fmla="*/ 67312 w 761692"/>
                    <a:gd name="connsiteY244" fmla="*/ 309991 h 1016771"/>
                    <a:gd name="connsiteX245" fmla="*/ 67312 w 761692"/>
                    <a:gd name="connsiteY245" fmla="*/ 308220 h 1016771"/>
                    <a:gd name="connsiteX246" fmla="*/ 69084 w 761692"/>
                    <a:gd name="connsiteY246" fmla="*/ 302906 h 1016771"/>
                    <a:gd name="connsiteX247" fmla="*/ 70855 w 761692"/>
                    <a:gd name="connsiteY247" fmla="*/ 301134 h 1016771"/>
                    <a:gd name="connsiteX248" fmla="*/ 70855 w 761692"/>
                    <a:gd name="connsiteY248" fmla="*/ 299363 h 1016771"/>
                    <a:gd name="connsiteX249" fmla="*/ 77941 w 761692"/>
                    <a:gd name="connsiteY249" fmla="*/ 295820 h 1016771"/>
                    <a:gd name="connsiteX250" fmla="*/ 85026 w 761692"/>
                    <a:gd name="connsiteY250" fmla="*/ 295820 h 1016771"/>
                    <a:gd name="connsiteX251" fmla="*/ 93883 w 761692"/>
                    <a:gd name="connsiteY251" fmla="*/ 297592 h 1016771"/>
                    <a:gd name="connsiteX252" fmla="*/ 100968 w 761692"/>
                    <a:gd name="connsiteY252" fmla="*/ 288735 h 1016771"/>
                    <a:gd name="connsiteX253" fmla="*/ 97426 w 761692"/>
                    <a:gd name="connsiteY253" fmla="*/ 279878 h 1016771"/>
                    <a:gd name="connsiteX254" fmla="*/ 85026 w 761692"/>
                    <a:gd name="connsiteY254" fmla="*/ 276335 h 1016771"/>
                    <a:gd name="connsiteX255" fmla="*/ 76169 w 761692"/>
                    <a:gd name="connsiteY255" fmla="*/ 271021 h 1016771"/>
                    <a:gd name="connsiteX256" fmla="*/ 76169 w 761692"/>
                    <a:gd name="connsiteY256" fmla="*/ 262164 h 1016771"/>
                    <a:gd name="connsiteX257" fmla="*/ 81483 w 761692"/>
                    <a:gd name="connsiteY257" fmla="*/ 251536 h 1016771"/>
                    <a:gd name="connsiteX258" fmla="*/ 86797 w 761692"/>
                    <a:gd name="connsiteY258" fmla="*/ 255079 h 1016771"/>
                    <a:gd name="connsiteX259" fmla="*/ 104511 w 761692"/>
                    <a:gd name="connsiteY259" fmla="*/ 262164 h 1016771"/>
                    <a:gd name="connsiteX260" fmla="*/ 116911 w 761692"/>
                    <a:gd name="connsiteY260" fmla="*/ 265707 h 1016771"/>
                    <a:gd name="connsiteX261" fmla="*/ 132853 w 761692"/>
                    <a:gd name="connsiteY261" fmla="*/ 269250 h 1016771"/>
                    <a:gd name="connsiteX262" fmla="*/ 138167 w 761692"/>
                    <a:gd name="connsiteY262" fmla="*/ 265707 h 1016771"/>
                    <a:gd name="connsiteX263" fmla="*/ 150567 w 761692"/>
                    <a:gd name="connsiteY263" fmla="*/ 255079 h 1016771"/>
                    <a:gd name="connsiteX264" fmla="*/ 166509 w 761692"/>
                    <a:gd name="connsiteY264" fmla="*/ 255079 h 1016771"/>
                    <a:gd name="connsiteX265" fmla="*/ 166509 w 761692"/>
                    <a:gd name="connsiteY265" fmla="*/ 265707 h 1016771"/>
                    <a:gd name="connsiteX266" fmla="*/ 177138 w 761692"/>
                    <a:gd name="connsiteY266" fmla="*/ 272792 h 1016771"/>
                    <a:gd name="connsiteX267" fmla="*/ 194851 w 761692"/>
                    <a:gd name="connsiteY267" fmla="*/ 276335 h 1016771"/>
                    <a:gd name="connsiteX268" fmla="*/ 209022 w 761692"/>
                    <a:gd name="connsiteY268" fmla="*/ 279878 h 1016771"/>
                    <a:gd name="connsiteX269" fmla="*/ 221422 w 761692"/>
                    <a:gd name="connsiteY269" fmla="*/ 276335 h 1016771"/>
                    <a:gd name="connsiteX270" fmla="*/ 226736 w 761692"/>
                    <a:gd name="connsiteY270" fmla="*/ 269250 h 1016771"/>
                    <a:gd name="connsiteX271" fmla="*/ 226736 w 761692"/>
                    <a:gd name="connsiteY271" fmla="*/ 251536 h 1016771"/>
                    <a:gd name="connsiteX272" fmla="*/ 224965 w 761692"/>
                    <a:gd name="connsiteY272" fmla="*/ 239136 h 1016771"/>
                    <a:gd name="connsiteX273" fmla="*/ 214337 w 761692"/>
                    <a:gd name="connsiteY273" fmla="*/ 230279 h 1016771"/>
                    <a:gd name="connsiteX274" fmla="*/ 210794 w 761692"/>
                    <a:gd name="connsiteY274" fmla="*/ 217880 h 1016771"/>
                    <a:gd name="connsiteX275" fmla="*/ 221422 w 761692"/>
                    <a:gd name="connsiteY275" fmla="*/ 207251 h 1016771"/>
                    <a:gd name="connsiteX276" fmla="*/ 235593 w 761692"/>
                    <a:gd name="connsiteY276" fmla="*/ 214337 h 1016771"/>
                    <a:gd name="connsiteX277" fmla="*/ 246221 w 761692"/>
                    <a:gd name="connsiteY277" fmla="*/ 219651 h 1016771"/>
                    <a:gd name="connsiteX278" fmla="*/ 253307 w 761692"/>
                    <a:gd name="connsiteY278" fmla="*/ 221422 h 1016771"/>
                    <a:gd name="connsiteX279" fmla="*/ 262164 w 761692"/>
                    <a:gd name="connsiteY279" fmla="*/ 210794 h 1016771"/>
                    <a:gd name="connsiteX280" fmla="*/ 263935 w 761692"/>
                    <a:gd name="connsiteY280" fmla="*/ 201937 h 1016771"/>
                    <a:gd name="connsiteX281" fmla="*/ 274563 w 761692"/>
                    <a:gd name="connsiteY281" fmla="*/ 189538 h 1016771"/>
                    <a:gd name="connsiteX282" fmla="*/ 283420 w 761692"/>
                    <a:gd name="connsiteY282" fmla="*/ 178909 h 1016771"/>
                    <a:gd name="connsiteX283" fmla="*/ 286963 w 761692"/>
                    <a:gd name="connsiteY283" fmla="*/ 173595 h 1016771"/>
                    <a:gd name="connsiteX284" fmla="*/ 311762 w 761692"/>
                    <a:gd name="connsiteY284" fmla="*/ 168281 h 1016771"/>
                    <a:gd name="connsiteX285" fmla="*/ 325933 w 761692"/>
                    <a:gd name="connsiteY285" fmla="*/ 164738 h 1016771"/>
                    <a:gd name="connsiteX286" fmla="*/ 336562 w 761692"/>
                    <a:gd name="connsiteY286" fmla="*/ 159424 h 1016771"/>
                    <a:gd name="connsiteX287" fmla="*/ 348961 w 761692"/>
                    <a:gd name="connsiteY287" fmla="*/ 145253 h 1016771"/>
                    <a:gd name="connsiteX288" fmla="*/ 359589 w 761692"/>
                    <a:gd name="connsiteY288" fmla="*/ 143482 h 1016771"/>
                    <a:gd name="connsiteX289" fmla="*/ 371989 w 761692"/>
                    <a:gd name="connsiteY289" fmla="*/ 143482 h 1016771"/>
                    <a:gd name="connsiteX290" fmla="*/ 391474 w 761692"/>
                    <a:gd name="connsiteY290" fmla="*/ 143482 h 1016771"/>
                    <a:gd name="connsiteX291" fmla="*/ 396788 w 761692"/>
                    <a:gd name="connsiteY291" fmla="*/ 141710 h 1016771"/>
                    <a:gd name="connsiteX292" fmla="*/ 403874 w 761692"/>
                    <a:gd name="connsiteY292" fmla="*/ 134625 h 1016771"/>
                    <a:gd name="connsiteX293" fmla="*/ 409188 w 761692"/>
                    <a:gd name="connsiteY293" fmla="*/ 129311 h 1016771"/>
                    <a:gd name="connsiteX294" fmla="*/ 409188 w 761692"/>
                    <a:gd name="connsiteY294" fmla="*/ 123997 h 1016771"/>
                    <a:gd name="connsiteX295" fmla="*/ 414502 w 761692"/>
                    <a:gd name="connsiteY295" fmla="*/ 115140 h 1016771"/>
                    <a:gd name="connsiteX296" fmla="*/ 428673 w 761692"/>
                    <a:gd name="connsiteY296" fmla="*/ 115140 h 1016771"/>
                    <a:gd name="connsiteX297" fmla="*/ 432216 w 761692"/>
                    <a:gd name="connsiteY297" fmla="*/ 109826 h 1016771"/>
                    <a:gd name="connsiteX298" fmla="*/ 437530 w 761692"/>
                    <a:gd name="connsiteY298" fmla="*/ 100969 h 1016771"/>
                    <a:gd name="connsiteX299" fmla="*/ 448158 w 761692"/>
                    <a:gd name="connsiteY299" fmla="*/ 99197 h 1016771"/>
                    <a:gd name="connsiteX300" fmla="*/ 460558 w 761692"/>
                    <a:gd name="connsiteY300" fmla="*/ 97426 h 1016771"/>
                    <a:gd name="connsiteX301" fmla="*/ 472958 w 761692"/>
                    <a:gd name="connsiteY301" fmla="*/ 93883 h 1016771"/>
                    <a:gd name="connsiteX302" fmla="*/ 492443 w 761692"/>
                    <a:gd name="connsiteY302" fmla="*/ 93883 h 1016771"/>
                    <a:gd name="connsiteX303" fmla="*/ 501300 w 761692"/>
                    <a:gd name="connsiteY303" fmla="*/ 83255 h 1016771"/>
                    <a:gd name="connsiteX304" fmla="*/ 517242 w 761692"/>
                    <a:gd name="connsiteY304" fmla="*/ 81484 h 1016771"/>
                    <a:gd name="connsiteX305" fmla="*/ 522556 w 761692"/>
                    <a:gd name="connsiteY305" fmla="*/ 81484 h 1016771"/>
                    <a:gd name="connsiteX306" fmla="*/ 522556 w 761692"/>
                    <a:gd name="connsiteY306" fmla="*/ 60227 h 1016771"/>
                    <a:gd name="connsiteX307" fmla="*/ 526099 w 761692"/>
                    <a:gd name="connsiteY307" fmla="*/ 54913 h 1016771"/>
                    <a:gd name="connsiteX308" fmla="*/ 529642 w 761692"/>
                    <a:gd name="connsiteY308" fmla="*/ 46056 h 1016771"/>
                    <a:gd name="connsiteX309" fmla="*/ 538499 w 761692"/>
                    <a:gd name="connsiteY309" fmla="*/ 40742 h 1016771"/>
                    <a:gd name="connsiteX310" fmla="*/ 540270 w 761692"/>
                    <a:gd name="connsiteY310" fmla="*/ 30114 h 1016771"/>
                    <a:gd name="connsiteX311" fmla="*/ 536727 w 761692"/>
                    <a:gd name="connsiteY311" fmla="*/ 19485 h 1016771"/>
                    <a:gd name="connsiteX312" fmla="*/ 543813 w 761692"/>
                    <a:gd name="connsiteY312" fmla="*/ 5314 h 1016771"/>
                    <a:gd name="connsiteX313" fmla="*/ 554441 w 761692"/>
                    <a:gd name="connsiteY313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9645 w 761692"/>
                    <a:gd name="connsiteY9" fmla="*/ 860925 h 1016771"/>
                    <a:gd name="connsiteX10" fmla="*/ 148122 w 761692"/>
                    <a:gd name="connsiteY10" fmla="*/ 867707 h 1016771"/>
                    <a:gd name="connsiteX11" fmla="*/ 175247 w 761692"/>
                    <a:gd name="connsiteY11" fmla="*/ 889746 h 1016771"/>
                    <a:gd name="connsiteX12" fmla="*/ 157653 w 761692"/>
                    <a:gd name="connsiteY12" fmla="*/ 880375 h 1016771"/>
                    <a:gd name="connsiteX13" fmla="*/ 147024 w 761692"/>
                    <a:gd name="connsiteY13" fmla="*/ 867975 h 1016771"/>
                    <a:gd name="connsiteX14" fmla="*/ 138167 w 761692"/>
                    <a:gd name="connsiteY14" fmla="*/ 860890 h 1016771"/>
                    <a:gd name="connsiteX15" fmla="*/ 138167 w 761692"/>
                    <a:gd name="connsiteY15" fmla="*/ 852033 h 1016771"/>
                    <a:gd name="connsiteX16" fmla="*/ 139939 w 761692"/>
                    <a:gd name="connsiteY16" fmla="*/ 850262 h 1016771"/>
                    <a:gd name="connsiteX17" fmla="*/ 139939 w 761692"/>
                    <a:gd name="connsiteY17" fmla="*/ 848490 h 1016771"/>
                    <a:gd name="connsiteX18" fmla="*/ 145253 w 761692"/>
                    <a:gd name="connsiteY18" fmla="*/ 843176 h 1016771"/>
                    <a:gd name="connsiteX19" fmla="*/ 147024 w 761692"/>
                    <a:gd name="connsiteY19" fmla="*/ 841405 h 1016771"/>
                    <a:gd name="connsiteX20" fmla="*/ 148796 w 761692"/>
                    <a:gd name="connsiteY20" fmla="*/ 839633 h 1016771"/>
                    <a:gd name="connsiteX21" fmla="*/ 150567 w 761692"/>
                    <a:gd name="connsiteY21" fmla="*/ 837862 h 1016771"/>
                    <a:gd name="connsiteX22" fmla="*/ 159250 w 761692"/>
                    <a:gd name="connsiteY22" fmla="*/ 829179 h 1016771"/>
                    <a:gd name="connsiteX23" fmla="*/ 116476 w 761692"/>
                    <a:gd name="connsiteY23" fmla="*/ 741349 h 1016771"/>
                    <a:gd name="connsiteX24" fmla="*/ 117606 w 761692"/>
                    <a:gd name="connsiteY24" fmla="*/ 742253 h 1016771"/>
                    <a:gd name="connsiteX25" fmla="*/ 122692 w 761692"/>
                    <a:gd name="connsiteY25" fmla="*/ 759206 h 1016771"/>
                    <a:gd name="connsiteX26" fmla="*/ 126082 w 761692"/>
                    <a:gd name="connsiteY26" fmla="*/ 771073 h 1016771"/>
                    <a:gd name="connsiteX27" fmla="*/ 129473 w 761692"/>
                    <a:gd name="connsiteY27" fmla="*/ 782940 h 1016771"/>
                    <a:gd name="connsiteX28" fmla="*/ 132864 w 761692"/>
                    <a:gd name="connsiteY28" fmla="*/ 793112 h 1016771"/>
                    <a:gd name="connsiteX29" fmla="*/ 136254 w 761692"/>
                    <a:gd name="connsiteY29" fmla="*/ 810066 h 1016771"/>
                    <a:gd name="connsiteX30" fmla="*/ 139058 w 761692"/>
                    <a:gd name="connsiteY30" fmla="*/ 818476 h 1016771"/>
                    <a:gd name="connsiteX31" fmla="*/ 138167 w 761692"/>
                    <a:gd name="connsiteY31" fmla="*/ 818377 h 1016771"/>
                    <a:gd name="connsiteX32" fmla="*/ 134625 w 761692"/>
                    <a:gd name="connsiteY32" fmla="*/ 807749 h 1016771"/>
                    <a:gd name="connsiteX33" fmla="*/ 131082 w 761692"/>
                    <a:gd name="connsiteY33" fmla="*/ 790035 h 1016771"/>
                    <a:gd name="connsiteX34" fmla="*/ 127539 w 761692"/>
                    <a:gd name="connsiteY34" fmla="*/ 779407 h 1016771"/>
                    <a:gd name="connsiteX35" fmla="*/ 123996 w 761692"/>
                    <a:gd name="connsiteY35" fmla="*/ 767007 h 1016771"/>
                    <a:gd name="connsiteX36" fmla="*/ 120454 w 761692"/>
                    <a:gd name="connsiteY36" fmla="*/ 754607 h 1016771"/>
                    <a:gd name="connsiteX37" fmla="*/ 116476 w 761692"/>
                    <a:gd name="connsiteY37" fmla="*/ 741349 h 1016771"/>
                    <a:gd name="connsiteX38" fmla="*/ 554441 w 761692"/>
                    <a:gd name="connsiteY38" fmla="*/ 0 h 1016771"/>
                    <a:gd name="connsiteX39" fmla="*/ 570383 w 761692"/>
                    <a:gd name="connsiteY39" fmla="*/ 3543 h 1016771"/>
                    <a:gd name="connsiteX40" fmla="*/ 577469 w 761692"/>
                    <a:gd name="connsiteY40" fmla="*/ 8857 h 1016771"/>
                    <a:gd name="connsiteX41" fmla="*/ 582783 w 761692"/>
                    <a:gd name="connsiteY41" fmla="*/ 17714 h 1016771"/>
                    <a:gd name="connsiteX42" fmla="*/ 582783 w 761692"/>
                    <a:gd name="connsiteY42" fmla="*/ 24799 h 1016771"/>
                    <a:gd name="connsiteX43" fmla="*/ 588097 w 761692"/>
                    <a:gd name="connsiteY43" fmla="*/ 33656 h 1016771"/>
                    <a:gd name="connsiteX44" fmla="*/ 598725 w 761692"/>
                    <a:gd name="connsiteY44" fmla="*/ 31885 h 1016771"/>
                    <a:gd name="connsiteX45" fmla="*/ 612896 w 761692"/>
                    <a:gd name="connsiteY45" fmla="*/ 37199 h 1016771"/>
                    <a:gd name="connsiteX46" fmla="*/ 618211 w 761692"/>
                    <a:gd name="connsiteY46" fmla="*/ 46056 h 1016771"/>
                    <a:gd name="connsiteX47" fmla="*/ 619982 w 761692"/>
                    <a:gd name="connsiteY47" fmla="*/ 54913 h 1016771"/>
                    <a:gd name="connsiteX48" fmla="*/ 618211 w 761692"/>
                    <a:gd name="connsiteY48" fmla="*/ 74398 h 1016771"/>
                    <a:gd name="connsiteX49" fmla="*/ 616439 w 761692"/>
                    <a:gd name="connsiteY49" fmla="*/ 85026 h 1016771"/>
                    <a:gd name="connsiteX50" fmla="*/ 621753 w 761692"/>
                    <a:gd name="connsiteY50" fmla="*/ 97426 h 1016771"/>
                    <a:gd name="connsiteX51" fmla="*/ 637696 w 761692"/>
                    <a:gd name="connsiteY51" fmla="*/ 113368 h 1016771"/>
                    <a:gd name="connsiteX52" fmla="*/ 644781 w 761692"/>
                    <a:gd name="connsiteY52" fmla="*/ 120454 h 1016771"/>
                    <a:gd name="connsiteX53" fmla="*/ 650095 w 761692"/>
                    <a:gd name="connsiteY53" fmla="*/ 136396 h 1016771"/>
                    <a:gd name="connsiteX54" fmla="*/ 655409 w 761692"/>
                    <a:gd name="connsiteY54" fmla="*/ 155881 h 1016771"/>
                    <a:gd name="connsiteX55" fmla="*/ 662495 w 761692"/>
                    <a:gd name="connsiteY55" fmla="*/ 171824 h 1016771"/>
                    <a:gd name="connsiteX56" fmla="*/ 660724 w 761692"/>
                    <a:gd name="connsiteY56" fmla="*/ 185995 h 1016771"/>
                    <a:gd name="connsiteX57" fmla="*/ 635924 w 761692"/>
                    <a:gd name="connsiteY57" fmla="*/ 194852 h 1016771"/>
                    <a:gd name="connsiteX58" fmla="*/ 619982 w 761692"/>
                    <a:gd name="connsiteY58" fmla="*/ 207251 h 1016771"/>
                    <a:gd name="connsiteX59" fmla="*/ 614668 w 761692"/>
                    <a:gd name="connsiteY59" fmla="*/ 223194 h 1016771"/>
                    <a:gd name="connsiteX60" fmla="*/ 618211 w 761692"/>
                    <a:gd name="connsiteY60" fmla="*/ 242679 h 1016771"/>
                    <a:gd name="connsiteX61" fmla="*/ 612896 w 761692"/>
                    <a:gd name="connsiteY61" fmla="*/ 256850 h 1016771"/>
                    <a:gd name="connsiteX62" fmla="*/ 625296 w 761692"/>
                    <a:gd name="connsiteY62" fmla="*/ 267478 h 1016771"/>
                    <a:gd name="connsiteX63" fmla="*/ 641238 w 761692"/>
                    <a:gd name="connsiteY63" fmla="*/ 269250 h 1016771"/>
                    <a:gd name="connsiteX64" fmla="*/ 658952 w 761692"/>
                    <a:gd name="connsiteY64" fmla="*/ 286963 h 1016771"/>
                    <a:gd name="connsiteX65" fmla="*/ 653638 w 761692"/>
                    <a:gd name="connsiteY65" fmla="*/ 309991 h 1016771"/>
                    <a:gd name="connsiteX66" fmla="*/ 653638 w 761692"/>
                    <a:gd name="connsiteY66" fmla="*/ 329476 h 1016771"/>
                    <a:gd name="connsiteX67" fmla="*/ 643010 w 761692"/>
                    <a:gd name="connsiteY67" fmla="*/ 338333 h 1016771"/>
                    <a:gd name="connsiteX68" fmla="*/ 632382 w 761692"/>
                    <a:gd name="connsiteY68" fmla="*/ 338333 h 1016771"/>
                    <a:gd name="connsiteX69" fmla="*/ 618211 w 761692"/>
                    <a:gd name="connsiteY69" fmla="*/ 357819 h 1016771"/>
                    <a:gd name="connsiteX70" fmla="*/ 609354 w 761692"/>
                    <a:gd name="connsiteY70" fmla="*/ 361361 h 1016771"/>
                    <a:gd name="connsiteX71" fmla="*/ 596954 w 761692"/>
                    <a:gd name="connsiteY71" fmla="*/ 363133 h 1016771"/>
                    <a:gd name="connsiteX72" fmla="*/ 581012 w 761692"/>
                    <a:gd name="connsiteY72" fmla="*/ 379075 h 1016771"/>
                    <a:gd name="connsiteX73" fmla="*/ 589868 w 761692"/>
                    <a:gd name="connsiteY73" fmla="*/ 393246 h 1016771"/>
                    <a:gd name="connsiteX74" fmla="*/ 586326 w 761692"/>
                    <a:gd name="connsiteY74" fmla="*/ 409189 h 1016771"/>
                    <a:gd name="connsiteX75" fmla="*/ 570383 w 761692"/>
                    <a:gd name="connsiteY75" fmla="*/ 398560 h 1016771"/>
                    <a:gd name="connsiteX76" fmla="*/ 550898 w 761692"/>
                    <a:gd name="connsiteY76" fmla="*/ 405646 h 1016771"/>
                    <a:gd name="connsiteX77" fmla="*/ 531413 w 761692"/>
                    <a:gd name="connsiteY77" fmla="*/ 425131 h 1016771"/>
                    <a:gd name="connsiteX78" fmla="*/ 543813 w 761692"/>
                    <a:gd name="connsiteY78" fmla="*/ 444616 h 1016771"/>
                    <a:gd name="connsiteX79" fmla="*/ 557984 w 761692"/>
                    <a:gd name="connsiteY79" fmla="*/ 462330 h 1016771"/>
                    <a:gd name="connsiteX80" fmla="*/ 570383 w 761692"/>
                    <a:gd name="connsiteY80" fmla="*/ 478272 h 1016771"/>
                    <a:gd name="connsiteX81" fmla="*/ 579240 w 761692"/>
                    <a:gd name="connsiteY81" fmla="*/ 485358 h 1016771"/>
                    <a:gd name="connsiteX82" fmla="*/ 602268 w 761692"/>
                    <a:gd name="connsiteY82" fmla="*/ 483586 h 1016771"/>
                    <a:gd name="connsiteX83" fmla="*/ 623525 w 761692"/>
                    <a:gd name="connsiteY83" fmla="*/ 474730 h 1016771"/>
                    <a:gd name="connsiteX84" fmla="*/ 639467 w 761692"/>
                    <a:gd name="connsiteY84" fmla="*/ 464101 h 1016771"/>
                    <a:gd name="connsiteX85" fmla="*/ 662495 w 761692"/>
                    <a:gd name="connsiteY85" fmla="*/ 464101 h 1016771"/>
                    <a:gd name="connsiteX86" fmla="*/ 673123 w 761692"/>
                    <a:gd name="connsiteY86" fmla="*/ 464101 h 1016771"/>
                    <a:gd name="connsiteX87" fmla="*/ 681980 w 761692"/>
                    <a:gd name="connsiteY87" fmla="*/ 467644 h 1016771"/>
                    <a:gd name="connsiteX88" fmla="*/ 703237 w 761692"/>
                    <a:gd name="connsiteY88" fmla="*/ 471187 h 1016771"/>
                    <a:gd name="connsiteX89" fmla="*/ 708551 w 761692"/>
                    <a:gd name="connsiteY89" fmla="*/ 474730 h 1016771"/>
                    <a:gd name="connsiteX90" fmla="*/ 722722 w 761692"/>
                    <a:gd name="connsiteY90" fmla="*/ 501300 h 1016771"/>
                    <a:gd name="connsiteX91" fmla="*/ 724493 w 761692"/>
                    <a:gd name="connsiteY91" fmla="*/ 522557 h 1016771"/>
                    <a:gd name="connsiteX92" fmla="*/ 722722 w 761692"/>
                    <a:gd name="connsiteY92" fmla="*/ 540271 h 1016771"/>
                    <a:gd name="connsiteX93" fmla="*/ 735121 w 761692"/>
                    <a:gd name="connsiteY93" fmla="*/ 552670 h 1016771"/>
                    <a:gd name="connsiteX94" fmla="*/ 735121 w 761692"/>
                    <a:gd name="connsiteY94" fmla="*/ 570384 h 1016771"/>
                    <a:gd name="connsiteX95" fmla="*/ 751064 w 761692"/>
                    <a:gd name="connsiteY95" fmla="*/ 581012 h 1016771"/>
                    <a:gd name="connsiteX96" fmla="*/ 761692 w 761692"/>
                    <a:gd name="connsiteY96" fmla="*/ 604040 h 1016771"/>
                    <a:gd name="connsiteX97" fmla="*/ 747521 w 761692"/>
                    <a:gd name="connsiteY97" fmla="*/ 616440 h 1016771"/>
                    <a:gd name="connsiteX98" fmla="*/ 728036 w 761692"/>
                    <a:gd name="connsiteY98" fmla="*/ 627068 h 1016771"/>
                    <a:gd name="connsiteX99" fmla="*/ 726264 w 761692"/>
                    <a:gd name="connsiteY99" fmla="*/ 650096 h 1016771"/>
                    <a:gd name="connsiteX100" fmla="*/ 728036 w 761692"/>
                    <a:gd name="connsiteY100" fmla="*/ 673124 h 1016771"/>
                    <a:gd name="connsiteX101" fmla="*/ 742207 w 761692"/>
                    <a:gd name="connsiteY101" fmla="*/ 689066 h 1016771"/>
                    <a:gd name="connsiteX102" fmla="*/ 742207 w 761692"/>
                    <a:gd name="connsiteY102" fmla="*/ 712094 h 1016771"/>
                    <a:gd name="connsiteX103" fmla="*/ 740435 w 761692"/>
                    <a:gd name="connsiteY103" fmla="*/ 735122 h 1016771"/>
                    <a:gd name="connsiteX104" fmla="*/ 742207 w 761692"/>
                    <a:gd name="connsiteY104" fmla="*/ 751065 h 1016771"/>
                    <a:gd name="connsiteX105" fmla="*/ 747521 w 761692"/>
                    <a:gd name="connsiteY105" fmla="*/ 768778 h 1016771"/>
                    <a:gd name="connsiteX106" fmla="*/ 759921 w 761692"/>
                    <a:gd name="connsiteY106" fmla="*/ 777635 h 1016771"/>
                    <a:gd name="connsiteX107" fmla="*/ 758149 w 761692"/>
                    <a:gd name="connsiteY107" fmla="*/ 802434 h 1016771"/>
                    <a:gd name="connsiteX108" fmla="*/ 752835 w 761692"/>
                    <a:gd name="connsiteY108" fmla="*/ 814834 h 1016771"/>
                    <a:gd name="connsiteX109" fmla="*/ 743978 w 761692"/>
                    <a:gd name="connsiteY109" fmla="*/ 827234 h 1016771"/>
                    <a:gd name="connsiteX110" fmla="*/ 743978 w 761692"/>
                    <a:gd name="connsiteY110" fmla="*/ 837862 h 1016771"/>
                    <a:gd name="connsiteX111" fmla="*/ 747521 w 761692"/>
                    <a:gd name="connsiteY111" fmla="*/ 853804 h 1016771"/>
                    <a:gd name="connsiteX112" fmla="*/ 733350 w 761692"/>
                    <a:gd name="connsiteY112" fmla="*/ 867975 h 1016771"/>
                    <a:gd name="connsiteX113" fmla="*/ 724493 w 761692"/>
                    <a:gd name="connsiteY113" fmla="*/ 880375 h 1016771"/>
                    <a:gd name="connsiteX114" fmla="*/ 722722 w 761692"/>
                    <a:gd name="connsiteY114" fmla="*/ 899860 h 1016771"/>
                    <a:gd name="connsiteX115" fmla="*/ 722722 w 761692"/>
                    <a:gd name="connsiteY115" fmla="*/ 919345 h 1016771"/>
                    <a:gd name="connsiteX116" fmla="*/ 715636 w 761692"/>
                    <a:gd name="connsiteY116" fmla="*/ 940602 h 1016771"/>
                    <a:gd name="connsiteX117" fmla="*/ 708551 w 761692"/>
                    <a:gd name="connsiteY117" fmla="*/ 954773 h 1016771"/>
                    <a:gd name="connsiteX118" fmla="*/ 699694 w 761692"/>
                    <a:gd name="connsiteY118" fmla="*/ 965401 h 1016771"/>
                    <a:gd name="connsiteX119" fmla="*/ 692608 w 761692"/>
                    <a:gd name="connsiteY119" fmla="*/ 984886 h 1016771"/>
                    <a:gd name="connsiteX120" fmla="*/ 683751 w 761692"/>
                    <a:gd name="connsiteY120" fmla="*/ 997286 h 1016771"/>
                    <a:gd name="connsiteX121" fmla="*/ 673123 w 761692"/>
                    <a:gd name="connsiteY121" fmla="*/ 1002600 h 1016771"/>
                    <a:gd name="connsiteX122" fmla="*/ 662495 w 761692"/>
                    <a:gd name="connsiteY122" fmla="*/ 1013228 h 1016771"/>
                    <a:gd name="connsiteX123" fmla="*/ 644781 w 761692"/>
                    <a:gd name="connsiteY123" fmla="*/ 1016771 h 1016771"/>
                    <a:gd name="connsiteX124" fmla="*/ 635924 w 761692"/>
                    <a:gd name="connsiteY124" fmla="*/ 1004372 h 1016771"/>
                    <a:gd name="connsiteX125" fmla="*/ 623525 w 761692"/>
                    <a:gd name="connsiteY125" fmla="*/ 997286 h 1016771"/>
                    <a:gd name="connsiteX126" fmla="*/ 614668 w 761692"/>
                    <a:gd name="connsiteY126" fmla="*/ 986658 h 1016771"/>
                    <a:gd name="connsiteX127" fmla="*/ 593411 w 761692"/>
                    <a:gd name="connsiteY127" fmla="*/ 970715 h 1016771"/>
                    <a:gd name="connsiteX128" fmla="*/ 582783 w 761692"/>
                    <a:gd name="connsiteY128" fmla="*/ 965401 h 1016771"/>
                    <a:gd name="connsiteX129" fmla="*/ 531413 w 761692"/>
                    <a:gd name="connsiteY129" fmla="*/ 965401 h 1016771"/>
                    <a:gd name="connsiteX130" fmla="*/ 511928 w 761692"/>
                    <a:gd name="connsiteY130" fmla="*/ 965401 h 1016771"/>
                    <a:gd name="connsiteX131" fmla="*/ 492443 w 761692"/>
                    <a:gd name="connsiteY131" fmla="*/ 963630 h 1016771"/>
                    <a:gd name="connsiteX132" fmla="*/ 483586 w 761692"/>
                    <a:gd name="connsiteY132" fmla="*/ 958316 h 1016771"/>
                    <a:gd name="connsiteX133" fmla="*/ 469415 w 761692"/>
                    <a:gd name="connsiteY133" fmla="*/ 954773 h 1016771"/>
                    <a:gd name="connsiteX134" fmla="*/ 460558 w 761692"/>
                    <a:gd name="connsiteY134" fmla="*/ 942373 h 1016771"/>
                    <a:gd name="connsiteX135" fmla="*/ 446387 w 761692"/>
                    <a:gd name="connsiteY135" fmla="*/ 935288 h 1016771"/>
                    <a:gd name="connsiteX136" fmla="*/ 428673 w 761692"/>
                    <a:gd name="connsiteY136" fmla="*/ 928202 h 1016771"/>
                    <a:gd name="connsiteX137" fmla="*/ 418045 w 761692"/>
                    <a:gd name="connsiteY137" fmla="*/ 917574 h 1016771"/>
                    <a:gd name="connsiteX138" fmla="*/ 421588 w 761692"/>
                    <a:gd name="connsiteY138" fmla="*/ 903403 h 1016771"/>
                    <a:gd name="connsiteX139" fmla="*/ 418045 w 761692"/>
                    <a:gd name="connsiteY139" fmla="*/ 898089 h 1016771"/>
                    <a:gd name="connsiteX140" fmla="*/ 396788 w 761692"/>
                    <a:gd name="connsiteY140" fmla="*/ 898089 h 1016771"/>
                    <a:gd name="connsiteX141" fmla="*/ 382617 w 761692"/>
                    <a:gd name="connsiteY141" fmla="*/ 896318 h 1016771"/>
                    <a:gd name="connsiteX142" fmla="*/ 380846 w 761692"/>
                    <a:gd name="connsiteY142" fmla="*/ 906946 h 1016771"/>
                    <a:gd name="connsiteX143" fmla="*/ 373601 w 761692"/>
                    <a:gd name="connsiteY143" fmla="*/ 894832 h 1016771"/>
                    <a:gd name="connsiteX144" fmla="*/ 387164 w 761692"/>
                    <a:gd name="connsiteY144" fmla="*/ 896527 h 1016771"/>
                    <a:gd name="connsiteX145" fmla="*/ 383773 w 761692"/>
                    <a:gd name="connsiteY145" fmla="*/ 886355 h 1016771"/>
                    <a:gd name="connsiteX146" fmla="*/ 387164 w 761692"/>
                    <a:gd name="connsiteY146" fmla="*/ 876183 h 1016771"/>
                    <a:gd name="connsiteX147" fmla="*/ 388859 w 761692"/>
                    <a:gd name="connsiteY147" fmla="*/ 867707 h 1016771"/>
                    <a:gd name="connsiteX148" fmla="*/ 380382 w 761692"/>
                    <a:gd name="connsiteY148" fmla="*/ 859230 h 1016771"/>
                    <a:gd name="connsiteX149" fmla="*/ 373601 w 761692"/>
                    <a:gd name="connsiteY149" fmla="*/ 849058 h 1016771"/>
                    <a:gd name="connsiteX150" fmla="*/ 380382 w 761692"/>
                    <a:gd name="connsiteY150" fmla="*/ 838886 h 1016771"/>
                    <a:gd name="connsiteX151" fmla="*/ 383773 w 761692"/>
                    <a:gd name="connsiteY151" fmla="*/ 833800 h 1016771"/>
                    <a:gd name="connsiteX152" fmla="*/ 388859 w 761692"/>
                    <a:gd name="connsiteY152" fmla="*/ 825324 h 1016771"/>
                    <a:gd name="connsiteX153" fmla="*/ 387164 w 761692"/>
                    <a:gd name="connsiteY153" fmla="*/ 810066 h 1016771"/>
                    <a:gd name="connsiteX154" fmla="*/ 387164 w 761692"/>
                    <a:gd name="connsiteY154" fmla="*/ 796503 h 1016771"/>
                    <a:gd name="connsiteX155" fmla="*/ 378687 w 761692"/>
                    <a:gd name="connsiteY155" fmla="*/ 789722 h 1016771"/>
                    <a:gd name="connsiteX156" fmla="*/ 366820 w 761692"/>
                    <a:gd name="connsiteY156" fmla="*/ 782940 h 1016771"/>
                    <a:gd name="connsiteX157" fmla="*/ 356648 w 761692"/>
                    <a:gd name="connsiteY157" fmla="*/ 781245 h 1016771"/>
                    <a:gd name="connsiteX158" fmla="*/ 349866 w 761692"/>
                    <a:gd name="connsiteY158" fmla="*/ 771073 h 1016771"/>
                    <a:gd name="connsiteX159" fmla="*/ 349866 w 761692"/>
                    <a:gd name="connsiteY159" fmla="*/ 752425 h 1016771"/>
                    <a:gd name="connsiteX160" fmla="*/ 353257 w 761692"/>
                    <a:gd name="connsiteY160" fmla="*/ 743948 h 1016771"/>
                    <a:gd name="connsiteX161" fmla="*/ 354952 w 761692"/>
                    <a:gd name="connsiteY161" fmla="*/ 730385 h 1016771"/>
                    <a:gd name="connsiteX162" fmla="*/ 353257 w 761692"/>
                    <a:gd name="connsiteY162" fmla="*/ 713432 h 1016771"/>
                    <a:gd name="connsiteX163" fmla="*/ 346476 w 761692"/>
                    <a:gd name="connsiteY163" fmla="*/ 701565 h 1016771"/>
                    <a:gd name="connsiteX164" fmla="*/ 332913 w 761692"/>
                    <a:gd name="connsiteY164" fmla="*/ 689697 h 1016771"/>
                    <a:gd name="connsiteX165" fmla="*/ 324436 w 761692"/>
                    <a:gd name="connsiteY165" fmla="*/ 681221 h 1016771"/>
                    <a:gd name="connsiteX166" fmla="*/ 314264 w 761692"/>
                    <a:gd name="connsiteY166" fmla="*/ 676135 h 1016771"/>
                    <a:gd name="connsiteX167" fmla="*/ 293920 w 761692"/>
                    <a:gd name="connsiteY167" fmla="*/ 669354 h 1016771"/>
                    <a:gd name="connsiteX168" fmla="*/ 282053 w 761692"/>
                    <a:gd name="connsiteY168" fmla="*/ 667658 h 1016771"/>
                    <a:gd name="connsiteX169" fmla="*/ 266795 w 761692"/>
                    <a:gd name="connsiteY169" fmla="*/ 672744 h 1016771"/>
                    <a:gd name="connsiteX170" fmla="*/ 265100 w 761692"/>
                    <a:gd name="connsiteY170" fmla="*/ 672744 h 1016771"/>
                    <a:gd name="connsiteX171" fmla="*/ 263404 w 761692"/>
                    <a:gd name="connsiteY171" fmla="*/ 671049 h 1016771"/>
                    <a:gd name="connsiteX172" fmla="*/ 260014 w 761692"/>
                    <a:gd name="connsiteY172" fmla="*/ 671049 h 1016771"/>
                    <a:gd name="connsiteX173" fmla="*/ 258318 w 761692"/>
                    <a:gd name="connsiteY173" fmla="*/ 671049 h 1016771"/>
                    <a:gd name="connsiteX174" fmla="*/ 253232 w 761692"/>
                    <a:gd name="connsiteY174" fmla="*/ 671049 h 1016771"/>
                    <a:gd name="connsiteX175" fmla="*/ 248146 w 761692"/>
                    <a:gd name="connsiteY175" fmla="*/ 672744 h 1016771"/>
                    <a:gd name="connsiteX176" fmla="*/ 248146 w 761692"/>
                    <a:gd name="connsiteY176" fmla="*/ 674440 h 1016771"/>
                    <a:gd name="connsiteX177" fmla="*/ 246451 w 761692"/>
                    <a:gd name="connsiteY177" fmla="*/ 674440 h 1016771"/>
                    <a:gd name="connsiteX178" fmla="*/ 236279 w 761692"/>
                    <a:gd name="connsiteY178" fmla="*/ 679526 h 1016771"/>
                    <a:gd name="connsiteX179" fmla="*/ 226107 w 761692"/>
                    <a:gd name="connsiteY179" fmla="*/ 684612 h 1016771"/>
                    <a:gd name="connsiteX180" fmla="*/ 217630 w 761692"/>
                    <a:gd name="connsiteY180" fmla="*/ 684612 h 1016771"/>
                    <a:gd name="connsiteX181" fmla="*/ 207458 w 761692"/>
                    <a:gd name="connsiteY181" fmla="*/ 693088 h 1016771"/>
                    <a:gd name="connsiteX182" fmla="*/ 198982 w 761692"/>
                    <a:gd name="connsiteY182" fmla="*/ 694783 h 1016771"/>
                    <a:gd name="connsiteX183" fmla="*/ 192200 w 761692"/>
                    <a:gd name="connsiteY183" fmla="*/ 699869 h 1016771"/>
                    <a:gd name="connsiteX184" fmla="*/ 178638 w 761692"/>
                    <a:gd name="connsiteY184" fmla="*/ 706651 h 1016771"/>
                    <a:gd name="connsiteX185" fmla="*/ 163380 w 761692"/>
                    <a:gd name="connsiteY185" fmla="*/ 710041 h 1016771"/>
                    <a:gd name="connsiteX186" fmla="*/ 141340 w 761692"/>
                    <a:gd name="connsiteY186" fmla="*/ 710041 h 1016771"/>
                    <a:gd name="connsiteX187" fmla="*/ 134559 w 761692"/>
                    <a:gd name="connsiteY187" fmla="*/ 716823 h 1016771"/>
                    <a:gd name="connsiteX188" fmla="*/ 127778 w 761692"/>
                    <a:gd name="connsiteY188" fmla="*/ 718518 h 1016771"/>
                    <a:gd name="connsiteX189" fmla="*/ 120996 w 761692"/>
                    <a:gd name="connsiteY189" fmla="*/ 725299 h 1016771"/>
                    <a:gd name="connsiteX190" fmla="*/ 111172 w 761692"/>
                    <a:gd name="connsiteY190" fmla="*/ 733720 h 1016771"/>
                    <a:gd name="connsiteX191" fmla="*/ 106283 w 761692"/>
                    <a:gd name="connsiteY191" fmla="*/ 729808 h 1016771"/>
                    <a:gd name="connsiteX192" fmla="*/ 92112 w 761692"/>
                    <a:gd name="connsiteY192" fmla="*/ 724494 h 1016771"/>
                    <a:gd name="connsiteX193" fmla="*/ 77941 w 761692"/>
                    <a:gd name="connsiteY193" fmla="*/ 726265 h 1016771"/>
                    <a:gd name="connsiteX194" fmla="*/ 70855 w 761692"/>
                    <a:gd name="connsiteY194" fmla="*/ 719180 h 1016771"/>
                    <a:gd name="connsiteX195" fmla="*/ 70855 w 761692"/>
                    <a:gd name="connsiteY195" fmla="*/ 699695 h 1016771"/>
                    <a:gd name="connsiteX196" fmla="*/ 81483 w 761692"/>
                    <a:gd name="connsiteY196" fmla="*/ 685524 h 1016771"/>
                    <a:gd name="connsiteX197" fmla="*/ 85026 w 761692"/>
                    <a:gd name="connsiteY197" fmla="*/ 673124 h 1016771"/>
                    <a:gd name="connsiteX198" fmla="*/ 86797 w 761692"/>
                    <a:gd name="connsiteY198" fmla="*/ 660724 h 1016771"/>
                    <a:gd name="connsiteX199" fmla="*/ 97426 w 761692"/>
                    <a:gd name="connsiteY199" fmla="*/ 650096 h 1016771"/>
                    <a:gd name="connsiteX200" fmla="*/ 102740 w 761692"/>
                    <a:gd name="connsiteY200" fmla="*/ 635925 h 1016771"/>
                    <a:gd name="connsiteX201" fmla="*/ 113368 w 761692"/>
                    <a:gd name="connsiteY201" fmla="*/ 625297 h 1016771"/>
                    <a:gd name="connsiteX202" fmla="*/ 115139 w 761692"/>
                    <a:gd name="connsiteY202" fmla="*/ 612897 h 1016771"/>
                    <a:gd name="connsiteX203" fmla="*/ 127539 w 761692"/>
                    <a:gd name="connsiteY203" fmla="*/ 609354 h 1016771"/>
                    <a:gd name="connsiteX204" fmla="*/ 136396 w 761692"/>
                    <a:gd name="connsiteY204" fmla="*/ 604040 h 1016771"/>
                    <a:gd name="connsiteX205" fmla="*/ 132853 w 761692"/>
                    <a:gd name="connsiteY205" fmla="*/ 593412 h 1016771"/>
                    <a:gd name="connsiteX206" fmla="*/ 134625 w 761692"/>
                    <a:gd name="connsiteY206" fmla="*/ 584555 h 1016771"/>
                    <a:gd name="connsiteX207" fmla="*/ 131082 w 761692"/>
                    <a:gd name="connsiteY207" fmla="*/ 575698 h 1016771"/>
                    <a:gd name="connsiteX208" fmla="*/ 120454 w 761692"/>
                    <a:gd name="connsiteY208" fmla="*/ 568613 h 1016771"/>
                    <a:gd name="connsiteX209" fmla="*/ 125768 w 761692"/>
                    <a:gd name="connsiteY209" fmla="*/ 552670 h 1016771"/>
                    <a:gd name="connsiteX210" fmla="*/ 118682 w 761692"/>
                    <a:gd name="connsiteY210" fmla="*/ 543813 h 1016771"/>
                    <a:gd name="connsiteX211" fmla="*/ 90340 w 761692"/>
                    <a:gd name="connsiteY211" fmla="*/ 543813 h 1016771"/>
                    <a:gd name="connsiteX212" fmla="*/ 86797 w 761692"/>
                    <a:gd name="connsiteY212" fmla="*/ 542042 h 1016771"/>
                    <a:gd name="connsiteX213" fmla="*/ 83255 w 761692"/>
                    <a:gd name="connsiteY213" fmla="*/ 542042 h 1016771"/>
                    <a:gd name="connsiteX214" fmla="*/ 81483 w 761692"/>
                    <a:gd name="connsiteY214" fmla="*/ 540271 h 1016771"/>
                    <a:gd name="connsiteX215" fmla="*/ 81483 w 761692"/>
                    <a:gd name="connsiteY215" fmla="*/ 536728 h 1016771"/>
                    <a:gd name="connsiteX216" fmla="*/ 79712 w 761692"/>
                    <a:gd name="connsiteY216" fmla="*/ 531414 h 1016771"/>
                    <a:gd name="connsiteX217" fmla="*/ 77941 w 761692"/>
                    <a:gd name="connsiteY217" fmla="*/ 529642 h 1016771"/>
                    <a:gd name="connsiteX218" fmla="*/ 70855 w 761692"/>
                    <a:gd name="connsiteY218" fmla="*/ 527871 h 1016771"/>
                    <a:gd name="connsiteX219" fmla="*/ 60227 w 761692"/>
                    <a:gd name="connsiteY219" fmla="*/ 536728 h 1016771"/>
                    <a:gd name="connsiteX220" fmla="*/ 47827 w 761692"/>
                    <a:gd name="connsiteY220" fmla="*/ 526100 h 1016771"/>
                    <a:gd name="connsiteX221" fmla="*/ 42513 w 761692"/>
                    <a:gd name="connsiteY221" fmla="*/ 515471 h 1016771"/>
                    <a:gd name="connsiteX222" fmla="*/ 33656 w 761692"/>
                    <a:gd name="connsiteY222" fmla="*/ 506614 h 1016771"/>
                    <a:gd name="connsiteX223" fmla="*/ 31885 w 761692"/>
                    <a:gd name="connsiteY223" fmla="*/ 490672 h 1016771"/>
                    <a:gd name="connsiteX224" fmla="*/ 26571 w 761692"/>
                    <a:gd name="connsiteY224" fmla="*/ 476501 h 1016771"/>
                    <a:gd name="connsiteX225" fmla="*/ 24799 w 761692"/>
                    <a:gd name="connsiteY225" fmla="*/ 471187 h 1016771"/>
                    <a:gd name="connsiteX226" fmla="*/ 12400 w 761692"/>
                    <a:gd name="connsiteY226" fmla="*/ 472958 h 1016771"/>
                    <a:gd name="connsiteX227" fmla="*/ 7086 w 761692"/>
                    <a:gd name="connsiteY227" fmla="*/ 464101 h 1016771"/>
                    <a:gd name="connsiteX228" fmla="*/ 8857 w 761692"/>
                    <a:gd name="connsiteY228" fmla="*/ 446388 h 1016771"/>
                    <a:gd name="connsiteX229" fmla="*/ 3543 w 761692"/>
                    <a:gd name="connsiteY229" fmla="*/ 435759 h 1016771"/>
                    <a:gd name="connsiteX230" fmla="*/ 5314 w 761692"/>
                    <a:gd name="connsiteY230" fmla="*/ 412731 h 1016771"/>
                    <a:gd name="connsiteX231" fmla="*/ 0 w 761692"/>
                    <a:gd name="connsiteY231" fmla="*/ 396789 h 1016771"/>
                    <a:gd name="connsiteX232" fmla="*/ 3543 w 761692"/>
                    <a:gd name="connsiteY232" fmla="*/ 384389 h 1016771"/>
                    <a:gd name="connsiteX233" fmla="*/ 14171 w 761692"/>
                    <a:gd name="connsiteY233" fmla="*/ 380846 h 1016771"/>
                    <a:gd name="connsiteX234" fmla="*/ 24799 w 761692"/>
                    <a:gd name="connsiteY234" fmla="*/ 364904 h 1016771"/>
                    <a:gd name="connsiteX235" fmla="*/ 30113 w 761692"/>
                    <a:gd name="connsiteY235" fmla="*/ 350733 h 1016771"/>
                    <a:gd name="connsiteX236" fmla="*/ 35428 w 761692"/>
                    <a:gd name="connsiteY236" fmla="*/ 341876 h 1016771"/>
                    <a:gd name="connsiteX237" fmla="*/ 42513 w 761692"/>
                    <a:gd name="connsiteY237" fmla="*/ 327705 h 1016771"/>
                    <a:gd name="connsiteX238" fmla="*/ 42513 w 761692"/>
                    <a:gd name="connsiteY238" fmla="*/ 315305 h 1016771"/>
                    <a:gd name="connsiteX239" fmla="*/ 56684 w 761692"/>
                    <a:gd name="connsiteY239" fmla="*/ 309991 h 1016771"/>
                    <a:gd name="connsiteX240" fmla="*/ 60227 w 761692"/>
                    <a:gd name="connsiteY240" fmla="*/ 309991 h 1016771"/>
                    <a:gd name="connsiteX241" fmla="*/ 61998 w 761692"/>
                    <a:gd name="connsiteY241" fmla="*/ 311763 h 1016771"/>
                    <a:gd name="connsiteX242" fmla="*/ 67312 w 761692"/>
                    <a:gd name="connsiteY242" fmla="*/ 311763 h 1016771"/>
                    <a:gd name="connsiteX243" fmla="*/ 67312 w 761692"/>
                    <a:gd name="connsiteY243" fmla="*/ 309991 h 1016771"/>
                    <a:gd name="connsiteX244" fmla="*/ 67312 w 761692"/>
                    <a:gd name="connsiteY244" fmla="*/ 308220 h 1016771"/>
                    <a:gd name="connsiteX245" fmla="*/ 69084 w 761692"/>
                    <a:gd name="connsiteY245" fmla="*/ 302906 h 1016771"/>
                    <a:gd name="connsiteX246" fmla="*/ 70855 w 761692"/>
                    <a:gd name="connsiteY246" fmla="*/ 301134 h 1016771"/>
                    <a:gd name="connsiteX247" fmla="*/ 70855 w 761692"/>
                    <a:gd name="connsiteY247" fmla="*/ 299363 h 1016771"/>
                    <a:gd name="connsiteX248" fmla="*/ 77941 w 761692"/>
                    <a:gd name="connsiteY248" fmla="*/ 295820 h 1016771"/>
                    <a:gd name="connsiteX249" fmla="*/ 85026 w 761692"/>
                    <a:gd name="connsiteY249" fmla="*/ 295820 h 1016771"/>
                    <a:gd name="connsiteX250" fmla="*/ 93883 w 761692"/>
                    <a:gd name="connsiteY250" fmla="*/ 297592 h 1016771"/>
                    <a:gd name="connsiteX251" fmla="*/ 100968 w 761692"/>
                    <a:gd name="connsiteY251" fmla="*/ 288735 h 1016771"/>
                    <a:gd name="connsiteX252" fmla="*/ 97426 w 761692"/>
                    <a:gd name="connsiteY252" fmla="*/ 279878 h 1016771"/>
                    <a:gd name="connsiteX253" fmla="*/ 85026 w 761692"/>
                    <a:gd name="connsiteY253" fmla="*/ 276335 h 1016771"/>
                    <a:gd name="connsiteX254" fmla="*/ 76169 w 761692"/>
                    <a:gd name="connsiteY254" fmla="*/ 271021 h 1016771"/>
                    <a:gd name="connsiteX255" fmla="*/ 76169 w 761692"/>
                    <a:gd name="connsiteY255" fmla="*/ 262164 h 1016771"/>
                    <a:gd name="connsiteX256" fmla="*/ 81483 w 761692"/>
                    <a:gd name="connsiteY256" fmla="*/ 251536 h 1016771"/>
                    <a:gd name="connsiteX257" fmla="*/ 86797 w 761692"/>
                    <a:gd name="connsiteY257" fmla="*/ 255079 h 1016771"/>
                    <a:gd name="connsiteX258" fmla="*/ 104511 w 761692"/>
                    <a:gd name="connsiteY258" fmla="*/ 262164 h 1016771"/>
                    <a:gd name="connsiteX259" fmla="*/ 116911 w 761692"/>
                    <a:gd name="connsiteY259" fmla="*/ 265707 h 1016771"/>
                    <a:gd name="connsiteX260" fmla="*/ 132853 w 761692"/>
                    <a:gd name="connsiteY260" fmla="*/ 269250 h 1016771"/>
                    <a:gd name="connsiteX261" fmla="*/ 138167 w 761692"/>
                    <a:gd name="connsiteY261" fmla="*/ 265707 h 1016771"/>
                    <a:gd name="connsiteX262" fmla="*/ 150567 w 761692"/>
                    <a:gd name="connsiteY262" fmla="*/ 255079 h 1016771"/>
                    <a:gd name="connsiteX263" fmla="*/ 166509 w 761692"/>
                    <a:gd name="connsiteY263" fmla="*/ 255079 h 1016771"/>
                    <a:gd name="connsiteX264" fmla="*/ 166509 w 761692"/>
                    <a:gd name="connsiteY264" fmla="*/ 265707 h 1016771"/>
                    <a:gd name="connsiteX265" fmla="*/ 177138 w 761692"/>
                    <a:gd name="connsiteY265" fmla="*/ 272792 h 1016771"/>
                    <a:gd name="connsiteX266" fmla="*/ 194851 w 761692"/>
                    <a:gd name="connsiteY266" fmla="*/ 276335 h 1016771"/>
                    <a:gd name="connsiteX267" fmla="*/ 209022 w 761692"/>
                    <a:gd name="connsiteY267" fmla="*/ 279878 h 1016771"/>
                    <a:gd name="connsiteX268" fmla="*/ 221422 w 761692"/>
                    <a:gd name="connsiteY268" fmla="*/ 276335 h 1016771"/>
                    <a:gd name="connsiteX269" fmla="*/ 226736 w 761692"/>
                    <a:gd name="connsiteY269" fmla="*/ 269250 h 1016771"/>
                    <a:gd name="connsiteX270" fmla="*/ 226736 w 761692"/>
                    <a:gd name="connsiteY270" fmla="*/ 251536 h 1016771"/>
                    <a:gd name="connsiteX271" fmla="*/ 224965 w 761692"/>
                    <a:gd name="connsiteY271" fmla="*/ 239136 h 1016771"/>
                    <a:gd name="connsiteX272" fmla="*/ 214337 w 761692"/>
                    <a:gd name="connsiteY272" fmla="*/ 230279 h 1016771"/>
                    <a:gd name="connsiteX273" fmla="*/ 210794 w 761692"/>
                    <a:gd name="connsiteY273" fmla="*/ 217880 h 1016771"/>
                    <a:gd name="connsiteX274" fmla="*/ 221422 w 761692"/>
                    <a:gd name="connsiteY274" fmla="*/ 207251 h 1016771"/>
                    <a:gd name="connsiteX275" fmla="*/ 235593 w 761692"/>
                    <a:gd name="connsiteY275" fmla="*/ 214337 h 1016771"/>
                    <a:gd name="connsiteX276" fmla="*/ 246221 w 761692"/>
                    <a:gd name="connsiteY276" fmla="*/ 219651 h 1016771"/>
                    <a:gd name="connsiteX277" fmla="*/ 253307 w 761692"/>
                    <a:gd name="connsiteY277" fmla="*/ 221422 h 1016771"/>
                    <a:gd name="connsiteX278" fmla="*/ 262164 w 761692"/>
                    <a:gd name="connsiteY278" fmla="*/ 210794 h 1016771"/>
                    <a:gd name="connsiteX279" fmla="*/ 263935 w 761692"/>
                    <a:gd name="connsiteY279" fmla="*/ 201937 h 1016771"/>
                    <a:gd name="connsiteX280" fmla="*/ 274563 w 761692"/>
                    <a:gd name="connsiteY280" fmla="*/ 189538 h 1016771"/>
                    <a:gd name="connsiteX281" fmla="*/ 283420 w 761692"/>
                    <a:gd name="connsiteY281" fmla="*/ 178909 h 1016771"/>
                    <a:gd name="connsiteX282" fmla="*/ 286963 w 761692"/>
                    <a:gd name="connsiteY282" fmla="*/ 173595 h 1016771"/>
                    <a:gd name="connsiteX283" fmla="*/ 311762 w 761692"/>
                    <a:gd name="connsiteY283" fmla="*/ 168281 h 1016771"/>
                    <a:gd name="connsiteX284" fmla="*/ 325933 w 761692"/>
                    <a:gd name="connsiteY284" fmla="*/ 164738 h 1016771"/>
                    <a:gd name="connsiteX285" fmla="*/ 336562 w 761692"/>
                    <a:gd name="connsiteY285" fmla="*/ 159424 h 1016771"/>
                    <a:gd name="connsiteX286" fmla="*/ 348961 w 761692"/>
                    <a:gd name="connsiteY286" fmla="*/ 145253 h 1016771"/>
                    <a:gd name="connsiteX287" fmla="*/ 359589 w 761692"/>
                    <a:gd name="connsiteY287" fmla="*/ 143482 h 1016771"/>
                    <a:gd name="connsiteX288" fmla="*/ 371989 w 761692"/>
                    <a:gd name="connsiteY288" fmla="*/ 143482 h 1016771"/>
                    <a:gd name="connsiteX289" fmla="*/ 391474 w 761692"/>
                    <a:gd name="connsiteY289" fmla="*/ 143482 h 1016771"/>
                    <a:gd name="connsiteX290" fmla="*/ 396788 w 761692"/>
                    <a:gd name="connsiteY290" fmla="*/ 141710 h 1016771"/>
                    <a:gd name="connsiteX291" fmla="*/ 403874 w 761692"/>
                    <a:gd name="connsiteY291" fmla="*/ 134625 h 1016771"/>
                    <a:gd name="connsiteX292" fmla="*/ 409188 w 761692"/>
                    <a:gd name="connsiteY292" fmla="*/ 129311 h 1016771"/>
                    <a:gd name="connsiteX293" fmla="*/ 409188 w 761692"/>
                    <a:gd name="connsiteY293" fmla="*/ 123997 h 1016771"/>
                    <a:gd name="connsiteX294" fmla="*/ 414502 w 761692"/>
                    <a:gd name="connsiteY294" fmla="*/ 115140 h 1016771"/>
                    <a:gd name="connsiteX295" fmla="*/ 428673 w 761692"/>
                    <a:gd name="connsiteY295" fmla="*/ 115140 h 1016771"/>
                    <a:gd name="connsiteX296" fmla="*/ 432216 w 761692"/>
                    <a:gd name="connsiteY296" fmla="*/ 109826 h 1016771"/>
                    <a:gd name="connsiteX297" fmla="*/ 437530 w 761692"/>
                    <a:gd name="connsiteY297" fmla="*/ 100969 h 1016771"/>
                    <a:gd name="connsiteX298" fmla="*/ 448158 w 761692"/>
                    <a:gd name="connsiteY298" fmla="*/ 99197 h 1016771"/>
                    <a:gd name="connsiteX299" fmla="*/ 460558 w 761692"/>
                    <a:gd name="connsiteY299" fmla="*/ 97426 h 1016771"/>
                    <a:gd name="connsiteX300" fmla="*/ 472958 w 761692"/>
                    <a:gd name="connsiteY300" fmla="*/ 93883 h 1016771"/>
                    <a:gd name="connsiteX301" fmla="*/ 492443 w 761692"/>
                    <a:gd name="connsiteY301" fmla="*/ 93883 h 1016771"/>
                    <a:gd name="connsiteX302" fmla="*/ 501300 w 761692"/>
                    <a:gd name="connsiteY302" fmla="*/ 83255 h 1016771"/>
                    <a:gd name="connsiteX303" fmla="*/ 517242 w 761692"/>
                    <a:gd name="connsiteY303" fmla="*/ 81484 h 1016771"/>
                    <a:gd name="connsiteX304" fmla="*/ 522556 w 761692"/>
                    <a:gd name="connsiteY304" fmla="*/ 81484 h 1016771"/>
                    <a:gd name="connsiteX305" fmla="*/ 522556 w 761692"/>
                    <a:gd name="connsiteY305" fmla="*/ 60227 h 1016771"/>
                    <a:gd name="connsiteX306" fmla="*/ 526099 w 761692"/>
                    <a:gd name="connsiteY306" fmla="*/ 54913 h 1016771"/>
                    <a:gd name="connsiteX307" fmla="*/ 529642 w 761692"/>
                    <a:gd name="connsiteY307" fmla="*/ 46056 h 1016771"/>
                    <a:gd name="connsiteX308" fmla="*/ 538499 w 761692"/>
                    <a:gd name="connsiteY308" fmla="*/ 40742 h 1016771"/>
                    <a:gd name="connsiteX309" fmla="*/ 540270 w 761692"/>
                    <a:gd name="connsiteY309" fmla="*/ 30114 h 1016771"/>
                    <a:gd name="connsiteX310" fmla="*/ 536727 w 761692"/>
                    <a:gd name="connsiteY310" fmla="*/ 19485 h 1016771"/>
                    <a:gd name="connsiteX311" fmla="*/ 543813 w 761692"/>
                    <a:gd name="connsiteY311" fmla="*/ 5314 h 1016771"/>
                    <a:gd name="connsiteX312" fmla="*/ 554441 w 761692"/>
                    <a:gd name="connsiteY312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9645 w 761692"/>
                    <a:gd name="connsiteY9" fmla="*/ 860925 h 1016771"/>
                    <a:gd name="connsiteX10" fmla="*/ 148122 w 761692"/>
                    <a:gd name="connsiteY10" fmla="*/ 867707 h 1016771"/>
                    <a:gd name="connsiteX11" fmla="*/ 157653 w 761692"/>
                    <a:gd name="connsiteY11" fmla="*/ 880375 h 1016771"/>
                    <a:gd name="connsiteX12" fmla="*/ 147024 w 761692"/>
                    <a:gd name="connsiteY12" fmla="*/ 867975 h 1016771"/>
                    <a:gd name="connsiteX13" fmla="*/ 138167 w 761692"/>
                    <a:gd name="connsiteY13" fmla="*/ 860890 h 1016771"/>
                    <a:gd name="connsiteX14" fmla="*/ 138167 w 761692"/>
                    <a:gd name="connsiteY14" fmla="*/ 852033 h 1016771"/>
                    <a:gd name="connsiteX15" fmla="*/ 139939 w 761692"/>
                    <a:gd name="connsiteY15" fmla="*/ 850262 h 1016771"/>
                    <a:gd name="connsiteX16" fmla="*/ 139939 w 761692"/>
                    <a:gd name="connsiteY16" fmla="*/ 848490 h 1016771"/>
                    <a:gd name="connsiteX17" fmla="*/ 145253 w 761692"/>
                    <a:gd name="connsiteY17" fmla="*/ 843176 h 1016771"/>
                    <a:gd name="connsiteX18" fmla="*/ 147024 w 761692"/>
                    <a:gd name="connsiteY18" fmla="*/ 841405 h 1016771"/>
                    <a:gd name="connsiteX19" fmla="*/ 148796 w 761692"/>
                    <a:gd name="connsiteY19" fmla="*/ 839633 h 1016771"/>
                    <a:gd name="connsiteX20" fmla="*/ 150567 w 761692"/>
                    <a:gd name="connsiteY20" fmla="*/ 837862 h 1016771"/>
                    <a:gd name="connsiteX21" fmla="*/ 159250 w 761692"/>
                    <a:gd name="connsiteY21" fmla="*/ 829179 h 1016771"/>
                    <a:gd name="connsiteX22" fmla="*/ 116476 w 761692"/>
                    <a:gd name="connsiteY22" fmla="*/ 741349 h 1016771"/>
                    <a:gd name="connsiteX23" fmla="*/ 117606 w 761692"/>
                    <a:gd name="connsiteY23" fmla="*/ 742253 h 1016771"/>
                    <a:gd name="connsiteX24" fmla="*/ 122692 w 761692"/>
                    <a:gd name="connsiteY24" fmla="*/ 759206 h 1016771"/>
                    <a:gd name="connsiteX25" fmla="*/ 126082 w 761692"/>
                    <a:gd name="connsiteY25" fmla="*/ 771073 h 1016771"/>
                    <a:gd name="connsiteX26" fmla="*/ 129473 w 761692"/>
                    <a:gd name="connsiteY26" fmla="*/ 782940 h 1016771"/>
                    <a:gd name="connsiteX27" fmla="*/ 132864 w 761692"/>
                    <a:gd name="connsiteY27" fmla="*/ 793112 h 1016771"/>
                    <a:gd name="connsiteX28" fmla="*/ 136254 w 761692"/>
                    <a:gd name="connsiteY28" fmla="*/ 810066 h 1016771"/>
                    <a:gd name="connsiteX29" fmla="*/ 139058 w 761692"/>
                    <a:gd name="connsiteY29" fmla="*/ 818476 h 1016771"/>
                    <a:gd name="connsiteX30" fmla="*/ 138167 w 761692"/>
                    <a:gd name="connsiteY30" fmla="*/ 818377 h 1016771"/>
                    <a:gd name="connsiteX31" fmla="*/ 134625 w 761692"/>
                    <a:gd name="connsiteY31" fmla="*/ 807749 h 1016771"/>
                    <a:gd name="connsiteX32" fmla="*/ 131082 w 761692"/>
                    <a:gd name="connsiteY32" fmla="*/ 790035 h 1016771"/>
                    <a:gd name="connsiteX33" fmla="*/ 127539 w 761692"/>
                    <a:gd name="connsiteY33" fmla="*/ 779407 h 1016771"/>
                    <a:gd name="connsiteX34" fmla="*/ 123996 w 761692"/>
                    <a:gd name="connsiteY34" fmla="*/ 767007 h 1016771"/>
                    <a:gd name="connsiteX35" fmla="*/ 120454 w 761692"/>
                    <a:gd name="connsiteY35" fmla="*/ 754607 h 1016771"/>
                    <a:gd name="connsiteX36" fmla="*/ 116476 w 761692"/>
                    <a:gd name="connsiteY36" fmla="*/ 741349 h 1016771"/>
                    <a:gd name="connsiteX37" fmla="*/ 554441 w 761692"/>
                    <a:gd name="connsiteY37" fmla="*/ 0 h 1016771"/>
                    <a:gd name="connsiteX38" fmla="*/ 570383 w 761692"/>
                    <a:gd name="connsiteY38" fmla="*/ 3543 h 1016771"/>
                    <a:gd name="connsiteX39" fmla="*/ 577469 w 761692"/>
                    <a:gd name="connsiteY39" fmla="*/ 8857 h 1016771"/>
                    <a:gd name="connsiteX40" fmla="*/ 582783 w 761692"/>
                    <a:gd name="connsiteY40" fmla="*/ 17714 h 1016771"/>
                    <a:gd name="connsiteX41" fmla="*/ 582783 w 761692"/>
                    <a:gd name="connsiteY41" fmla="*/ 24799 h 1016771"/>
                    <a:gd name="connsiteX42" fmla="*/ 588097 w 761692"/>
                    <a:gd name="connsiteY42" fmla="*/ 33656 h 1016771"/>
                    <a:gd name="connsiteX43" fmla="*/ 598725 w 761692"/>
                    <a:gd name="connsiteY43" fmla="*/ 31885 h 1016771"/>
                    <a:gd name="connsiteX44" fmla="*/ 612896 w 761692"/>
                    <a:gd name="connsiteY44" fmla="*/ 37199 h 1016771"/>
                    <a:gd name="connsiteX45" fmla="*/ 618211 w 761692"/>
                    <a:gd name="connsiteY45" fmla="*/ 46056 h 1016771"/>
                    <a:gd name="connsiteX46" fmla="*/ 619982 w 761692"/>
                    <a:gd name="connsiteY46" fmla="*/ 54913 h 1016771"/>
                    <a:gd name="connsiteX47" fmla="*/ 618211 w 761692"/>
                    <a:gd name="connsiteY47" fmla="*/ 74398 h 1016771"/>
                    <a:gd name="connsiteX48" fmla="*/ 616439 w 761692"/>
                    <a:gd name="connsiteY48" fmla="*/ 85026 h 1016771"/>
                    <a:gd name="connsiteX49" fmla="*/ 621753 w 761692"/>
                    <a:gd name="connsiteY49" fmla="*/ 97426 h 1016771"/>
                    <a:gd name="connsiteX50" fmla="*/ 637696 w 761692"/>
                    <a:gd name="connsiteY50" fmla="*/ 113368 h 1016771"/>
                    <a:gd name="connsiteX51" fmla="*/ 644781 w 761692"/>
                    <a:gd name="connsiteY51" fmla="*/ 120454 h 1016771"/>
                    <a:gd name="connsiteX52" fmla="*/ 650095 w 761692"/>
                    <a:gd name="connsiteY52" fmla="*/ 136396 h 1016771"/>
                    <a:gd name="connsiteX53" fmla="*/ 655409 w 761692"/>
                    <a:gd name="connsiteY53" fmla="*/ 155881 h 1016771"/>
                    <a:gd name="connsiteX54" fmla="*/ 662495 w 761692"/>
                    <a:gd name="connsiteY54" fmla="*/ 171824 h 1016771"/>
                    <a:gd name="connsiteX55" fmla="*/ 660724 w 761692"/>
                    <a:gd name="connsiteY55" fmla="*/ 185995 h 1016771"/>
                    <a:gd name="connsiteX56" fmla="*/ 635924 w 761692"/>
                    <a:gd name="connsiteY56" fmla="*/ 194852 h 1016771"/>
                    <a:gd name="connsiteX57" fmla="*/ 619982 w 761692"/>
                    <a:gd name="connsiteY57" fmla="*/ 207251 h 1016771"/>
                    <a:gd name="connsiteX58" fmla="*/ 614668 w 761692"/>
                    <a:gd name="connsiteY58" fmla="*/ 223194 h 1016771"/>
                    <a:gd name="connsiteX59" fmla="*/ 618211 w 761692"/>
                    <a:gd name="connsiteY59" fmla="*/ 242679 h 1016771"/>
                    <a:gd name="connsiteX60" fmla="*/ 612896 w 761692"/>
                    <a:gd name="connsiteY60" fmla="*/ 256850 h 1016771"/>
                    <a:gd name="connsiteX61" fmla="*/ 625296 w 761692"/>
                    <a:gd name="connsiteY61" fmla="*/ 267478 h 1016771"/>
                    <a:gd name="connsiteX62" fmla="*/ 641238 w 761692"/>
                    <a:gd name="connsiteY62" fmla="*/ 269250 h 1016771"/>
                    <a:gd name="connsiteX63" fmla="*/ 658952 w 761692"/>
                    <a:gd name="connsiteY63" fmla="*/ 286963 h 1016771"/>
                    <a:gd name="connsiteX64" fmla="*/ 653638 w 761692"/>
                    <a:gd name="connsiteY64" fmla="*/ 309991 h 1016771"/>
                    <a:gd name="connsiteX65" fmla="*/ 653638 w 761692"/>
                    <a:gd name="connsiteY65" fmla="*/ 329476 h 1016771"/>
                    <a:gd name="connsiteX66" fmla="*/ 643010 w 761692"/>
                    <a:gd name="connsiteY66" fmla="*/ 338333 h 1016771"/>
                    <a:gd name="connsiteX67" fmla="*/ 632382 w 761692"/>
                    <a:gd name="connsiteY67" fmla="*/ 338333 h 1016771"/>
                    <a:gd name="connsiteX68" fmla="*/ 618211 w 761692"/>
                    <a:gd name="connsiteY68" fmla="*/ 357819 h 1016771"/>
                    <a:gd name="connsiteX69" fmla="*/ 609354 w 761692"/>
                    <a:gd name="connsiteY69" fmla="*/ 361361 h 1016771"/>
                    <a:gd name="connsiteX70" fmla="*/ 596954 w 761692"/>
                    <a:gd name="connsiteY70" fmla="*/ 363133 h 1016771"/>
                    <a:gd name="connsiteX71" fmla="*/ 581012 w 761692"/>
                    <a:gd name="connsiteY71" fmla="*/ 379075 h 1016771"/>
                    <a:gd name="connsiteX72" fmla="*/ 589868 w 761692"/>
                    <a:gd name="connsiteY72" fmla="*/ 393246 h 1016771"/>
                    <a:gd name="connsiteX73" fmla="*/ 586326 w 761692"/>
                    <a:gd name="connsiteY73" fmla="*/ 409189 h 1016771"/>
                    <a:gd name="connsiteX74" fmla="*/ 570383 w 761692"/>
                    <a:gd name="connsiteY74" fmla="*/ 398560 h 1016771"/>
                    <a:gd name="connsiteX75" fmla="*/ 550898 w 761692"/>
                    <a:gd name="connsiteY75" fmla="*/ 405646 h 1016771"/>
                    <a:gd name="connsiteX76" fmla="*/ 531413 w 761692"/>
                    <a:gd name="connsiteY76" fmla="*/ 425131 h 1016771"/>
                    <a:gd name="connsiteX77" fmla="*/ 543813 w 761692"/>
                    <a:gd name="connsiteY77" fmla="*/ 444616 h 1016771"/>
                    <a:gd name="connsiteX78" fmla="*/ 557984 w 761692"/>
                    <a:gd name="connsiteY78" fmla="*/ 462330 h 1016771"/>
                    <a:gd name="connsiteX79" fmla="*/ 570383 w 761692"/>
                    <a:gd name="connsiteY79" fmla="*/ 478272 h 1016771"/>
                    <a:gd name="connsiteX80" fmla="*/ 579240 w 761692"/>
                    <a:gd name="connsiteY80" fmla="*/ 485358 h 1016771"/>
                    <a:gd name="connsiteX81" fmla="*/ 602268 w 761692"/>
                    <a:gd name="connsiteY81" fmla="*/ 483586 h 1016771"/>
                    <a:gd name="connsiteX82" fmla="*/ 623525 w 761692"/>
                    <a:gd name="connsiteY82" fmla="*/ 474730 h 1016771"/>
                    <a:gd name="connsiteX83" fmla="*/ 639467 w 761692"/>
                    <a:gd name="connsiteY83" fmla="*/ 464101 h 1016771"/>
                    <a:gd name="connsiteX84" fmla="*/ 662495 w 761692"/>
                    <a:gd name="connsiteY84" fmla="*/ 464101 h 1016771"/>
                    <a:gd name="connsiteX85" fmla="*/ 673123 w 761692"/>
                    <a:gd name="connsiteY85" fmla="*/ 464101 h 1016771"/>
                    <a:gd name="connsiteX86" fmla="*/ 681980 w 761692"/>
                    <a:gd name="connsiteY86" fmla="*/ 467644 h 1016771"/>
                    <a:gd name="connsiteX87" fmla="*/ 703237 w 761692"/>
                    <a:gd name="connsiteY87" fmla="*/ 471187 h 1016771"/>
                    <a:gd name="connsiteX88" fmla="*/ 708551 w 761692"/>
                    <a:gd name="connsiteY88" fmla="*/ 474730 h 1016771"/>
                    <a:gd name="connsiteX89" fmla="*/ 722722 w 761692"/>
                    <a:gd name="connsiteY89" fmla="*/ 501300 h 1016771"/>
                    <a:gd name="connsiteX90" fmla="*/ 724493 w 761692"/>
                    <a:gd name="connsiteY90" fmla="*/ 522557 h 1016771"/>
                    <a:gd name="connsiteX91" fmla="*/ 722722 w 761692"/>
                    <a:gd name="connsiteY91" fmla="*/ 540271 h 1016771"/>
                    <a:gd name="connsiteX92" fmla="*/ 735121 w 761692"/>
                    <a:gd name="connsiteY92" fmla="*/ 552670 h 1016771"/>
                    <a:gd name="connsiteX93" fmla="*/ 735121 w 761692"/>
                    <a:gd name="connsiteY93" fmla="*/ 570384 h 1016771"/>
                    <a:gd name="connsiteX94" fmla="*/ 751064 w 761692"/>
                    <a:gd name="connsiteY94" fmla="*/ 581012 h 1016771"/>
                    <a:gd name="connsiteX95" fmla="*/ 761692 w 761692"/>
                    <a:gd name="connsiteY95" fmla="*/ 604040 h 1016771"/>
                    <a:gd name="connsiteX96" fmla="*/ 747521 w 761692"/>
                    <a:gd name="connsiteY96" fmla="*/ 616440 h 1016771"/>
                    <a:gd name="connsiteX97" fmla="*/ 728036 w 761692"/>
                    <a:gd name="connsiteY97" fmla="*/ 627068 h 1016771"/>
                    <a:gd name="connsiteX98" fmla="*/ 726264 w 761692"/>
                    <a:gd name="connsiteY98" fmla="*/ 650096 h 1016771"/>
                    <a:gd name="connsiteX99" fmla="*/ 728036 w 761692"/>
                    <a:gd name="connsiteY99" fmla="*/ 673124 h 1016771"/>
                    <a:gd name="connsiteX100" fmla="*/ 742207 w 761692"/>
                    <a:gd name="connsiteY100" fmla="*/ 689066 h 1016771"/>
                    <a:gd name="connsiteX101" fmla="*/ 742207 w 761692"/>
                    <a:gd name="connsiteY101" fmla="*/ 712094 h 1016771"/>
                    <a:gd name="connsiteX102" fmla="*/ 740435 w 761692"/>
                    <a:gd name="connsiteY102" fmla="*/ 735122 h 1016771"/>
                    <a:gd name="connsiteX103" fmla="*/ 742207 w 761692"/>
                    <a:gd name="connsiteY103" fmla="*/ 751065 h 1016771"/>
                    <a:gd name="connsiteX104" fmla="*/ 747521 w 761692"/>
                    <a:gd name="connsiteY104" fmla="*/ 768778 h 1016771"/>
                    <a:gd name="connsiteX105" fmla="*/ 759921 w 761692"/>
                    <a:gd name="connsiteY105" fmla="*/ 777635 h 1016771"/>
                    <a:gd name="connsiteX106" fmla="*/ 758149 w 761692"/>
                    <a:gd name="connsiteY106" fmla="*/ 802434 h 1016771"/>
                    <a:gd name="connsiteX107" fmla="*/ 752835 w 761692"/>
                    <a:gd name="connsiteY107" fmla="*/ 814834 h 1016771"/>
                    <a:gd name="connsiteX108" fmla="*/ 743978 w 761692"/>
                    <a:gd name="connsiteY108" fmla="*/ 827234 h 1016771"/>
                    <a:gd name="connsiteX109" fmla="*/ 743978 w 761692"/>
                    <a:gd name="connsiteY109" fmla="*/ 837862 h 1016771"/>
                    <a:gd name="connsiteX110" fmla="*/ 747521 w 761692"/>
                    <a:gd name="connsiteY110" fmla="*/ 853804 h 1016771"/>
                    <a:gd name="connsiteX111" fmla="*/ 733350 w 761692"/>
                    <a:gd name="connsiteY111" fmla="*/ 867975 h 1016771"/>
                    <a:gd name="connsiteX112" fmla="*/ 724493 w 761692"/>
                    <a:gd name="connsiteY112" fmla="*/ 880375 h 1016771"/>
                    <a:gd name="connsiteX113" fmla="*/ 722722 w 761692"/>
                    <a:gd name="connsiteY113" fmla="*/ 899860 h 1016771"/>
                    <a:gd name="connsiteX114" fmla="*/ 722722 w 761692"/>
                    <a:gd name="connsiteY114" fmla="*/ 919345 h 1016771"/>
                    <a:gd name="connsiteX115" fmla="*/ 715636 w 761692"/>
                    <a:gd name="connsiteY115" fmla="*/ 940602 h 1016771"/>
                    <a:gd name="connsiteX116" fmla="*/ 708551 w 761692"/>
                    <a:gd name="connsiteY116" fmla="*/ 954773 h 1016771"/>
                    <a:gd name="connsiteX117" fmla="*/ 699694 w 761692"/>
                    <a:gd name="connsiteY117" fmla="*/ 965401 h 1016771"/>
                    <a:gd name="connsiteX118" fmla="*/ 692608 w 761692"/>
                    <a:gd name="connsiteY118" fmla="*/ 984886 h 1016771"/>
                    <a:gd name="connsiteX119" fmla="*/ 683751 w 761692"/>
                    <a:gd name="connsiteY119" fmla="*/ 997286 h 1016771"/>
                    <a:gd name="connsiteX120" fmla="*/ 673123 w 761692"/>
                    <a:gd name="connsiteY120" fmla="*/ 1002600 h 1016771"/>
                    <a:gd name="connsiteX121" fmla="*/ 662495 w 761692"/>
                    <a:gd name="connsiteY121" fmla="*/ 1013228 h 1016771"/>
                    <a:gd name="connsiteX122" fmla="*/ 644781 w 761692"/>
                    <a:gd name="connsiteY122" fmla="*/ 1016771 h 1016771"/>
                    <a:gd name="connsiteX123" fmla="*/ 635924 w 761692"/>
                    <a:gd name="connsiteY123" fmla="*/ 1004372 h 1016771"/>
                    <a:gd name="connsiteX124" fmla="*/ 623525 w 761692"/>
                    <a:gd name="connsiteY124" fmla="*/ 997286 h 1016771"/>
                    <a:gd name="connsiteX125" fmla="*/ 614668 w 761692"/>
                    <a:gd name="connsiteY125" fmla="*/ 986658 h 1016771"/>
                    <a:gd name="connsiteX126" fmla="*/ 593411 w 761692"/>
                    <a:gd name="connsiteY126" fmla="*/ 970715 h 1016771"/>
                    <a:gd name="connsiteX127" fmla="*/ 582783 w 761692"/>
                    <a:gd name="connsiteY127" fmla="*/ 965401 h 1016771"/>
                    <a:gd name="connsiteX128" fmla="*/ 531413 w 761692"/>
                    <a:gd name="connsiteY128" fmla="*/ 965401 h 1016771"/>
                    <a:gd name="connsiteX129" fmla="*/ 511928 w 761692"/>
                    <a:gd name="connsiteY129" fmla="*/ 965401 h 1016771"/>
                    <a:gd name="connsiteX130" fmla="*/ 492443 w 761692"/>
                    <a:gd name="connsiteY130" fmla="*/ 963630 h 1016771"/>
                    <a:gd name="connsiteX131" fmla="*/ 483586 w 761692"/>
                    <a:gd name="connsiteY131" fmla="*/ 958316 h 1016771"/>
                    <a:gd name="connsiteX132" fmla="*/ 469415 w 761692"/>
                    <a:gd name="connsiteY132" fmla="*/ 954773 h 1016771"/>
                    <a:gd name="connsiteX133" fmla="*/ 460558 w 761692"/>
                    <a:gd name="connsiteY133" fmla="*/ 942373 h 1016771"/>
                    <a:gd name="connsiteX134" fmla="*/ 446387 w 761692"/>
                    <a:gd name="connsiteY134" fmla="*/ 935288 h 1016771"/>
                    <a:gd name="connsiteX135" fmla="*/ 428673 w 761692"/>
                    <a:gd name="connsiteY135" fmla="*/ 928202 h 1016771"/>
                    <a:gd name="connsiteX136" fmla="*/ 418045 w 761692"/>
                    <a:gd name="connsiteY136" fmla="*/ 917574 h 1016771"/>
                    <a:gd name="connsiteX137" fmla="*/ 421588 w 761692"/>
                    <a:gd name="connsiteY137" fmla="*/ 903403 h 1016771"/>
                    <a:gd name="connsiteX138" fmla="*/ 418045 w 761692"/>
                    <a:gd name="connsiteY138" fmla="*/ 898089 h 1016771"/>
                    <a:gd name="connsiteX139" fmla="*/ 396788 w 761692"/>
                    <a:gd name="connsiteY139" fmla="*/ 898089 h 1016771"/>
                    <a:gd name="connsiteX140" fmla="*/ 382617 w 761692"/>
                    <a:gd name="connsiteY140" fmla="*/ 896318 h 1016771"/>
                    <a:gd name="connsiteX141" fmla="*/ 380846 w 761692"/>
                    <a:gd name="connsiteY141" fmla="*/ 906946 h 1016771"/>
                    <a:gd name="connsiteX142" fmla="*/ 373601 w 761692"/>
                    <a:gd name="connsiteY142" fmla="*/ 894832 h 1016771"/>
                    <a:gd name="connsiteX143" fmla="*/ 387164 w 761692"/>
                    <a:gd name="connsiteY143" fmla="*/ 896527 h 1016771"/>
                    <a:gd name="connsiteX144" fmla="*/ 383773 w 761692"/>
                    <a:gd name="connsiteY144" fmla="*/ 886355 h 1016771"/>
                    <a:gd name="connsiteX145" fmla="*/ 387164 w 761692"/>
                    <a:gd name="connsiteY145" fmla="*/ 876183 h 1016771"/>
                    <a:gd name="connsiteX146" fmla="*/ 388859 w 761692"/>
                    <a:gd name="connsiteY146" fmla="*/ 867707 h 1016771"/>
                    <a:gd name="connsiteX147" fmla="*/ 380382 w 761692"/>
                    <a:gd name="connsiteY147" fmla="*/ 859230 h 1016771"/>
                    <a:gd name="connsiteX148" fmla="*/ 373601 w 761692"/>
                    <a:gd name="connsiteY148" fmla="*/ 849058 h 1016771"/>
                    <a:gd name="connsiteX149" fmla="*/ 380382 w 761692"/>
                    <a:gd name="connsiteY149" fmla="*/ 838886 h 1016771"/>
                    <a:gd name="connsiteX150" fmla="*/ 383773 w 761692"/>
                    <a:gd name="connsiteY150" fmla="*/ 833800 h 1016771"/>
                    <a:gd name="connsiteX151" fmla="*/ 388859 w 761692"/>
                    <a:gd name="connsiteY151" fmla="*/ 825324 h 1016771"/>
                    <a:gd name="connsiteX152" fmla="*/ 387164 w 761692"/>
                    <a:gd name="connsiteY152" fmla="*/ 810066 h 1016771"/>
                    <a:gd name="connsiteX153" fmla="*/ 387164 w 761692"/>
                    <a:gd name="connsiteY153" fmla="*/ 796503 h 1016771"/>
                    <a:gd name="connsiteX154" fmla="*/ 378687 w 761692"/>
                    <a:gd name="connsiteY154" fmla="*/ 789722 h 1016771"/>
                    <a:gd name="connsiteX155" fmla="*/ 366820 w 761692"/>
                    <a:gd name="connsiteY155" fmla="*/ 782940 h 1016771"/>
                    <a:gd name="connsiteX156" fmla="*/ 356648 w 761692"/>
                    <a:gd name="connsiteY156" fmla="*/ 781245 h 1016771"/>
                    <a:gd name="connsiteX157" fmla="*/ 349866 w 761692"/>
                    <a:gd name="connsiteY157" fmla="*/ 771073 h 1016771"/>
                    <a:gd name="connsiteX158" fmla="*/ 349866 w 761692"/>
                    <a:gd name="connsiteY158" fmla="*/ 752425 h 1016771"/>
                    <a:gd name="connsiteX159" fmla="*/ 353257 w 761692"/>
                    <a:gd name="connsiteY159" fmla="*/ 743948 h 1016771"/>
                    <a:gd name="connsiteX160" fmla="*/ 354952 w 761692"/>
                    <a:gd name="connsiteY160" fmla="*/ 730385 h 1016771"/>
                    <a:gd name="connsiteX161" fmla="*/ 353257 w 761692"/>
                    <a:gd name="connsiteY161" fmla="*/ 713432 h 1016771"/>
                    <a:gd name="connsiteX162" fmla="*/ 346476 w 761692"/>
                    <a:gd name="connsiteY162" fmla="*/ 701565 h 1016771"/>
                    <a:gd name="connsiteX163" fmla="*/ 332913 w 761692"/>
                    <a:gd name="connsiteY163" fmla="*/ 689697 h 1016771"/>
                    <a:gd name="connsiteX164" fmla="*/ 324436 w 761692"/>
                    <a:gd name="connsiteY164" fmla="*/ 681221 h 1016771"/>
                    <a:gd name="connsiteX165" fmla="*/ 314264 w 761692"/>
                    <a:gd name="connsiteY165" fmla="*/ 676135 h 1016771"/>
                    <a:gd name="connsiteX166" fmla="*/ 293920 w 761692"/>
                    <a:gd name="connsiteY166" fmla="*/ 669354 h 1016771"/>
                    <a:gd name="connsiteX167" fmla="*/ 282053 w 761692"/>
                    <a:gd name="connsiteY167" fmla="*/ 667658 h 1016771"/>
                    <a:gd name="connsiteX168" fmla="*/ 266795 w 761692"/>
                    <a:gd name="connsiteY168" fmla="*/ 672744 h 1016771"/>
                    <a:gd name="connsiteX169" fmla="*/ 265100 w 761692"/>
                    <a:gd name="connsiteY169" fmla="*/ 672744 h 1016771"/>
                    <a:gd name="connsiteX170" fmla="*/ 263404 w 761692"/>
                    <a:gd name="connsiteY170" fmla="*/ 671049 h 1016771"/>
                    <a:gd name="connsiteX171" fmla="*/ 260014 w 761692"/>
                    <a:gd name="connsiteY171" fmla="*/ 671049 h 1016771"/>
                    <a:gd name="connsiteX172" fmla="*/ 258318 w 761692"/>
                    <a:gd name="connsiteY172" fmla="*/ 671049 h 1016771"/>
                    <a:gd name="connsiteX173" fmla="*/ 253232 w 761692"/>
                    <a:gd name="connsiteY173" fmla="*/ 671049 h 1016771"/>
                    <a:gd name="connsiteX174" fmla="*/ 248146 w 761692"/>
                    <a:gd name="connsiteY174" fmla="*/ 672744 h 1016771"/>
                    <a:gd name="connsiteX175" fmla="*/ 248146 w 761692"/>
                    <a:gd name="connsiteY175" fmla="*/ 674440 h 1016771"/>
                    <a:gd name="connsiteX176" fmla="*/ 246451 w 761692"/>
                    <a:gd name="connsiteY176" fmla="*/ 674440 h 1016771"/>
                    <a:gd name="connsiteX177" fmla="*/ 236279 w 761692"/>
                    <a:gd name="connsiteY177" fmla="*/ 679526 h 1016771"/>
                    <a:gd name="connsiteX178" fmla="*/ 226107 w 761692"/>
                    <a:gd name="connsiteY178" fmla="*/ 684612 h 1016771"/>
                    <a:gd name="connsiteX179" fmla="*/ 217630 w 761692"/>
                    <a:gd name="connsiteY179" fmla="*/ 684612 h 1016771"/>
                    <a:gd name="connsiteX180" fmla="*/ 207458 w 761692"/>
                    <a:gd name="connsiteY180" fmla="*/ 693088 h 1016771"/>
                    <a:gd name="connsiteX181" fmla="*/ 198982 w 761692"/>
                    <a:gd name="connsiteY181" fmla="*/ 694783 h 1016771"/>
                    <a:gd name="connsiteX182" fmla="*/ 192200 w 761692"/>
                    <a:gd name="connsiteY182" fmla="*/ 699869 h 1016771"/>
                    <a:gd name="connsiteX183" fmla="*/ 178638 w 761692"/>
                    <a:gd name="connsiteY183" fmla="*/ 706651 h 1016771"/>
                    <a:gd name="connsiteX184" fmla="*/ 163380 w 761692"/>
                    <a:gd name="connsiteY184" fmla="*/ 710041 h 1016771"/>
                    <a:gd name="connsiteX185" fmla="*/ 141340 w 761692"/>
                    <a:gd name="connsiteY185" fmla="*/ 710041 h 1016771"/>
                    <a:gd name="connsiteX186" fmla="*/ 134559 w 761692"/>
                    <a:gd name="connsiteY186" fmla="*/ 716823 h 1016771"/>
                    <a:gd name="connsiteX187" fmla="*/ 127778 w 761692"/>
                    <a:gd name="connsiteY187" fmla="*/ 718518 h 1016771"/>
                    <a:gd name="connsiteX188" fmla="*/ 120996 w 761692"/>
                    <a:gd name="connsiteY188" fmla="*/ 725299 h 1016771"/>
                    <a:gd name="connsiteX189" fmla="*/ 111172 w 761692"/>
                    <a:gd name="connsiteY189" fmla="*/ 733720 h 1016771"/>
                    <a:gd name="connsiteX190" fmla="*/ 106283 w 761692"/>
                    <a:gd name="connsiteY190" fmla="*/ 729808 h 1016771"/>
                    <a:gd name="connsiteX191" fmla="*/ 92112 w 761692"/>
                    <a:gd name="connsiteY191" fmla="*/ 724494 h 1016771"/>
                    <a:gd name="connsiteX192" fmla="*/ 77941 w 761692"/>
                    <a:gd name="connsiteY192" fmla="*/ 726265 h 1016771"/>
                    <a:gd name="connsiteX193" fmla="*/ 70855 w 761692"/>
                    <a:gd name="connsiteY193" fmla="*/ 719180 h 1016771"/>
                    <a:gd name="connsiteX194" fmla="*/ 70855 w 761692"/>
                    <a:gd name="connsiteY194" fmla="*/ 699695 h 1016771"/>
                    <a:gd name="connsiteX195" fmla="*/ 81483 w 761692"/>
                    <a:gd name="connsiteY195" fmla="*/ 685524 h 1016771"/>
                    <a:gd name="connsiteX196" fmla="*/ 85026 w 761692"/>
                    <a:gd name="connsiteY196" fmla="*/ 673124 h 1016771"/>
                    <a:gd name="connsiteX197" fmla="*/ 86797 w 761692"/>
                    <a:gd name="connsiteY197" fmla="*/ 660724 h 1016771"/>
                    <a:gd name="connsiteX198" fmla="*/ 97426 w 761692"/>
                    <a:gd name="connsiteY198" fmla="*/ 650096 h 1016771"/>
                    <a:gd name="connsiteX199" fmla="*/ 102740 w 761692"/>
                    <a:gd name="connsiteY199" fmla="*/ 635925 h 1016771"/>
                    <a:gd name="connsiteX200" fmla="*/ 113368 w 761692"/>
                    <a:gd name="connsiteY200" fmla="*/ 625297 h 1016771"/>
                    <a:gd name="connsiteX201" fmla="*/ 115139 w 761692"/>
                    <a:gd name="connsiteY201" fmla="*/ 612897 h 1016771"/>
                    <a:gd name="connsiteX202" fmla="*/ 127539 w 761692"/>
                    <a:gd name="connsiteY202" fmla="*/ 609354 h 1016771"/>
                    <a:gd name="connsiteX203" fmla="*/ 136396 w 761692"/>
                    <a:gd name="connsiteY203" fmla="*/ 604040 h 1016771"/>
                    <a:gd name="connsiteX204" fmla="*/ 132853 w 761692"/>
                    <a:gd name="connsiteY204" fmla="*/ 593412 h 1016771"/>
                    <a:gd name="connsiteX205" fmla="*/ 134625 w 761692"/>
                    <a:gd name="connsiteY205" fmla="*/ 584555 h 1016771"/>
                    <a:gd name="connsiteX206" fmla="*/ 131082 w 761692"/>
                    <a:gd name="connsiteY206" fmla="*/ 575698 h 1016771"/>
                    <a:gd name="connsiteX207" fmla="*/ 120454 w 761692"/>
                    <a:gd name="connsiteY207" fmla="*/ 568613 h 1016771"/>
                    <a:gd name="connsiteX208" fmla="*/ 125768 w 761692"/>
                    <a:gd name="connsiteY208" fmla="*/ 552670 h 1016771"/>
                    <a:gd name="connsiteX209" fmla="*/ 118682 w 761692"/>
                    <a:gd name="connsiteY209" fmla="*/ 543813 h 1016771"/>
                    <a:gd name="connsiteX210" fmla="*/ 90340 w 761692"/>
                    <a:gd name="connsiteY210" fmla="*/ 543813 h 1016771"/>
                    <a:gd name="connsiteX211" fmla="*/ 86797 w 761692"/>
                    <a:gd name="connsiteY211" fmla="*/ 542042 h 1016771"/>
                    <a:gd name="connsiteX212" fmla="*/ 83255 w 761692"/>
                    <a:gd name="connsiteY212" fmla="*/ 542042 h 1016771"/>
                    <a:gd name="connsiteX213" fmla="*/ 81483 w 761692"/>
                    <a:gd name="connsiteY213" fmla="*/ 540271 h 1016771"/>
                    <a:gd name="connsiteX214" fmla="*/ 81483 w 761692"/>
                    <a:gd name="connsiteY214" fmla="*/ 536728 h 1016771"/>
                    <a:gd name="connsiteX215" fmla="*/ 79712 w 761692"/>
                    <a:gd name="connsiteY215" fmla="*/ 531414 h 1016771"/>
                    <a:gd name="connsiteX216" fmla="*/ 77941 w 761692"/>
                    <a:gd name="connsiteY216" fmla="*/ 529642 h 1016771"/>
                    <a:gd name="connsiteX217" fmla="*/ 70855 w 761692"/>
                    <a:gd name="connsiteY217" fmla="*/ 527871 h 1016771"/>
                    <a:gd name="connsiteX218" fmla="*/ 60227 w 761692"/>
                    <a:gd name="connsiteY218" fmla="*/ 536728 h 1016771"/>
                    <a:gd name="connsiteX219" fmla="*/ 47827 w 761692"/>
                    <a:gd name="connsiteY219" fmla="*/ 526100 h 1016771"/>
                    <a:gd name="connsiteX220" fmla="*/ 42513 w 761692"/>
                    <a:gd name="connsiteY220" fmla="*/ 515471 h 1016771"/>
                    <a:gd name="connsiteX221" fmla="*/ 33656 w 761692"/>
                    <a:gd name="connsiteY221" fmla="*/ 506614 h 1016771"/>
                    <a:gd name="connsiteX222" fmla="*/ 31885 w 761692"/>
                    <a:gd name="connsiteY222" fmla="*/ 490672 h 1016771"/>
                    <a:gd name="connsiteX223" fmla="*/ 26571 w 761692"/>
                    <a:gd name="connsiteY223" fmla="*/ 476501 h 1016771"/>
                    <a:gd name="connsiteX224" fmla="*/ 24799 w 761692"/>
                    <a:gd name="connsiteY224" fmla="*/ 471187 h 1016771"/>
                    <a:gd name="connsiteX225" fmla="*/ 12400 w 761692"/>
                    <a:gd name="connsiteY225" fmla="*/ 472958 h 1016771"/>
                    <a:gd name="connsiteX226" fmla="*/ 7086 w 761692"/>
                    <a:gd name="connsiteY226" fmla="*/ 464101 h 1016771"/>
                    <a:gd name="connsiteX227" fmla="*/ 8857 w 761692"/>
                    <a:gd name="connsiteY227" fmla="*/ 446388 h 1016771"/>
                    <a:gd name="connsiteX228" fmla="*/ 3543 w 761692"/>
                    <a:gd name="connsiteY228" fmla="*/ 435759 h 1016771"/>
                    <a:gd name="connsiteX229" fmla="*/ 5314 w 761692"/>
                    <a:gd name="connsiteY229" fmla="*/ 412731 h 1016771"/>
                    <a:gd name="connsiteX230" fmla="*/ 0 w 761692"/>
                    <a:gd name="connsiteY230" fmla="*/ 396789 h 1016771"/>
                    <a:gd name="connsiteX231" fmla="*/ 3543 w 761692"/>
                    <a:gd name="connsiteY231" fmla="*/ 384389 h 1016771"/>
                    <a:gd name="connsiteX232" fmla="*/ 14171 w 761692"/>
                    <a:gd name="connsiteY232" fmla="*/ 380846 h 1016771"/>
                    <a:gd name="connsiteX233" fmla="*/ 24799 w 761692"/>
                    <a:gd name="connsiteY233" fmla="*/ 364904 h 1016771"/>
                    <a:gd name="connsiteX234" fmla="*/ 30113 w 761692"/>
                    <a:gd name="connsiteY234" fmla="*/ 350733 h 1016771"/>
                    <a:gd name="connsiteX235" fmla="*/ 35428 w 761692"/>
                    <a:gd name="connsiteY235" fmla="*/ 341876 h 1016771"/>
                    <a:gd name="connsiteX236" fmla="*/ 42513 w 761692"/>
                    <a:gd name="connsiteY236" fmla="*/ 327705 h 1016771"/>
                    <a:gd name="connsiteX237" fmla="*/ 42513 w 761692"/>
                    <a:gd name="connsiteY237" fmla="*/ 315305 h 1016771"/>
                    <a:gd name="connsiteX238" fmla="*/ 56684 w 761692"/>
                    <a:gd name="connsiteY238" fmla="*/ 309991 h 1016771"/>
                    <a:gd name="connsiteX239" fmla="*/ 60227 w 761692"/>
                    <a:gd name="connsiteY239" fmla="*/ 309991 h 1016771"/>
                    <a:gd name="connsiteX240" fmla="*/ 61998 w 761692"/>
                    <a:gd name="connsiteY240" fmla="*/ 311763 h 1016771"/>
                    <a:gd name="connsiteX241" fmla="*/ 67312 w 761692"/>
                    <a:gd name="connsiteY241" fmla="*/ 311763 h 1016771"/>
                    <a:gd name="connsiteX242" fmla="*/ 67312 w 761692"/>
                    <a:gd name="connsiteY242" fmla="*/ 309991 h 1016771"/>
                    <a:gd name="connsiteX243" fmla="*/ 67312 w 761692"/>
                    <a:gd name="connsiteY243" fmla="*/ 308220 h 1016771"/>
                    <a:gd name="connsiteX244" fmla="*/ 69084 w 761692"/>
                    <a:gd name="connsiteY244" fmla="*/ 302906 h 1016771"/>
                    <a:gd name="connsiteX245" fmla="*/ 70855 w 761692"/>
                    <a:gd name="connsiteY245" fmla="*/ 301134 h 1016771"/>
                    <a:gd name="connsiteX246" fmla="*/ 70855 w 761692"/>
                    <a:gd name="connsiteY246" fmla="*/ 299363 h 1016771"/>
                    <a:gd name="connsiteX247" fmla="*/ 77941 w 761692"/>
                    <a:gd name="connsiteY247" fmla="*/ 295820 h 1016771"/>
                    <a:gd name="connsiteX248" fmla="*/ 85026 w 761692"/>
                    <a:gd name="connsiteY248" fmla="*/ 295820 h 1016771"/>
                    <a:gd name="connsiteX249" fmla="*/ 93883 w 761692"/>
                    <a:gd name="connsiteY249" fmla="*/ 297592 h 1016771"/>
                    <a:gd name="connsiteX250" fmla="*/ 100968 w 761692"/>
                    <a:gd name="connsiteY250" fmla="*/ 288735 h 1016771"/>
                    <a:gd name="connsiteX251" fmla="*/ 97426 w 761692"/>
                    <a:gd name="connsiteY251" fmla="*/ 279878 h 1016771"/>
                    <a:gd name="connsiteX252" fmla="*/ 85026 w 761692"/>
                    <a:gd name="connsiteY252" fmla="*/ 276335 h 1016771"/>
                    <a:gd name="connsiteX253" fmla="*/ 76169 w 761692"/>
                    <a:gd name="connsiteY253" fmla="*/ 271021 h 1016771"/>
                    <a:gd name="connsiteX254" fmla="*/ 76169 w 761692"/>
                    <a:gd name="connsiteY254" fmla="*/ 262164 h 1016771"/>
                    <a:gd name="connsiteX255" fmla="*/ 81483 w 761692"/>
                    <a:gd name="connsiteY255" fmla="*/ 251536 h 1016771"/>
                    <a:gd name="connsiteX256" fmla="*/ 86797 w 761692"/>
                    <a:gd name="connsiteY256" fmla="*/ 255079 h 1016771"/>
                    <a:gd name="connsiteX257" fmla="*/ 104511 w 761692"/>
                    <a:gd name="connsiteY257" fmla="*/ 262164 h 1016771"/>
                    <a:gd name="connsiteX258" fmla="*/ 116911 w 761692"/>
                    <a:gd name="connsiteY258" fmla="*/ 265707 h 1016771"/>
                    <a:gd name="connsiteX259" fmla="*/ 132853 w 761692"/>
                    <a:gd name="connsiteY259" fmla="*/ 269250 h 1016771"/>
                    <a:gd name="connsiteX260" fmla="*/ 138167 w 761692"/>
                    <a:gd name="connsiteY260" fmla="*/ 265707 h 1016771"/>
                    <a:gd name="connsiteX261" fmla="*/ 150567 w 761692"/>
                    <a:gd name="connsiteY261" fmla="*/ 255079 h 1016771"/>
                    <a:gd name="connsiteX262" fmla="*/ 166509 w 761692"/>
                    <a:gd name="connsiteY262" fmla="*/ 255079 h 1016771"/>
                    <a:gd name="connsiteX263" fmla="*/ 166509 w 761692"/>
                    <a:gd name="connsiteY263" fmla="*/ 265707 h 1016771"/>
                    <a:gd name="connsiteX264" fmla="*/ 177138 w 761692"/>
                    <a:gd name="connsiteY264" fmla="*/ 272792 h 1016771"/>
                    <a:gd name="connsiteX265" fmla="*/ 194851 w 761692"/>
                    <a:gd name="connsiteY265" fmla="*/ 276335 h 1016771"/>
                    <a:gd name="connsiteX266" fmla="*/ 209022 w 761692"/>
                    <a:gd name="connsiteY266" fmla="*/ 279878 h 1016771"/>
                    <a:gd name="connsiteX267" fmla="*/ 221422 w 761692"/>
                    <a:gd name="connsiteY267" fmla="*/ 276335 h 1016771"/>
                    <a:gd name="connsiteX268" fmla="*/ 226736 w 761692"/>
                    <a:gd name="connsiteY268" fmla="*/ 269250 h 1016771"/>
                    <a:gd name="connsiteX269" fmla="*/ 226736 w 761692"/>
                    <a:gd name="connsiteY269" fmla="*/ 251536 h 1016771"/>
                    <a:gd name="connsiteX270" fmla="*/ 224965 w 761692"/>
                    <a:gd name="connsiteY270" fmla="*/ 239136 h 1016771"/>
                    <a:gd name="connsiteX271" fmla="*/ 214337 w 761692"/>
                    <a:gd name="connsiteY271" fmla="*/ 230279 h 1016771"/>
                    <a:gd name="connsiteX272" fmla="*/ 210794 w 761692"/>
                    <a:gd name="connsiteY272" fmla="*/ 217880 h 1016771"/>
                    <a:gd name="connsiteX273" fmla="*/ 221422 w 761692"/>
                    <a:gd name="connsiteY273" fmla="*/ 207251 h 1016771"/>
                    <a:gd name="connsiteX274" fmla="*/ 235593 w 761692"/>
                    <a:gd name="connsiteY274" fmla="*/ 214337 h 1016771"/>
                    <a:gd name="connsiteX275" fmla="*/ 246221 w 761692"/>
                    <a:gd name="connsiteY275" fmla="*/ 219651 h 1016771"/>
                    <a:gd name="connsiteX276" fmla="*/ 253307 w 761692"/>
                    <a:gd name="connsiteY276" fmla="*/ 221422 h 1016771"/>
                    <a:gd name="connsiteX277" fmla="*/ 262164 w 761692"/>
                    <a:gd name="connsiteY277" fmla="*/ 210794 h 1016771"/>
                    <a:gd name="connsiteX278" fmla="*/ 263935 w 761692"/>
                    <a:gd name="connsiteY278" fmla="*/ 201937 h 1016771"/>
                    <a:gd name="connsiteX279" fmla="*/ 274563 w 761692"/>
                    <a:gd name="connsiteY279" fmla="*/ 189538 h 1016771"/>
                    <a:gd name="connsiteX280" fmla="*/ 283420 w 761692"/>
                    <a:gd name="connsiteY280" fmla="*/ 178909 h 1016771"/>
                    <a:gd name="connsiteX281" fmla="*/ 286963 w 761692"/>
                    <a:gd name="connsiteY281" fmla="*/ 173595 h 1016771"/>
                    <a:gd name="connsiteX282" fmla="*/ 311762 w 761692"/>
                    <a:gd name="connsiteY282" fmla="*/ 168281 h 1016771"/>
                    <a:gd name="connsiteX283" fmla="*/ 325933 w 761692"/>
                    <a:gd name="connsiteY283" fmla="*/ 164738 h 1016771"/>
                    <a:gd name="connsiteX284" fmla="*/ 336562 w 761692"/>
                    <a:gd name="connsiteY284" fmla="*/ 159424 h 1016771"/>
                    <a:gd name="connsiteX285" fmla="*/ 348961 w 761692"/>
                    <a:gd name="connsiteY285" fmla="*/ 145253 h 1016771"/>
                    <a:gd name="connsiteX286" fmla="*/ 359589 w 761692"/>
                    <a:gd name="connsiteY286" fmla="*/ 143482 h 1016771"/>
                    <a:gd name="connsiteX287" fmla="*/ 371989 w 761692"/>
                    <a:gd name="connsiteY287" fmla="*/ 143482 h 1016771"/>
                    <a:gd name="connsiteX288" fmla="*/ 391474 w 761692"/>
                    <a:gd name="connsiteY288" fmla="*/ 143482 h 1016771"/>
                    <a:gd name="connsiteX289" fmla="*/ 396788 w 761692"/>
                    <a:gd name="connsiteY289" fmla="*/ 141710 h 1016771"/>
                    <a:gd name="connsiteX290" fmla="*/ 403874 w 761692"/>
                    <a:gd name="connsiteY290" fmla="*/ 134625 h 1016771"/>
                    <a:gd name="connsiteX291" fmla="*/ 409188 w 761692"/>
                    <a:gd name="connsiteY291" fmla="*/ 129311 h 1016771"/>
                    <a:gd name="connsiteX292" fmla="*/ 409188 w 761692"/>
                    <a:gd name="connsiteY292" fmla="*/ 123997 h 1016771"/>
                    <a:gd name="connsiteX293" fmla="*/ 414502 w 761692"/>
                    <a:gd name="connsiteY293" fmla="*/ 115140 h 1016771"/>
                    <a:gd name="connsiteX294" fmla="*/ 428673 w 761692"/>
                    <a:gd name="connsiteY294" fmla="*/ 115140 h 1016771"/>
                    <a:gd name="connsiteX295" fmla="*/ 432216 w 761692"/>
                    <a:gd name="connsiteY295" fmla="*/ 109826 h 1016771"/>
                    <a:gd name="connsiteX296" fmla="*/ 437530 w 761692"/>
                    <a:gd name="connsiteY296" fmla="*/ 100969 h 1016771"/>
                    <a:gd name="connsiteX297" fmla="*/ 448158 w 761692"/>
                    <a:gd name="connsiteY297" fmla="*/ 99197 h 1016771"/>
                    <a:gd name="connsiteX298" fmla="*/ 460558 w 761692"/>
                    <a:gd name="connsiteY298" fmla="*/ 97426 h 1016771"/>
                    <a:gd name="connsiteX299" fmla="*/ 472958 w 761692"/>
                    <a:gd name="connsiteY299" fmla="*/ 93883 h 1016771"/>
                    <a:gd name="connsiteX300" fmla="*/ 492443 w 761692"/>
                    <a:gd name="connsiteY300" fmla="*/ 93883 h 1016771"/>
                    <a:gd name="connsiteX301" fmla="*/ 501300 w 761692"/>
                    <a:gd name="connsiteY301" fmla="*/ 83255 h 1016771"/>
                    <a:gd name="connsiteX302" fmla="*/ 517242 w 761692"/>
                    <a:gd name="connsiteY302" fmla="*/ 81484 h 1016771"/>
                    <a:gd name="connsiteX303" fmla="*/ 522556 w 761692"/>
                    <a:gd name="connsiteY303" fmla="*/ 81484 h 1016771"/>
                    <a:gd name="connsiteX304" fmla="*/ 522556 w 761692"/>
                    <a:gd name="connsiteY304" fmla="*/ 60227 h 1016771"/>
                    <a:gd name="connsiteX305" fmla="*/ 526099 w 761692"/>
                    <a:gd name="connsiteY305" fmla="*/ 54913 h 1016771"/>
                    <a:gd name="connsiteX306" fmla="*/ 529642 w 761692"/>
                    <a:gd name="connsiteY306" fmla="*/ 46056 h 1016771"/>
                    <a:gd name="connsiteX307" fmla="*/ 538499 w 761692"/>
                    <a:gd name="connsiteY307" fmla="*/ 40742 h 1016771"/>
                    <a:gd name="connsiteX308" fmla="*/ 540270 w 761692"/>
                    <a:gd name="connsiteY308" fmla="*/ 30114 h 1016771"/>
                    <a:gd name="connsiteX309" fmla="*/ 536727 w 761692"/>
                    <a:gd name="connsiteY309" fmla="*/ 19485 h 1016771"/>
                    <a:gd name="connsiteX310" fmla="*/ 543813 w 761692"/>
                    <a:gd name="connsiteY310" fmla="*/ 5314 h 1016771"/>
                    <a:gd name="connsiteX311" fmla="*/ 554441 w 761692"/>
                    <a:gd name="connsiteY311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9645 w 761692"/>
                    <a:gd name="connsiteY9" fmla="*/ 860925 h 1016771"/>
                    <a:gd name="connsiteX10" fmla="*/ 148122 w 761692"/>
                    <a:gd name="connsiteY10" fmla="*/ 867707 h 1016771"/>
                    <a:gd name="connsiteX11" fmla="*/ 147024 w 761692"/>
                    <a:gd name="connsiteY11" fmla="*/ 867975 h 1016771"/>
                    <a:gd name="connsiteX12" fmla="*/ 138167 w 761692"/>
                    <a:gd name="connsiteY12" fmla="*/ 860890 h 1016771"/>
                    <a:gd name="connsiteX13" fmla="*/ 138167 w 761692"/>
                    <a:gd name="connsiteY13" fmla="*/ 852033 h 1016771"/>
                    <a:gd name="connsiteX14" fmla="*/ 139939 w 761692"/>
                    <a:gd name="connsiteY14" fmla="*/ 850262 h 1016771"/>
                    <a:gd name="connsiteX15" fmla="*/ 139939 w 761692"/>
                    <a:gd name="connsiteY15" fmla="*/ 848490 h 1016771"/>
                    <a:gd name="connsiteX16" fmla="*/ 145253 w 761692"/>
                    <a:gd name="connsiteY16" fmla="*/ 843176 h 1016771"/>
                    <a:gd name="connsiteX17" fmla="*/ 147024 w 761692"/>
                    <a:gd name="connsiteY17" fmla="*/ 841405 h 1016771"/>
                    <a:gd name="connsiteX18" fmla="*/ 148796 w 761692"/>
                    <a:gd name="connsiteY18" fmla="*/ 839633 h 1016771"/>
                    <a:gd name="connsiteX19" fmla="*/ 150567 w 761692"/>
                    <a:gd name="connsiteY19" fmla="*/ 837862 h 1016771"/>
                    <a:gd name="connsiteX20" fmla="*/ 159250 w 761692"/>
                    <a:gd name="connsiteY20" fmla="*/ 829179 h 1016771"/>
                    <a:gd name="connsiteX21" fmla="*/ 116476 w 761692"/>
                    <a:gd name="connsiteY21" fmla="*/ 741349 h 1016771"/>
                    <a:gd name="connsiteX22" fmla="*/ 117606 w 761692"/>
                    <a:gd name="connsiteY22" fmla="*/ 742253 h 1016771"/>
                    <a:gd name="connsiteX23" fmla="*/ 122692 w 761692"/>
                    <a:gd name="connsiteY23" fmla="*/ 759206 h 1016771"/>
                    <a:gd name="connsiteX24" fmla="*/ 126082 w 761692"/>
                    <a:gd name="connsiteY24" fmla="*/ 771073 h 1016771"/>
                    <a:gd name="connsiteX25" fmla="*/ 129473 w 761692"/>
                    <a:gd name="connsiteY25" fmla="*/ 782940 h 1016771"/>
                    <a:gd name="connsiteX26" fmla="*/ 132864 w 761692"/>
                    <a:gd name="connsiteY26" fmla="*/ 793112 h 1016771"/>
                    <a:gd name="connsiteX27" fmla="*/ 136254 w 761692"/>
                    <a:gd name="connsiteY27" fmla="*/ 810066 h 1016771"/>
                    <a:gd name="connsiteX28" fmla="*/ 139058 w 761692"/>
                    <a:gd name="connsiteY28" fmla="*/ 818476 h 1016771"/>
                    <a:gd name="connsiteX29" fmla="*/ 138167 w 761692"/>
                    <a:gd name="connsiteY29" fmla="*/ 818377 h 1016771"/>
                    <a:gd name="connsiteX30" fmla="*/ 134625 w 761692"/>
                    <a:gd name="connsiteY30" fmla="*/ 807749 h 1016771"/>
                    <a:gd name="connsiteX31" fmla="*/ 131082 w 761692"/>
                    <a:gd name="connsiteY31" fmla="*/ 790035 h 1016771"/>
                    <a:gd name="connsiteX32" fmla="*/ 127539 w 761692"/>
                    <a:gd name="connsiteY32" fmla="*/ 779407 h 1016771"/>
                    <a:gd name="connsiteX33" fmla="*/ 123996 w 761692"/>
                    <a:gd name="connsiteY33" fmla="*/ 767007 h 1016771"/>
                    <a:gd name="connsiteX34" fmla="*/ 120454 w 761692"/>
                    <a:gd name="connsiteY34" fmla="*/ 754607 h 1016771"/>
                    <a:gd name="connsiteX35" fmla="*/ 116476 w 761692"/>
                    <a:gd name="connsiteY35" fmla="*/ 741349 h 1016771"/>
                    <a:gd name="connsiteX36" fmla="*/ 554441 w 761692"/>
                    <a:gd name="connsiteY36" fmla="*/ 0 h 1016771"/>
                    <a:gd name="connsiteX37" fmla="*/ 570383 w 761692"/>
                    <a:gd name="connsiteY37" fmla="*/ 3543 h 1016771"/>
                    <a:gd name="connsiteX38" fmla="*/ 577469 w 761692"/>
                    <a:gd name="connsiteY38" fmla="*/ 8857 h 1016771"/>
                    <a:gd name="connsiteX39" fmla="*/ 582783 w 761692"/>
                    <a:gd name="connsiteY39" fmla="*/ 17714 h 1016771"/>
                    <a:gd name="connsiteX40" fmla="*/ 582783 w 761692"/>
                    <a:gd name="connsiteY40" fmla="*/ 24799 h 1016771"/>
                    <a:gd name="connsiteX41" fmla="*/ 588097 w 761692"/>
                    <a:gd name="connsiteY41" fmla="*/ 33656 h 1016771"/>
                    <a:gd name="connsiteX42" fmla="*/ 598725 w 761692"/>
                    <a:gd name="connsiteY42" fmla="*/ 31885 h 1016771"/>
                    <a:gd name="connsiteX43" fmla="*/ 612896 w 761692"/>
                    <a:gd name="connsiteY43" fmla="*/ 37199 h 1016771"/>
                    <a:gd name="connsiteX44" fmla="*/ 618211 w 761692"/>
                    <a:gd name="connsiteY44" fmla="*/ 46056 h 1016771"/>
                    <a:gd name="connsiteX45" fmla="*/ 619982 w 761692"/>
                    <a:gd name="connsiteY45" fmla="*/ 54913 h 1016771"/>
                    <a:gd name="connsiteX46" fmla="*/ 618211 w 761692"/>
                    <a:gd name="connsiteY46" fmla="*/ 74398 h 1016771"/>
                    <a:gd name="connsiteX47" fmla="*/ 616439 w 761692"/>
                    <a:gd name="connsiteY47" fmla="*/ 85026 h 1016771"/>
                    <a:gd name="connsiteX48" fmla="*/ 621753 w 761692"/>
                    <a:gd name="connsiteY48" fmla="*/ 97426 h 1016771"/>
                    <a:gd name="connsiteX49" fmla="*/ 637696 w 761692"/>
                    <a:gd name="connsiteY49" fmla="*/ 113368 h 1016771"/>
                    <a:gd name="connsiteX50" fmla="*/ 644781 w 761692"/>
                    <a:gd name="connsiteY50" fmla="*/ 120454 h 1016771"/>
                    <a:gd name="connsiteX51" fmla="*/ 650095 w 761692"/>
                    <a:gd name="connsiteY51" fmla="*/ 136396 h 1016771"/>
                    <a:gd name="connsiteX52" fmla="*/ 655409 w 761692"/>
                    <a:gd name="connsiteY52" fmla="*/ 155881 h 1016771"/>
                    <a:gd name="connsiteX53" fmla="*/ 662495 w 761692"/>
                    <a:gd name="connsiteY53" fmla="*/ 171824 h 1016771"/>
                    <a:gd name="connsiteX54" fmla="*/ 660724 w 761692"/>
                    <a:gd name="connsiteY54" fmla="*/ 185995 h 1016771"/>
                    <a:gd name="connsiteX55" fmla="*/ 635924 w 761692"/>
                    <a:gd name="connsiteY55" fmla="*/ 194852 h 1016771"/>
                    <a:gd name="connsiteX56" fmla="*/ 619982 w 761692"/>
                    <a:gd name="connsiteY56" fmla="*/ 207251 h 1016771"/>
                    <a:gd name="connsiteX57" fmla="*/ 614668 w 761692"/>
                    <a:gd name="connsiteY57" fmla="*/ 223194 h 1016771"/>
                    <a:gd name="connsiteX58" fmla="*/ 618211 w 761692"/>
                    <a:gd name="connsiteY58" fmla="*/ 242679 h 1016771"/>
                    <a:gd name="connsiteX59" fmla="*/ 612896 w 761692"/>
                    <a:gd name="connsiteY59" fmla="*/ 256850 h 1016771"/>
                    <a:gd name="connsiteX60" fmla="*/ 625296 w 761692"/>
                    <a:gd name="connsiteY60" fmla="*/ 267478 h 1016771"/>
                    <a:gd name="connsiteX61" fmla="*/ 641238 w 761692"/>
                    <a:gd name="connsiteY61" fmla="*/ 269250 h 1016771"/>
                    <a:gd name="connsiteX62" fmla="*/ 658952 w 761692"/>
                    <a:gd name="connsiteY62" fmla="*/ 286963 h 1016771"/>
                    <a:gd name="connsiteX63" fmla="*/ 653638 w 761692"/>
                    <a:gd name="connsiteY63" fmla="*/ 309991 h 1016771"/>
                    <a:gd name="connsiteX64" fmla="*/ 653638 w 761692"/>
                    <a:gd name="connsiteY64" fmla="*/ 329476 h 1016771"/>
                    <a:gd name="connsiteX65" fmla="*/ 643010 w 761692"/>
                    <a:gd name="connsiteY65" fmla="*/ 338333 h 1016771"/>
                    <a:gd name="connsiteX66" fmla="*/ 632382 w 761692"/>
                    <a:gd name="connsiteY66" fmla="*/ 338333 h 1016771"/>
                    <a:gd name="connsiteX67" fmla="*/ 618211 w 761692"/>
                    <a:gd name="connsiteY67" fmla="*/ 357819 h 1016771"/>
                    <a:gd name="connsiteX68" fmla="*/ 609354 w 761692"/>
                    <a:gd name="connsiteY68" fmla="*/ 361361 h 1016771"/>
                    <a:gd name="connsiteX69" fmla="*/ 596954 w 761692"/>
                    <a:gd name="connsiteY69" fmla="*/ 363133 h 1016771"/>
                    <a:gd name="connsiteX70" fmla="*/ 581012 w 761692"/>
                    <a:gd name="connsiteY70" fmla="*/ 379075 h 1016771"/>
                    <a:gd name="connsiteX71" fmla="*/ 589868 w 761692"/>
                    <a:gd name="connsiteY71" fmla="*/ 393246 h 1016771"/>
                    <a:gd name="connsiteX72" fmla="*/ 586326 w 761692"/>
                    <a:gd name="connsiteY72" fmla="*/ 409189 h 1016771"/>
                    <a:gd name="connsiteX73" fmla="*/ 570383 w 761692"/>
                    <a:gd name="connsiteY73" fmla="*/ 398560 h 1016771"/>
                    <a:gd name="connsiteX74" fmla="*/ 550898 w 761692"/>
                    <a:gd name="connsiteY74" fmla="*/ 405646 h 1016771"/>
                    <a:gd name="connsiteX75" fmla="*/ 531413 w 761692"/>
                    <a:gd name="connsiteY75" fmla="*/ 425131 h 1016771"/>
                    <a:gd name="connsiteX76" fmla="*/ 543813 w 761692"/>
                    <a:gd name="connsiteY76" fmla="*/ 444616 h 1016771"/>
                    <a:gd name="connsiteX77" fmla="*/ 557984 w 761692"/>
                    <a:gd name="connsiteY77" fmla="*/ 462330 h 1016771"/>
                    <a:gd name="connsiteX78" fmla="*/ 570383 w 761692"/>
                    <a:gd name="connsiteY78" fmla="*/ 478272 h 1016771"/>
                    <a:gd name="connsiteX79" fmla="*/ 579240 w 761692"/>
                    <a:gd name="connsiteY79" fmla="*/ 485358 h 1016771"/>
                    <a:gd name="connsiteX80" fmla="*/ 602268 w 761692"/>
                    <a:gd name="connsiteY80" fmla="*/ 483586 h 1016771"/>
                    <a:gd name="connsiteX81" fmla="*/ 623525 w 761692"/>
                    <a:gd name="connsiteY81" fmla="*/ 474730 h 1016771"/>
                    <a:gd name="connsiteX82" fmla="*/ 639467 w 761692"/>
                    <a:gd name="connsiteY82" fmla="*/ 464101 h 1016771"/>
                    <a:gd name="connsiteX83" fmla="*/ 662495 w 761692"/>
                    <a:gd name="connsiteY83" fmla="*/ 464101 h 1016771"/>
                    <a:gd name="connsiteX84" fmla="*/ 673123 w 761692"/>
                    <a:gd name="connsiteY84" fmla="*/ 464101 h 1016771"/>
                    <a:gd name="connsiteX85" fmla="*/ 681980 w 761692"/>
                    <a:gd name="connsiteY85" fmla="*/ 467644 h 1016771"/>
                    <a:gd name="connsiteX86" fmla="*/ 703237 w 761692"/>
                    <a:gd name="connsiteY86" fmla="*/ 471187 h 1016771"/>
                    <a:gd name="connsiteX87" fmla="*/ 708551 w 761692"/>
                    <a:gd name="connsiteY87" fmla="*/ 474730 h 1016771"/>
                    <a:gd name="connsiteX88" fmla="*/ 722722 w 761692"/>
                    <a:gd name="connsiteY88" fmla="*/ 501300 h 1016771"/>
                    <a:gd name="connsiteX89" fmla="*/ 724493 w 761692"/>
                    <a:gd name="connsiteY89" fmla="*/ 522557 h 1016771"/>
                    <a:gd name="connsiteX90" fmla="*/ 722722 w 761692"/>
                    <a:gd name="connsiteY90" fmla="*/ 540271 h 1016771"/>
                    <a:gd name="connsiteX91" fmla="*/ 735121 w 761692"/>
                    <a:gd name="connsiteY91" fmla="*/ 552670 h 1016771"/>
                    <a:gd name="connsiteX92" fmla="*/ 735121 w 761692"/>
                    <a:gd name="connsiteY92" fmla="*/ 570384 h 1016771"/>
                    <a:gd name="connsiteX93" fmla="*/ 751064 w 761692"/>
                    <a:gd name="connsiteY93" fmla="*/ 581012 h 1016771"/>
                    <a:gd name="connsiteX94" fmla="*/ 761692 w 761692"/>
                    <a:gd name="connsiteY94" fmla="*/ 604040 h 1016771"/>
                    <a:gd name="connsiteX95" fmla="*/ 747521 w 761692"/>
                    <a:gd name="connsiteY95" fmla="*/ 616440 h 1016771"/>
                    <a:gd name="connsiteX96" fmla="*/ 728036 w 761692"/>
                    <a:gd name="connsiteY96" fmla="*/ 627068 h 1016771"/>
                    <a:gd name="connsiteX97" fmla="*/ 726264 w 761692"/>
                    <a:gd name="connsiteY97" fmla="*/ 650096 h 1016771"/>
                    <a:gd name="connsiteX98" fmla="*/ 728036 w 761692"/>
                    <a:gd name="connsiteY98" fmla="*/ 673124 h 1016771"/>
                    <a:gd name="connsiteX99" fmla="*/ 742207 w 761692"/>
                    <a:gd name="connsiteY99" fmla="*/ 689066 h 1016771"/>
                    <a:gd name="connsiteX100" fmla="*/ 742207 w 761692"/>
                    <a:gd name="connsiteY100" fmla="*/ 712094 h 1016771"/>
                    <a:gd name="connsiteX101" fmla="*/ 740435 w 761692"/>
                    <a:gd name="connsiteY101" fmla="*/ 735122 h 1016771"/>
                    <a:gd name="connsiteX102" fmla="*/ 742207 w 761692"/>
                    <a:gd name="connsiteY102" fmla="*/ 751065 h 1016771"/>
                    <a:gd name="connsiteX103" fmla="*/ 747521 w 761692"/>
                    <a:gd name="connsiteY103" fmla="*/ 768778 h 1016771"/>
                    <a:gd name="connsiteX104" fmla="*/ 759921 w 761692"/>
                    <a:gd name="connsiteY104" fmla="*/ 777635 h 1016771"/>
                    <a:gd name="connsiteX105" fmla="*/ 758149 w 761692"/>
                    <a:gd name="connsiteY105" fmla="*/ 802434 h 1016771"/>
                    <a:gd name="connsiteX106" fmla="*/ 752835 w 761692"/>
                    <a:gd name="connsiteY106" fmla="*/ 814834 h 1016771"/>
                    <a:gd name="connsiteX107" fmla="*/ 743978 w 761692"/>
                    <a:gd name="connsiteY107" fmla="*/ 827234 h 1016771"/>
                    <a:gd name="connsiteX108" fmla="*/ 743978 w 761692"/>
                    <a:gd name="connsiteY108" fmla="*/ 837862 h 1016771"/>
                    <a:gd name="connsiteX109" fmla="*/ 747521 w 761692"/>
                    <a:gd name="connsiteY109" fmla="*/ 853804 h 1016771"/>
                    <a:gd name="connsiteX110" fmla="*/ 733350 w 761692"/>
                    <a:gd name="connsiteY110" fmla="*/ 867975 h 1016771"/>
                    <a:gd name="connsiteX111" fmla="*/ 724493 w 761692"/>
                    <a:gd name="connsiteY111" fmla="*/ 880375 h 1016771"/>
                    <a:gd name="connsiteX112" fmla="*/ 722722 w 761692"/>
                    <a:gd name="connsiteY112" fmla="*/ 899860 h 1016771"/>
                    <a:gd name="connsiteX113" fmla="*/ 722722 w 761692"/>
                    <a:gd name="connsiteY113" fmla="*/ 919345 h 1016771"/>
                    <a:gd name="connsiteX114" fmla="*/ 715636 w 761692"/>
                    <a:gd name="connsiteY114" fmla="*/ 940602 h 1016771"/>
                    <a:gd name="connsiteX115" fmla="*/ 708551 w 761692"/>
                    <a:gd name="connsiteY115" fmla="*/ 954773 h 1016771"/>
                    <a:gd name="connsiteX116" fmla="*/ 699694 w 761692"/>
                    <a:gd name="connsiteY116" fmla="*/ 965401 h 1016771"/>
                    <a:gd name="connsiteX117" fmla="*/ 692608 w 761692"/>
                    <a:gd name="connsiteY117" fmla="*/ 984886 h 1016771"/>
                    <a:gd name="connsiteX118" fmla="*/ 683751 w 761692"/>
                    <a:gd name="connsiteY118" fmla="*/ 997286 h 1016771"/>
                    <a:gd name="connsiteX119" fmla="*/ 673123 w 761692"/>
                    <a:gd name="connsiteY119" fmla="*/ 1002600 h 1016771"/>
                    <a:gd name="connsiteX120" fmla="*/ 662495 w 761692"/>
                    <a:gd name="connsiteY120" fmla="*/ 1013228 h 1016771"/>
                    <a:gd name="connsiteX121" fmla="*/ 644781 w 761692"/>
                    <a:gd name="connsiteY121" fmla="*/ 1016771 h 1016771"/>
                    <a:gd name="connsiteX122" fmla="*/ 635924 w 761692"/>
                    <a:gd name="connsiteY122" fmla="*/ 1004372 h 1016771"/>
                    <a:gd name="connsiteX123" fmla="*/ 623525 w 761692"/>
                    <a:gd name="connsiteY123" fmla="*/ 997286 h 1016771"/>
                    <a:gd name="connsiteX124" fmla="*/ 614668 w 761692"/>
                    <a:gd name="connsiteY124" fmla="*/ 986658 h 1016771"/>
                    <a:gd name="connsiteX125" fmla="*/ 593411 w 761692"/>
                    <a:gd name="connsiteY125" fmla="*/ 970715 h 1016771"/>
                    <a:gd name="connsiteX126" fmla="*/ 582783 w 761692"/>
                    <a:gd name="connsiteY126" fmla="*/ 965401 h 1016771"/>
                    <a:gd name="connsiteX127" fmla="*/ 531413 w 761692"/>
                    <a:gd name="connsiteY127" fmla="*/ 965401 h 1016771"/>
                    <a:gd name="connsiteX128" fmla="*/ 511928 w 761692"/>
                    <a:gd name="connsiteY128" fmla="*/ 965401 h 1016771"/>
                    <a:gd name="connsiteX129" fmla="*/ 492443 w 761692"/>
                    <a:gd name="connsiteY129" fmla="*/ 963630 h 1016771"/>
                    <a:gd name="connsiteX130" fmla="*/ 483586 w 761692"/>
                    <a:gd name="connsiteY130" fmla="*/ 958316 h 1016771"/>
                    <a:gd name="connsiteX131" fmla="*/ 469415 w 761692"/>
                    <a:gd name="connsiteY131" fmla="*/ 954773 h 1016771"/>
                    <a:gd name="connsiteX132" fmla="*/ 460558 w 761692"/>
                    <a:gd name="connsiteY132" fmla="*/ 942373 h 1016771"/>
                    <a:gd name="connsiteX133" fmla="*/ 446387 w 761692"/>
                    <a:gd name="connsiteY133" fmla="*/ 935288 h 1016771"/>
                    <a:gd name="connsiteX134" fmla="*/ 428673 w 761692"/>
                    <a:gd name="connsiteY134" fmla="*/ 928202 h 1016771"/>
                    <a:gd name="connsiteX135" fmla="*/ 418045 w 761692"/>
                    <a:gd name="connsiteY135" fmla="*/ 917574 h 1016771"/>
                    <a:gd name="connsiteX136" fmla="*/ 421588 w 761692"/>
                    <a:gd name="connsiteY136" fmla="*/ 903403 h 1016771"/>
                    <a:gd name="connsiteX137" fmla="*/ 418045 w 761692"/>
                    <a:gd name="connsiteY137" fmla="*/ 898089 h 1016771"/>
                    <a:gd name="connsiteX138" fmla="*/ 396788 w 761692"/>
                    <a:gd name="connsiteY138" fmla="*/ 898089 h 1016771"/>
                    <a:gd name="connsiteX139" fmla="*/ 382617 w 761692"/>
                    <a:gd name="connsiteY139" fmla="*/ 896318 h 1016771"/>
                    <a:gd name="connsiteX140" fmla="*/ 380846 w 761692"/>
                    <a:gd name="connsiteY140" fmla="*/ 906946 h 1016771"/>
                    <a:gd name="connsiteX141" fmla="*/ 373601 w 761692"/>
                    <a:gd name="connsiteY141" fmla="*/ 894832 h 1016771"/>
                    <a:gd name="connsiteX142" fmla="*/ 387164 w 761692"/>
                    <a:gd name="connsiteY142" fmla="*/ 896527 h 1016771"/>
                    <a:gd name="connsiteX143" fmla="*/ 383773 w 761692"/>
                    <a:gd name="connsiteY143" fmla="*/ 886355 h 1016771"/>
                    <a:gd name="connsiteX144" fmla="*/ 387164 w 761692"/>
                    <a:gd name="connsiteY144" fmla="*/ 876183 h 1016771"/>
                    <a:gd name="connsiteX145" fmla="*/ 388859 w 761692"/>
                    <a:gd name="connsiteY145" fmla="*/ 867707 h 1016771"/>
                    <a:gd name="connsiteX146" fmla="*/ 380382 w 761692"/>
                    <a:gd name="connsiteY146" fmla="*/ 859230 h 1016771"/>
                    <a:gd name="connsiteX147" fmla="*/ 373601 w 761692"/>
                    <a:gd name="connsiteY147" fmla="*/ 849058 h 1016771"/>
                    <a:gd name="connsiteX148" fmla="*/ 380382 w 761692"/>
                    <a:gd name="connsiteY148" fmla="*/ 838886 h 1016771"/>
                    <a:gd name="connsiteX149" fmla="*/ 383773 w 761692"/>
                    <a:gd name="connsiteY149" fmla="*/ 833800 h 1016771"/>
                    <a:gd name="connsiteX150" fmla="*/ 388859 w 761692"/>
                    <a:gd name="connsiteY150" fmla="*/ 825324 h 1016771"/>
                    <a:gd name="connsiteX151" fmla="*/ 387164 w 761692"/>
                    <a:gd name="connsiteY151" fmla="*/ 810066 h 1016771"/>
                    <a:gd name="connsiteX152" fmla="*/ 387164 w 761692"/>
                    <a:gd name="connsiteY152" fmla="*/ 796503 h 1016771"/>
                    <a:gd name="connsiteX153" fmla="*/ 378687 w 761692"/>
                    <a:gd name="connsiteY153" fmla="*/ 789722 h 1016771"/>
                    <a:gd name="connsiteX154" fmla="*/ 366820 w 761692"/>
                    <a:gd name="connsiteY154" fmla="*/ 782940 h 1016771"/>
                    <a:gd name="connsiteX155" fmla="*/ 356648 w 761692"/>
                    <a:gd name="connsiteY155" fmla="*/ 781245 h 1016771"/>
                    <a:gd name="connsiteX156" fmla="*/ 349866 w 761692"/>
                    <a:gd name="connsiteY156" fmla="*/ 771073 h 1016771"/>
                    <a:gd name="connsiteX157" fmla="*/ 349866 w 761692"/>
                    <a:gd name="connsiteY157" fmla="*/ 752425 h 1016771"/>
                    <a:gd name="connsiteX158" fmla="*/ 353257 w 761692"/>
                    <a:gd name="connsiteY158" fmla="*/ 743948 h 1016771"/>
                    <a:gd name="connsiteX159" fmla="*/ 354952 w 761692"/>
                    <a:gd name="connsiteY159" fmla="*/ 730385 h 1016771"/>
                    <a:gd name="connsiteX160" fmla="*/ 353257 w 761692"/>
                    <a:gd name="connsiteY160" fmla="*/ 713432 h 1016771"/>
                    <a:gd name="connsiteX161" fmla="*/ 346476 w 761692"/>
                    <a:gd name="connsiteY161" fmla="*/ 701565 h 1016771"/>
                    <a:gd name="connsiteX162" fmla="*/ 332913 w 761692"/>
                    <a:gd name="connsiteY162" fmla="*/ 689697 h 1016771"/>
                    <a:gd name="connsiteX163" fmla="*/ 324436 w 761692"/>
                    <a:gd name="connsiteY163" fmla="*/ 681221 h 1016771"/>
                    <a:gd name="connsiteX164" fmla="*/ 314264 w 761692"/>
                    <a:gd name="connsiteY164" fmla="*/ 676135 h 1016771"/>
                    <a:gd name="connsiteX165" fmla="*/ 293920 w 761692"/>
                    <a:gd name="connsiteY165" fmla="*/ 669354 h 1016771"/>
                    <a:gd name="connsiteX166" fmla="*/ 282053 w 761692"/>
                    <a:gd name="connsiteY166" fmla="*/ 667658 h 1016771"/>
                    <a:gd name="connsiteX167" fmla="*/ 266795 w 761692"/>
                    <a:gd name="connsiteY167" fmla="*/ 672744 h 1016771"/>
                    <a:gd name="connsiteX168" fmla="*/ 265100 w 761692"/>
                    <a:gd name="connsiteY168" fmla="*/ 672744 h 1016771"/>
                    <a:gd name="connsiteX169" fmla="*/ 263404 w 761692"/>
                    <a:gd name="connsiteY169" fmla="*/ 671049 h 1016771"/>
                    <a:gd name="connsiteX170" fmla="*/ 260014 w 761692"/>
                    <a:gd name="connsiteY170" fmla="*/ 671049 h 1016771"/>
                    <a:gd name="connsiteX171" fmla="*/ 258318 w 761692"/>
                    <a:gd name="connsiteY171" fmla="*/ 671049 h 1016771"/>
                    <a:gd name="connsiteX172" fmla="*/ 253232 w 761692"/>
                    <a:gd name="connsiteY172" fmla="*/ 671049 h 1016771"/>
                    <a:gd name="connsiteX173" fmla="*/ 248146 w 761692"/>
                    <a:gd name="connsiteY173" fmla="*/ 672744 h 1016771"/>
                    <a:gd name="connsiteX174" fmla="*/ 248146 w 761692"/>
                    <a:gd name="connsiteY174" fmla="*/ 674440 h 1016771"/>
                    <a:gd name="connsiteX175" fmla="*/ 246451 w 761692"/>
                    <a:gd name="connsiteY175" fmla="*/ 674440 h 1016771"/>
                    <a:gd name="connsiteX176" fmla="*/ 236279 w 761692"/>
                    <a:gd name="connsiteY176" fmla="*/ 679526 h 1016771"/>
                    <a:gd name="connsiteX177" fmla="*/ 226107 w 761692"/>
                    <a:gd name="connsiteY177" fmla="*/ 684612 h 1016771"/>
                    <a:gd name="connsiteX178" fmla="*/ 217630 w 761692"/>
                    <a:gd name="connsiteY178" fmla="*/ 684612 h 1016771"/>
                    <a:gd name="connsiteX179" fmla="*/ 207458 w 761692"/>
                    <a:gd name="connsiteY179" fmla="*/ 693088 h 1016771"/>
                    <a:gd name="connsiteX180" fmla="*/ 198982 w 761692"/>
                    <a:gd name="connsiteY180" fmla="*/ 694783 h 1016771"/>
                    <a:gd name="connsiteX181" fmla="*/ 192200 w 761692"/>
                    <a:gd name="connsiteY181" fmla="*/ 699869 h 1016771"/>
                    <a:gd name="connsiteX182" fmla="*/ 178638 w 761692"/>
                    <a:gd name="connsiteY182" fmla="*/ 706651 h 1016771"/>
                    <a:gd name="connsiteX183" fmla="*/ 163380 w 761692"/>
                    <a:gd name="connsiteY183" fmla="*/ 710041 h 1016771"/>
                    <a:gd name="connsiteX184" fmla="*/ 141340 w 761692"/>
                    <a:gd name="connsiteY184" fmla="*/ 710041 h 1016771"/>
                    <a:gd name="connsiteX185" fmla="*/ 134559 w 761692"/>
                    <a:gd name="connsiteY185" fmla="*/ 716823 h 1016771"/>
                    <a:gd name="connsiteX186" fmla="*/ 127778 w 761692"/>
                    <a:gd name="connsiteY186" fmla="*/ 718518 h 1016771"/>
                    <a:gd name="connsiteX187" fmla="*/ 120996 w 761692"/>
                    <a:gd name="connsiteY187" fmla="*/ 725299 h 1016771"/>
                    <a:gd name="connsiteX188" fmla="*/ 111172 w 761692"/>
                    <a:gd name="connsiteY188" fmla="*/ 733720 h 1016771"/>
                    <a:gd name="connsiteX189" fmla="*/ 106283 w 761692"/>
                    <a:gd name="connsiteY189" fmla="*/ 729808 h 1016771"/>
                    <a:gd name="connsiteX190" fmla="*/ 92112 w 761692"/>
                    <a:gd name="connsiteY190" fmla="*/ 724494 h 1016771"/>
                    <a:gd name="connsiteX191" fmla="*/ 77941 w 761692"/>
                    <a:gd name="connsiteY191" fmla="*/ 726265 h 1016771"/>
                    <a:gd name="connsiteX192" fmla="*/ 70855 w 761692"/>
                    <a:gd name="connsiteY192" fmla="*/ 719180 h 1016771"/>
                    <a:gd name="connsiteX193" fmla="*/ 70855 w 761692"/>
                    <a:gd name="connsiteY193" fmla="*/ 699695 h 1016771"/>
                    <a:gd name="connsiteX194" fmla="*/ 81483 w 761692"/>
                    <a:gd name="connsiteY194" fmla="*/ 685524 h 1016771"/>
                    <a:gd name="connsiteX195" fmla="*/ 85026 w 761692"/>
                    <a:gd name="connsiteY195" fmla="*/ 673124 h 1016771"/>
                    <a:gd name="connsiteX196" fmla="*/ 86797 w 761692"/>
                    <a:gd name="connsiteY196" fmla="*/ 660724 h 1016771"/>
                    <a:gd name="connsiteX197" fmla="*/ 97426 w 761692"/>
                    <a:gd name="connsiteY197" fmla="*/ 650096 h 1016771"/>
                    <a:gd name="connsiteX198" fmla="*/ 102740 w 761692"/>
                    <a:gd name="connsiteY198" fmla="*/ 635925 h 1016771"/>
                    <a:gd name="connsiteX199" fmla="*/ 113368 w 761692"/>
                    <a:gd name="connsiteY199" fmla="*/ 625297 h 1016771"/>
                    <a:gd name="connsiteX200" fmla="*/ 115139 w 761692"/>
                    <a:gd name="connsiteY200" fmla="*/ 612897 h 1016771"/>
                    <a:gd name="connsiteX201" fmla="*/ 127539 w 761692"/>
                    <a:gd name="connsiteY201" fmla="*/ 609354 h 1016771"/>
                    <a:gd name="connsiteX202" fmla="*/ 136396 w 761692"/>
                    <a:gd name="connsiteY202" fmla="*/ 604040 h 1016771"/>
                    <a:gd name="connsiteX203" fmla="*/ 132853 w 761692"/>
                    <a:gd name="connsiteY203" fmla="*/ 593412 h 1016771"/>
                    <a:gd name="connsiteX204" fmla="*/ 134625 w 761692"/>
                    <a:gd name="connsiteY204" fmla="*/ 584555 h 1016771"/>
                    <a:gd name="connsiteX205" fmla="*/ 131082 w 761692"/>
                    <a:gd name="connsiteY205" fmla="*/ 575698 h 1016771"/>
                    <a:gd name="connsiteX206" fmla="*/ 120454 w 761692"/>
                    <a:gd name="connsiteY206" fmla="*/ 568613 h 1016771"/>
                    <a:gd name="connsiteX207" fmla="*/ 125768 w 761692"/>
                    <a:gd name="connsiteY207" fmla="*/ 552670 h 1016771"/>
                    <a:gd name="connsiteX208" fmla="*/ 118682 w 761692"/>
                    <a:gd name="connsiteY208" fmla="*/ 543813 h 1016771"/>
                    <a:gd name="connsiteX209" fmla="*/ 90340 w 761692"/>
                    <a:gd name="connsiteY209" fmla="*/ 543813 h 1016771"/>
                    <a:gd name="connsiteX210" fmla="*/ 86797 w 761692"/>
                    <a:gd name="connsiteY210" fmla="*/ 542042 h 1016771"/>
                    <a:gd name="connsiteX211" fmla="*/ 83255 w 761692"/>
                    <a:gd name="connsiteY211" fmla="*/ 542042 h 1016771"/>
                    <a:gd name="connsiteX212" fmla="*/ 81483 w 761692"/>
                    <a:gd name="connsiteY212" fmla="*/ 540271 h 1016771"/>
                    <a:gd name="connsiteX213" fmla="*/ 81483 w 761692"/>
                    <a:gd name="connsiteY213" fmla="*/ 536728 h 1016771"/>
                    <a:gd name="connsiteX214" fmla="*/ 79712 w 761692"/>
                    <a:gd name="connsiteY214" fmla="*/ 531414 h 1016771"/>
                    <a:gd name="connsiteX215" fmla="*/ 77941 w 761692"/>
                    <a:gd name="connsiteY215" fmla="*/ 529642 h 1016771"/>
                    <a:gd name="connsiteX216" fmla="*/ 70855 w 761692"/>
                    <a:gd name="connsiteY216" fmla="*/ 527871 h 1016771"/>
                    <a:gd name="connsiteX217" fmla="*/ 60227 w 761692"/>
                    <a:gd name="connsiteY217" fmla="*/ 536728 h 1016771"/>
                    <a:gd name="connsiteX218" fmla="*/ 47827 w 761692"/>
                    <a:gd name="connsiteY218" fmla="*/ 526100 h 1016771"/>
                    <a:gd name="connsiteX219" fmla="*/ 42513 w 761692"/>
                    <a:gd name="connsiteY219" fmla="*/ 515471 h 1016771"/>
                    <a:gd name="connsiteX220" fmla="*/ 33656 w 761692"/>
                    <a:gd name="connsiteY220" fmla="*/ 506614 h 1016771"/>
                    <a:gd name="connsiteX221" fmla="*/ 31885 w 761692"/>
                    <a:gd name="connsiteY221" fmla="*/ 490672 h 1016771"/>
                    <a:gd name="connsiteX222" fmla="*/ 26571 w 761692"/>
                    <a:gd name="connsiteY222" fmla="*/ 476501 h 1016771"/>
                    <a:gd name="connsiteX223" fmla="*/ 24799 w 761692"/>
                    <a:gd name="connsiteY223" fmla="*/ 471187 h 1016771"/>
                    <a:gd name="connsiteX224" fmla="*/ 12400 w 761692"/>
                    <a:gd name="connsiteY224" fmla="*/ 472958 h 1016771"/>
                    <a:gd name="connsiteX225" fmla="*/ 7086 w 761692"/>
                    <a:gd name="connsiteY225" fmla="*/ 464101 h 1016771"/>
                    <a:gd name="connsiteX226" fmla="*/ 8857 w 761692"/>
                    <a:gd name="connsiteY226" fmla="*/ 446388 h 1016771"/>
                    <a:gd name="connsiteX227" fmla="*/ 3543 w 761692"/>
                    <a:gd name="connsiteY227" fmla="*/ 435759 h 1016771"/>
                    <a:gd name="connsiteX228" fmla="*/ 5314 w 761692"/>
                    <a:gd name="connsiteY228" fmla="*/ 412731 h 1016771"/>
                    <a:gd name="connsiteX229" fmla="*/ 0 w 761692"/>
                    <a:gd name="connsiteY229" fmla="*/ 396789 h 1016771"/>
                    <a:gd name="connsiteX230" fmla="*/ 3543 w 761692"/>
                    <a:gd name="connsiteY230" fmla="*/ 384389 h 1016771"/>
                    <a:gd name="connsiteX231" fmla="*/ 14171 w 761692"/>
                    <a:gd name="connsiteY231" fmla="*/ 380846 h 1016771"/>
                    <a:gd name="connsiteX232" fmla="*/ 24799 w 761692"/>
                    <a:gd name="connsiteY232" fmla="*/ 364904 h 1016771"/>
                    <a:gd name="connsiteX233" fmla="*/ 30113 w 761692"/>
                    <a:gd name="connsiteY233" fmla="*/ 350733 h 1016771"/>
                    <a:gd name="connsiteX234" fmla="*/ 35428 w 761692"/>
                    <a:gd name="connsiteY234" fmla="*/ 341876 h 1016771"/>
                    <a:gd name="connsiteX235" fmla="*/ 42513 w 761692"/>
                    <a:gd name="connsiteY235" fmla="*/ 327705 h 1016771"/>
                    <a:gd name="connsiteX236" fmla="*/ 42513 w 761692"/>
                    <a:gd name="connsiteY236" fmla="*/ 315305 h 1016771"/>
                    <a:gd name="connsiteX237" fmla="*/ 56684 w 761692"/>
                    <a:gd name="connsiteY237" fmla="*/ 309991 h 1016771"/>
                    <a:gd name="connsiteX238" fmla="*/ 60227 w 761692"/>
                    <a:gd name="connsiteY238" fmla="*/ 309991 h 1016771"/>
                    <a:gd name="connsiteX239" fmla="*/ 61998 w 761692"/>
                    <a:gd name="connsiteY239" fmla="*/ 311763 h 1016771"/>
                    <a:gd name="connsiteX240" fmla="*/ 67312 w 761692"/>
                    <a:gd name="connsiteY240" fmla="*/ 311763 h 1016771"/>
                    <a:gd name="connsiteX241" fmla="*/ 67312 w 761692"/>
                    <a:gd name="connsiteY241" fmla="*/ 309991 h 1016771"/>
                    <a:gd name="connsiteX242" fmla="*/ 67312 w 761692"/>
                    <a:gd name="connsiteY242" fmla="*/ 308220 h 1016771"/>
                    <a:gd name="connsiteX243" fmla="*/ 69084 w 761692"/>
                    <a:gd name="connsiteY243" fmla="*/ 302906 h 1016771"/>
                    <a:gd name="connsiteX244" fmla="*/ 70855 w 761692"/>
                    <a:gd name="connsiteY244" fmla="*/ 301134 h 1016771"/>
                    <a:gd name="connsiteX245" fmla="*/ 70855 w 761692"/>
                    <a:gd name="connsiteY245" fmla="*/ 299363 h 1016771"/>
                    <a:gd name="connsiteX246" fmla="*/ 77941 w 761692"/>
                    <a:gd name="connsiteY246" fmla="*/ 295820 h 1016771"/>
                    <a:gd name="connsiteX247" fmla="*/ 85026 w 761692"/>
                    <a:gd name="connsiteY247" fmla="*/ 295820 h 1016771"/>
                    <a:gd name="connsiteX248" fmla="*/ 93883 w 761692"/>
                    <a:gd name="connsiteY248" fmla="*/ 297592 h 1016771"/>
                    <a:gd name="connsiteX249" fmla="*/ 100968 w 761692"/>
                    <a:gd name="connsiteY249" fmla="*/ 288735 h 1016771"/>
                    <a:gd name="connsiteX250" fmla="*/ 97426 w 761692"/>
                    <a:gd name="connsiteY250" fmla="*/ 279878 h 1016771"/>
                    <a:gd name="connsiteX251" fmla="*/ 85026 w 761692"/>
                    <a:gd name="connsiteY251" fmla="*/ 276335 h 1016771"/>
                    <a:gd name="connsiteX252" fmla="*/ 76169 w 761692"/>
                    <a:gd name="connsiteY252" fmla="*/ 271021 h 1016771"/>
                    <a:gd name="connsiteX253" fmla="*/ 76169 w 761692"/>
                    <a:gd name="connsiteY253" fmla="*/ 262164 h 1016771"/>
                    <a:gd name="connsiteX254" fmla="*/ 81483 w 761692"/>
                    <a:gd name="connsiteY254" fmla="*/ 251536 h 1016771"/>
                    <a:gd name="connsiteX255" fmla="*/ 86797 w 761692"/>
                    <a:gd name="connsiteY255" fmla="*/ 255079 h 1016771"/>
                    <a:gd name="connsiteX256" fmla="*/ 104511 w 761692"/>
                    <a:gd name="connsiteY256" fmla="*/ 262164 h 1016771"/>
                    <a:gd name="connsiteX257" fmla="*/ 116911 w 761692"/>
                    <a:gd name="connsiteY257" fmla="*/ 265707 h 1016771"/>
                    <a:gd name="connsiteX258" fmla="*/ 132853 w 761692"/>
                    <a:gd name="connsiteY258" fmla="*/ 269250 h 1016771"/>
                    <a:gd name="connsiteX259" fmla="*/ 138167 w 761692"/>
                    <a:gd name="connsiteY259" fmla="*/ 265707 h 1016771"/>
                    <a:gd name="connsiteX260" fmla="*/ 150567 w 761692"/>
                    <a:gd name="connsiteY260" fmla="*/ 255079 h 1016771"/>
                    <a:gd name="connsiteX261" fmla="*/ 166509 w 761692"/>
                    <a:gd name="connsiteY261" fmla="*/ 255079 h 1016771"/>
                    <a:gd name="connsiteX262" fmla="*/ 166509 w 761692"/>
                    <a:gd name="connsiteY262" fmla="*/ 265707 h 1016771"/>
                    <a:gd name="connsiteX263" fmla="*/ 177138 w 761692"/>
                    <a:gd name="connsiteY263" fmla="*/ 272792 h 1016771"/>
                    <a:gd name="connsiteX264" fmla="*/ 194851 w 761692"/>
                    <a:gd name="connsiteY264" fmla="*/ 276335 h 1016771"/>
                    <a:gd name="connsiteX265" fmla="*/ 209022 w 761692"/>
                    <a:gd name="connsiteY265" fmla="*/ 279878 h 1016771"/>
                    <a:gd name="connsiteX266" fmla="*/ 221422 w 761692"/>
                    <a:gd name="connsiteY266" fmla="*/ 276335 h 1016771"/>
                    <a:gd name="connsiteX267" fmla="*/ 226736 w 761692"/>
                    <a:gd name="connsiteY267" fmla="*/ 269250 h 1016771"/>
                    <a:gd name="connsiteX268" fmla="*/ 226736 w 761692"/>
                    <a:gd name="connsiteY268" fmla="*/ 251536 h 1016771"/>
                    <a:gd name="connsiteX269" fmla="*/ 224965 w 761692"/>
                    <a:gd name="connsiteY269" fmla="*/ 239136 h 1016771"/>
                    <a:gd name="connsiteX270" fmla="*/ 214337 w 761692"/>
                    <a:gd name="connsiteY270" fmla="*/ 230279 h 1016771"/>
                    <a:gd name="connsiteX271" fmla="*/ 210794 w 761692"/>
                    <a:gd name="connsiteY271" fmla="*/ 217880 h 1016771"/>
                    <a:gd name="connsiteX272" fmla="*/ 221422 w 761692"/>
                    <a:gd name="connsiteY272" fmla="*/ 207251 h 1016771"/>
                    <a:gd name="connsiteX273" fmla="*/ 235593 w 761692"/>
                    <a:gd name="connsiteY273" fmla="*/ 214337 h 1016771"/>
                    <a:gd name="connsiteX274" fmla="*/ 246221 w 761692"/>
                    <a:gd name="connsiteY274" fmla="*/ 219651 h 1016771"/>
                    <a:gd name="connsiteX275" fmla="*/ 253307 w 761692"/>
                    <a:gd name="connsiteY275" fmla="*/ 221422 h 1016771"/>
                    <a:gd name="connsiteX276" fmla="*/ 262164 w 761692"/>
                    <a:gd name="connsiteY276" fmla="*/ 210794 h 1016771"/>
                    <a:gd name="connsiteX277" fmla="*/ 263935 w 761692"/>
                    <a:gd name="connsiteY277" fmla="*/ 201937 h 1016771"/>
                    <a:gd name="connsiteX278" fmla="*/ 274563 w 761692"/>
                    <a:gd name="connsiteY278" fmla="*/ 189538 h 1016771"/>
                    <a:gd name="connsiteX279" fmla="*/ 283420 w 761692"/>
                    <a:gd name="connsiteY279" fmla="*/ 178909 h 1016771"/>
                    <a:gd name="connsiteX280" fmla="*/ 286963 w 761692"/>
                    <a:gd name="connsiteY280" fmla="*/ 173595 h 1016771"/>
                    <a:gd name="connsiteX281" fmla="*/ 311762 w 761692"/>
                    <a:gd name="connsiteY281" fmla="*/ 168281 h 1016771"/>
                    <a:gd name="connsiteX282" fmla="*/ 325933 w 761692"/>
                    <a:gd name="connsiteY282" fmla="*/ 164738 h 1016771"/>
                    <a:gd name="connsiteX283" fmla="*/ 336562 w 761692"/>
                    <a:gd name="connsiteY283" fmla="*/ 159424 h 1016771"/>
                    <a:gd name="connsiteX284" fmla="*/ 348961 w 761692"/>
                    <a:gd name="connsiteY284" fmla="*/ 145253 h 1016771"/>
                    <a:gd name="connsiteX285" fmla="*/ 359589 w 761692"/>
                    <a:gd name="connsiteY285" fmla="*/ 143482 h 1016771"/>
                    <a:gd name="connsiteX286" fmla="*/ 371989 w 761692"/>
                    <a:gd name="connsiteY286" fmla="*/ 143482 h 1016771"/>
                    <a:gd name="connsiteX287" fmla="*/ 391474 w 761692"/>
                    <a:gd name="connsiteY287" fmla="*/ 143482 h 1016771"/>
                    <a:gd name="connsiteX288" fmla="*/ 396788 w 761692"/>
                    <a:gd name="connsiteY288" fmla="*/ 141710 h 1016771"/>
                    <a:gd name="connsiteX289" fmla="*/ 403874 w 761692"/>
                    <a:gd name="connsiteY289" fmla="*/ 134625 h 1016771"/>
                    <a:gd name="connsiteX290" fmla="*/ 409188 w 761692"/>
                    <a:gd name="connsiteY290" fmla="*/ 129311 h 1016771"/>
                    <a:gd name="connsiteX291" fmla="*/ 409188 w 761692"/>
                    <a:gd name="connsiteY291" fmla="*/ 123997 h 1016771"/>
                    <a:gd name="connsiteX292" fmla="*/ 414502 w 761692"/>
                    <a:gd name="connsiteY292" fmla="*/ 115140 h 1016771"/>
                    <a:gd name="connsiteX293" fmla="*/ 428673 w 761692"/>
                    <a:gd name="connsiteY293" fmla="*/ 115140 h 1016771"/>
                    <a:gd name="connsiteX294" fmla="*/ 432216 w 761692"/>
                    <a:gd name="connsiteY294" fmla="*/ 109826 h 1016771"/>
                    <a:gd name="connsiteX295" fmla="*/ 437530 w 761692"/>
                    <a:gd name="connsiteY295" fmla="*/ 100969 h 1016771"/>
                    <a:gd name="connsiteX296" fmla="*/ 448158 w 761692"/>
                    <a:gd name="connsiteY296" fmla="*/ 99197 h 1016771"/>
                    <a:gd name="connsiteX297" fmla="*/ 460558 w 761692"/>
                    <a:gd name="connsiteY297" fmla="*/ 97426 h 1016771"/>
                    <a:gd name="connsiteX298" fmla="*/ 472958 w 761692"/>
                    <a:gd name="connsiteY298" fmla="*/ 93883 h 1016771"/>
                    <a:gd name="connsiteX299" fmla="*/ 492443 w 761692"/>
                    <a:gd name="connsiteY299" fmla="*/ 93883 h 1016771"/>
                    <a:gd name="connsiteX300" fmla="*/ 501300 w 761692"/>
                    <a:gd name="connsiteY300" fmla="*/ 83255 h 1016771"/>
                    <a:gd name="connsiteX301" fmla="*/ 517242 w 761692"/>
                    <a:gd name="connsiteY301" fmla="*/ 81484 h 1016771"/>
                    <a:gd name="connsiteX302" fmla="*/ 522556 w 761692"/>
                    <a:gd name="connsiteY302" fmla="*/ 81484 h 1016771"/>
                    <a:gd name="connsiteX303" fmla="*/ 522556 w 761692"/>
                    <a:gd name="connsiteY303" fmla="*/ 60227 h 1016771"/>
                    <a:gd name="connsiteX304" fmla="*/ 526099 w 761692"/>
                    <a:gd name="connsiteY304" fmla="*/ 54913 h 1016771"/>
                    <a:gd name="connsiteX305" fmla="*/ 529642 w 761692"/>
                    <a:gd name="connsiteY305" fmla="*/ 46056 h 1016771"/>
                    <a:gd name="connsiteX306" fmla="*/ 538499 w 761692"/>
                    <a:gd name="connsiteY306" fmla="*/ 40742 h 1016771"/>
                    <a:gd name="connsiteX307" fmla="*/ 540270 w 761692"/>
                    <a:gd name="connsiteY307" fmla="*/ 30114 h 1016771"/>
                    <a:gd name="connsiteX308" fmla="*/ 536727 w 761692"/>
                    <a:gd name="connsiteY308" fmla="*/ 19485 h 1016771"/>
                    <a:gd name="connsiteX309" fmla="*/ 543813 w 761692"/>
                    <a:gd name="connsiteY309" fmla="*/ 5314 h 1016771"/>
                    <a:gd name="connsiteX310" fmla="*/ 554441 w 761692"/>
                    <a:gd name="connsiteY310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9645 w 761692"/>
                    <a:gd name="connsiteY9" fmla="*/ 860925 h 1016771"/>
                    <a:gd name="connsiteX10" fmla="*/ 148122 w 761692"/>
                    <a:gd name="connsiteY10" fmla="*/ 867707 h 1016771"/>
                    <a:gd name="connsiteX11" fmla="*/ 147024 w 761692"/>
                    <a:gd name="connsiteY11" fmla="*/ 867975 h 1016771"/>
                    <a:gd name="connsiteX12" fmla="*/ 138167 w 761692"/>
                    <a:gd name="connsiteY12" fmla="*/ 852033 h 1016771"/>
                    <a:gd name="connsiteX13" fmla="*/ 139939 w 761692"/>
                    <a:gd name="connsiteY13" fmla="*/ 850262 h 1016771"/>
                    <a:gd name="connsiteX14" fmla="*/ 139939 w 761692"/>
                    <a:gd name="connsiteY14" fmla="*/ 848490 h 1016771"/>
                    <a:gd name="connsiteX15" fmla="*/ 145253 w 761692"/>
                    <a:gd name="connsiteY15" fmla="*/ 843176 h 1016771"/>
                    <a:gd name="connsiteX16" fmla="*/ 147024 w 761692"/>
                    <a:gd name="connsiteY16" fmla="*/ 841405 h 1016771"/>
                    <a:gd name="connsiteX17" fmla="*/ 148796 w 761692"/>
                    <a:gd name="connsiteY17" fmla="*/ 839633 h 1016771"/>
                    <a:gd name="connsiteX18" fmla="*/ 150567 w 761692"/>
                    <a:gd name="connsiteY18" fmla="*/ 837862 h 1016771"/>
                    <a:gd name="connsiteX19" fmla="*/ 159250 w 761692"/>
                    <a:gd name="connsiteY19" fmla="*/ 829179 h 1016771"/>
                    <a:gd name="connsiteX20" fmla="*/ 116476 w 761692"/>
                    <a:gd name="connsiteY20" fmla="*/ 741349 h 1016771"/>
                    <a:gd name="connsiteX21" fmla="*/ 117606 w 761692"/>
                    <a:gd name="connsiteY21" fmla="*/ 742253 h 1016771"/>
                    <a:gd name="connsiteX22" fmla="*/ 122692 w 761692"/>
                    <a:gd name="connsiteY22" fmla="*/ 759206 h 1016771"/>
                    <a:gd name="connsiteX23" fmla="*/ 126082 w 761692"/>
                    <a:gd name="connsiteY23" fmla="*/ 771073 h 1016771"/>
                    <a:gd name="connsiteX24" fmla="*/ 129473 w 761692"/>
                    <a:gd name="connsiteY24" fmla="*/ 782940 h 1016771"/>
                    <a:gd name="connsiteX25" fmla="*/ 132864 w 761692"/>
                    <a:gd name="connsiteY25" fmla="*/ 793112 h 1016771"/>
                    <a:gd name="connsiteX26" fmla="*/ 136254 w 761692"/>
                    <a:gd name="connsiteY26" fmla="*/ 810066 h 1016771"/>
                    <a:gd name="connsiteX27" fmla="*/ 139058 w 761692"/>
                    <a:gd name="connsiteY27" fmla="*/ 818476 h 1016771"/>
                    <a:gd name="connsiteX28" fmla="*/ 138167 w 761692"/>
                    <a:gd name="connsiteY28" fmla="*/ 818377 h 1016771"/>
                    <a:gd name="connsiteX29" fmla="*/ 134625 w 761692"/>
                    <a:gd name="connsiteY29" fmla="*/ 807749 h 1016771"/>
                    <a:gd name="connsiteX30" fmla="*/ 131082 w 761692"/>
                    <a:gd name="connsiteY30" fmla="*/ 790035 h 1016771"/>
                    <a:gd name="connsiteX31" fmla="*/ 127539 w 761692"/>
                    <a:gd name="connsiteY31" fmla="*/ 779407 h 1016771"/>
                    <a:gd name="connsiteX32" fmla="*/ 123996 w 761692"/>
                    <a:gd name="connsiteY32" fmla="*/ 767007 h 1016771"/>
                    <a:gd name="connsiteX33" fmla="*/ 120454 w 761692"/>
                    <a:gd name="connsiteY33" fmla="*/ 754607 h 1016771"/>
                    <a:gd name="connsiteX34" fmla="*/ 116476 w 761692"/>
                    <a:gd name="connsiteY34" fmla="*/ 741349 h 1016771"/>
                    <a:gd name="connsiteX35" fmla="*/ 554441 w 761692"/>
                    <a:gd name="connsiteY35" fmla="*/ 0 h 1016771"/>
                    <a:gd name="connsiteX36" fmla="*/ 570383 w 761692"/>
                    <a:gd name="connsiteY36" fmla="*/ 3543 h 1016771"/>
                    <a:gd name="connsiteX37" fmla="*/ 577469 w 761692"/>
                    <a:gd name="connsiteY37" fmla="*/ 8857 h 1016771"/>
                    <a:gd name="connsiteX38" fmla="*/ 582783 w 761692"/>
                    <a:gd name="connsiteY38" fmla="*/ 17714 h 1016771"/>
                    <a:gd name="connsiteX39" fmla="*/ 582783 w 761692"/>
                    <a:gd name="connsiteY39" fmla="*/ 24799 h 1016771"/>
                    <a:gd name="connsiteX40" fmla="*/ 588097 w 761692"/>
                    <a:gd name="connsiteY40" fmla="*/ 33656 h 1016771"/>
                    <a:gd name="connsiteX41" fmla="*/ 598725 w 761692"/>
                    <a:gd name="connsiteY41" fmla="*/ 31885 h 1016771"/>
                    <a:gd name="connsiteX42" fmla="*/ 612896 w 761692"/>
                    <a:gd name="connsiteY42" fmla="*/ 37199 h 1016771"/>
                    <a:gd name="connsiteX43" fmla="*/ 618211 w 761692"/>
                    <a:gd name="connsiteY43" fmla="*/ 46056 h 1016771"/>
                    <a:gd name="connsiteX44" fmla="*/ 619982 w 761692"/>
                    <a:gd name="connsiteY44" fmla="*/ 54913 h 1016771"/>
                    <a:gd name="connsiteX45" fmla="*/ 618211 w 761692"/>
                    <a:gd name="connsiteY45" fmla="*/ 74398 h 1016771"/>
                    <a:gd name="connsiteX46" fmla="*/ 616439 w 761692"/>
                    <a:gd name="connsiteY46" fmla="*/ 85026 h 1016771"/>
                    <a:gd name="connsiteX47" fmla="*/ 621753 w 761692"/>
                    <a:gd name="connsiteY47" fmla="*/ 97426 h 1016771"/>
                    <a:gd name="connsiteX48" fmla="*/ 637696 w 761692"/>
                    <a:gd name="connsiteY48" fmla="*/ 113368 h 1016771"/>
                    <a:gd name="connsiteX49" fmla="*/ 644781 w 761692"/>
                    <a:gd name="connsiteY49" fmla="*/ 120454 h 1016771"/>
                    <a:gd name="connsiteX50" fmla="*/ 650095 w 761692"/>
                    <a:gd name="connsiteY50" fmla="*/ 136396 h 1016771"/>
                    <a:gd name="connsiteX51" fmla="*/ 655409 w 761692"/>
                    <a:gd name="connsiteY51" fmla="*/ 155881 h 1016771"/>
                    <a:gd name="connsiteX52" fmla="*/ 662495 w 761692"/>
                    <a:gd name="connsiteY52" fmla="*/ 171824 h 1016771"/>
                    <a:gd name="connsiteX53" fmla="*/ 660724 w 761692"/>
                    <a:gd name="connsiteY53" fmla="*/ 185995 h 1016771"/>
                    <a:gd name="connsiteX54" fmla="*/ 635924 w 761692"/>
                    <a:gd name="connsiteY54" fmla="*/ 194852 h 1016771"/>
                    <a:gd name="connsiteX55" fmla="*/ 619982 w 761692"/>
                    <a:gd name="connsiteY55" fmla="*/ 207251 h 1016771"/>
                    <a:gd name="connsiteX56" fmla="*/ 614668 w 761692"/>
                    <a:gd name="connsiteY56" fmla="*/ 223194 h 1016771"/>
                    <a:gd name="connsiteX57" fmla="*/ 618211 w 761692"/>
                    <a:gd name="connsiteY57" fmla="*/ 242679 h 1016771"/>
                    <a:gd name="connsiteX58" fmla="*/ 612896 w 761692"/>
                    <a:gd name="connsiteY58" fmla="*/ 256850 h 1016771"/>
                    <a:gd name="connsiteX59" fmla="*/ 625296 w 761692"/>
                    <a:gd name="connsiteY59" fmla="*/ 267478 h 1016771"/>
                    <a:gd name="connsiteX60" fmla="*/ 641238 w 761692"/>
                    <a:gd name="connsiteY60" fmla="*/ 269250 h 1016771"/>
                    <a:gd name="connsiteX61" fmla="*/ 658952 w 761692"/>
                    <a:gd name="connsiteY61" fmla="*/ 286963 h 1016771"/>
                    <a:gd name="connsiteX62" fmla="*/ 653638 w 761692"/>
                    <a:gd name="connsiteY62" fmla="*/ 309991 h 1016771"/>
                    <a:gd name="connsiteX63" fmla="*/ 653638 w 761692"/>
                    <a:gd name="connsiteY63" fmla="*/ 329476 h 1016771"/>
                    <a:gd name="connsiteX64" fmla="*/ 643010 w 761692"/>
                    <a:gd name="connsiteY64" fmla="*/ 338333 h 1016771"/>
                    <a:gd name="connsiteX65" fmla="*/ 632382 w 761692"/>
                    <a:gd name="connsiteY65" fmla="*/ 338333 h 1016771"/>
                    <a:gd name="connsiteX66" fmla="*/ 618211 w 761692"/>
                    <a:gd name="connsiteY66" fmla="*/ 357819 h 1016771"/>
                    <a:gd name="connsiteX67" fmla="*/ 609354 w 761692"/>
                    <a:gd name="connsiteY67" fmla="*/ 361361 h 1016771"/>
                    <a:gd name="connsiteX68" fmla="*/ 596954 w 761692"/>
                    <a:gd name="connsiteY68" fmla="*/ 363133 h 1016771"/>
                    <a:gd name="connsiteX69" fmla="*/ 581012 w 761692"/>
                    <a:gd name="connsiteY69" fmla="*/ 379075 h 1016771"/>
                    <a:gd name="connsiteX70" fmla="*/ 589868 w 761692"/>
                    <a:gd name="connsiteY70" fmla="*/ 393246 h 1016771"/>
                    <a:gd name="connsiteX71" fmla="*/ 586326 w 761692"/>
                    <a:gd name="connsiteY71" fmla="*/ 409189 h 1016771"/>
                    <a:gd name="connsiteX72" fmla="*/ 570383 w 761692"/>
                    <a:gd name="connsiteY72" fmla="*/ 398560 h 1016771"/>
                    <a:gd name="connsiteX73" fmla="*/ 550898 w 761692"/>
                    <a:gd name="connsiteY73" fmla="*/ 405646 h 1016771"/>
                    <a:gd name="connsiteX74" fmla="*/ 531413 w 761692"/>
                    <a:gd name="connsiteY74" fmla="*/ 425131 h 1016771"/>
                    <a:gd name="connsiteX75" fmla="*/ 543813 w 761692"/>
                    <a:gd name="connsiteY75" fmla="*/ 444616 h 1016771"/>
                    <a:gd name="connsiteX76" fmla="*/ 557984 w 761692"/>
                    <a:gd name="connsiteY76" fmla="*/ 462330 h 1016771"/>
                    <a:gd name="connsiteX77" fmla="*/ 570383 w 761692"/>
                    <a:gd name="connsiteY77" fmla="*/ 478272 h 1016771"/>
                    <a:gd name="connsiteX78" fmla="*/ 579240 w 761692"/>
                    <a:gd name="connsiteY78" fmla="*/ 485358 h 1016771"/>
                    <a:gd name="connsiteX79" fmla="*/ 602268 w 761692"/>
                    <a:gd name="connsiteY79" fmla="*/ 483586 h 1016771"/>
                    <a:gd name="connsiteX80" fmla="*/ 623525 w 761692"/>
                    <a:gd name="connsiteY80" fmla="*/ 474730 h 1016771"/>
                    <a:gd name="connsiteX81" fmla="*/ 639467 w 761692"/>
                    <a:gd name="connsiteY81" fmla="*/ 464101 h 1016771"/>
                    <a:gd name="connsiteX82" fmla="*/ 662495 w 761692"/>
                    <a:gd name="connsiteY82" fmla="*/ 464101 h 1016771"/>
                    <a:gd name="connsiteX83" fmla="*/ 673123 w 761692"/>
                    <a:gd name="connsiteY83" fmla="*/ 464101 h 1016771"/>
                    <a:gd name="connsiteX84" fmla="*/ 681980 w 761692"/>
                    <a:gd name="connsiteY84" fmla="*/ 467644 h 1016771"/>
                    <a:gd name="connsiteX85" fmla="*/ 703237 w 761692"/>
                    <a:gd name="connsiteY85" fmla="*/ 471187 h 1016771"/>
                    <a:gd name="connsiteX86" fmla="*/ 708551 w 761692"/>
                    <a:gd name="connsiteY86" fmla="*/ 474730 h 1016771"/>
                    <a:gd name="connsiteX87" fmla="*/ 722722 w 761692"/>
                    <a:gd name="connsiteY87" fmla="*/ 501300 h 1016771"/>
                    <a:gd name="connsiteX88" fmla="*/ 724493 w 761692"/>
                    <a:gd name="connsiteY88" fmla="*/ 522557 h 1016771"/>
                    <a:gd name="connsiteX89" fmla="*/ 722722 w 761692"/>
                    <a:gd name="connsiteY89" fmla="*/ 540271 h 1016771"/>
                    <a:gd name="connsiteX90" fmla="*/ 735121 w 761692"/>
                    <a:gd name="connsiteY90" fmla="*/ 552670 h 1016771"/>
                    <a:gd name="connsiteX91" fmla="*/ 735121 w 761692"/>
                    <a:gd name="connsiteY91" fmla="*/ 570384 h 1016771"/>
                    <a:gd name="connsiteX92" fmla="*/ 751064 w 761692"/>
                    <a:gd name="connsiteY92" fmla="*/ 581012 h 1016771"/>
                    <a:gd name="connsiteX93" fmla="*/ 761692 w 761692"/>
                    <a:gd name="connsiteY93" fmla="*/ 604040 h 1016771"/>
                    <a:gd name="connsiteX94" fmla="*/ 747521 w 761692"/>
                    <a:gd name="connsiteY94" fmla="*/ 616440 h 1016771"/>
                    <a:gd name="connsiteX95" fmla="*/ 728036 w 761692"/>
                    <a:gd name="connsiteY95" fmla="*/ 627068 h 1016771"/>
                    <a:gd name="connsiteX96" fmla="*/ 726264 w 761692"/>
                    <a:gd name="connsiteY96" fmla="*/ 650096 h 1016771"/>
                    <a:gd name="connsiteX97" fmla="*/ 728036 w 761692"/>
                    <a:gd name="connsiteY97" fmla="*/ 673124 h 1016771"/>
                    <a:gd name="connsiteX98" fmla="*/ 742207 w 761692"/>
                    <a:gd name="connsiteY98" fmla="*/ 689066 h 1016771"/>
                    <a:gd name="connsiteX99" fmla="*/ 742207 w 761692"/>
                    <a:gd name="connsiteY99" fmla="*/ 712094 h 1016771"/>
                    <a:gd name="connsiteX100" fmla="*/ 740435 w 761692"/>
                    <a:gd name="connsiteY100" fmla="*/ 735122 h 1016771"/>
                    <a:gd name="connsiteX101" fmla="*/ 742207 w 761692"/>
                    <a:gd name="connsiteY101" fmla="*/ 751065 h 1016771"/>
                    <a:gd name="connsiteX102" fmla="*/ 747521 w 761692"/>
                    <a:gd name="connsiteY102" fmla="*/ 768778 h 1016771"/>
                    <a:gd name="connsiteX103" fmla="*/ 759921 w 761692"/>
                    <a:gd name="connsiteY103" fmla="*/ 777635 h 1016771"/>
                    <a:gd name="connsiteX104" fmla="*/ 758149 w 761692"/>
                    <a:gd name="connsiteY104" fmla="*/ 802434 h 1016771"/>
                    <a:gd name="connsiteX105" fmla="*/ 752835 w 761692"/>
                    <a:gd name="connsiteY105" fmla="*/ 814834 h 1016771"/>
                    <a:gd name="connsiteX106" fmla="*/ 743978 w 761692"/>
                    <a:gd name="connsiteY106" fmla="*/ 827234 h 1016771"/>
                    <a:gd name="connsiteX107" fmla="*/ 743978 w 761692"/>
                    <a:gd name="connsiteY107" fmla="*/ 837862 h 1016771"/>
                    <a:gd name="connsiteX108" fmla="*/ 747521 w 761692"/>
                    <a:gd name="connsiteY108" fmla="*/ 853804 h 1016771"/>
                    <a:gd name="connsiteX109" fmla="*/ 733350 w 761692"/>
                    <a:gd name="connsiteY109" fmla="*/ 867975 h 1016771"/>
                    <a:gd name="connsiteX110" fmla="*/ 724493 w 761692"/>
                    <a:gd name="connsiteY110" fmla="*/ 880375 h 1016771"/>
                    <a:gd name="connsiteX111" fmla="*/ 722722 w 761692"/>
                    <a:gd name="connsiteY111" fmla="*/ 899860 h 1016771"/>
                    <a:gd name="connsiteX112" fmla="*/ 722722 w 761692"/>
                    <a:gd name="connsiteY112" fmla="*/ 919345 h 1016771"/>
                    <a:gd name="connsiteX113" fmla="*/ 715636 w 761692"/>
                    <a:gd name="connsiteY113" fmla="*/ 940602 h 1016771"/>
                    <a:gd name="connsiteX114" fmla="*/ 708551 w 761692"/>
                    <a:gd name="connsiteY114" fmla="*/ 954773 h 1016771"/>
                    <a:gd name="connsiteX115" fmla="*/ 699694 w 761692"/>
                    <a:gd name="connsiteY115" fmla="*/ 965401 h 1016771"/>
                    <a:gd name="connsiteX116" fmla="*/ 692608 w 761692"/>
                    <a:gd name="connsiteY116" fmla="*/ 984886 h 1016771"/>
                    <a:gd name="connsiteX117" fmla="*/ 683751 w 761692"/>
                    <a:gd name="connsiteY117" fmla="*/ 997286 h 1016771"/>
                    <a:gd name="connsiteX118" fmla="*/ 673123 w 761692"/>
                    <a:gd name="connsiteY118" fmla="*/ 1002600 h 1016771"/>
                    <a:gd name="connsiteX119" fmla="*/ 662495 w 761692"/>
                    <a:gd name="connsiteY119" fmla="*/ 1013228 h 1016771"/>
                    <a:gd name="connsiteX120" fmla="*/ 644781 w 761692"/>
                    <a:gd name="connsiteY120" fmla="*/ 1016771 h 1016771"/>
                    <a:gd name="connsiteX121" fmla="*/ 635924 w 761692"/>
                    <a:gd name="connsiteY121" fmla="*/ 1004372 h 1016771"/>
                    <a:gd name="connsiteX122" fmla="*/ 623525 w 761692"/>
                    <a:gd name="connsiteY122" fmla="*/ 997286 h 1016771"/>
                    <a:gd name="connsiteX123" fmla="*/ 614668 w 761692"/>
                    <a:gd name="connsiteY123" fmla="*/ 986658 h 1016771"/>
                    <a:gd name="connsiteX124" fmla="*/ 593411 w 761692"/>
                    <a:gd name="connsiteY124" fmla="*/ 970715 h 1016771"/>
                    <a:gd name="connsiteX125" fmla="*/ 582783 w 761692"/>
                    <a:gd name="connsiteY125" fmla="*/ 965401 h 1016771"/>
                    <a:gd name="connsiteX126" fmla="*/ 531413 w 761692"/>
                    <a:gd name="connsiteY126" fmla="*/ 965401 h 1016771"/>
                    <a:gd name="connsiteX127" fmla="*/ 511928 w 761692"/>
                    <a:gd name="connsiteY127" fmla="*/ 965401 h 1016771"/>
                    <a:gd name="connsiteX128" fmla="*/ 492443 w 761692"/>
                    <a:gd name="connsiteY128" fmla="*/ 963630 h 1016771"/>
                    <a:gd name="connsiteX129" fmla="*/ 483586 w 761692"/>
                    <a:gd name="connsiteY129" fmla="*/ 958316 h 1016771"/>
                    <a:gd name="connsiteX130" fmla="*/ 469415 w 761692"/>
                    <a:gd name="connsiteY130" fmla="*/ 954773 h 1016771"/>
                    <a:gd name="connsiteX131" fmla="*/ 460558 w 761692"/>
                    <a:gd name="connsiteY131" fmla="*/ 942373 h 1016771"/>
                    <a:gd name="connsiteX132" fmla="*/ 446387 w 761692"/>
                    <a:gd name="connsiteY132" fmla="*/ 935288 h 1016771"/>
                    <a:gd name="connsiteX133" fmla="*/ 428673 w 761692"/>
                    <a:gd name="connsiteY133" fmla="*/ 928202 h 1016771"/>
                    <a:gd name="connsiteX134" fmla="*/ 418045 w 761692"/>
                    <a:gd name="connsiteY134" fmla="*/ 917574 h 1016771"/>
                    <a:gd name="connsiteX135" fmla="*/ 421588 w 761692"/>
                    <a:gd name="connsiteY135" fmla="*/ 903403 h 1016771"/>
                    <a:gd name="connsiteX136" fmla="*/ 418045 w 761692"/>
                    <a:gd name="connsiteY136" fmla="*/ 898089 h 1016771"/>
                    <a:gd name="connsiteX137" fmla="*/ 396788 w 761692"/>
                    <a:gd name="connsiteY137" fmla="*/ 898089 h 1016771"/>
                    <a:gd name="connsiteX138" fmla="*/ 382617 w 761692"/>
                    <a:gd name="connsiteY138" fmla="*/ 896318 h 1016771"/>
                    <a:gd name="connsiteX139" fmla="*/ 380846 w 761692"/>
                    <a:gd name="connsiteY139" fmla="*/ 906946 h 1016771"/>
                    <a:gd name="connsiteX140" fmla="*/ 373601 w 761692"/>
                    <a:gd name="connsiteY140" fmla="*/ 894832 h 1016771"/>
                    <a:gd name="connsiteX141" fmla="*/ 387164 w 761692"/>
                    <a:gd name="connsiteY141" fmla="*/ 896527 h 1016771"/>
                    <a:gd name="connsiteX142" fmla="*/ 383773 w 761692"/>
                    <a:gd name="connsiteY142" fmla="*/ 886355 h 1016771"/>
                    <a:gd name="connsiteX143" fmla="*/ 387164 w 761692"/>
                    <a:gd name="connsiteY143" fmla="*/ 876183 h 1016771"/>
                    <a:gd name="connsiteX144" fmla="*/ 388859 w 761692"/>
                    <a:gd name="connsiteY144" fmla="*/ 867707 h 1016771"/>
                    <a:gd name="connsiteX145" fmla="*/ 380382 w 761692"/>
                    <a:gd name="connsiteY145" fmla="*/ 859230 h 1016771"/>
                    <a:gd name="connsiteX146" fmla="*/ 373601 w 761692"/>
                    <a:gd name="connsiteY146" fmla="*/ 849058 h 1016771"/>
                    <a:gd name="connsiteX147" fmla="*/ 380382 w 761692"/>
                    <a:gd name="connsiteY147" fmla="*/ 838886 h 1016771"/>
                    <a:gd name="connsiteX148" fmla="*/ 383773 w 761692"/>
                    <a:gd name="connsiteY148" fmla="*/ 833800 h 1016771"/>
                    <a:gd name="connsiteX149" fmla="*/ 388859 w 761692"/>
                    <a:gd name="connsiteY149" fmla="*/ 825324 h 1016771"/>
                    <a:gd name="connsiteX150" fmla="*/ 387164 w 761692"/>
                    <a:gd name="connsiteY150" fmla="*/ 810066 h 1016771"/>
                    <a:gd name="connsiteX151" fmla="*/ 387164 w 761692"/>
                    <a:gd name="connsiteY151" fmla="*/ 796503 h 1016771"/>
                    <a:gd name="connsiteX152" fmla="*/ 378687 w 761692"/>
                    <a:gd name="connsiteY152" fmla="*/ 789722 h 1016771"/>
                    <a:gd name="connsiteX153" fmla="*/ 366820 w 761692"/>
                    <a:gd name="connsiteY153" fmla="*/ 782940 h 1016771"/>
                    <a:gd name="connsiteX154" fmla="*/ 356648 w 761692"/>
                    <a:gd name="connsiteY154" fmla="*/ 781245 h 1016771"/>
                    <a:gd name="connsiteX155" fmla="*/ 349866 w 761692"/>
                    <a:gd name="connsiteY155" fmla="*/ 771073 h 1016771"/>
                    <a:gd name="connsiteX156" fmla="*/ 349866 w 761692"/>
                    <a:gd name="connsiteY156" fmla="*/ 752425 h 1016771"/>
                    <a:gd name="connsiteX157" fmla="*/ 353257 w 761692"/>
                    <a:gd name="connsiteY157" fmla="*/ 743948 h 1016771"/>
                    <a:gd name="connsiteX158" fmla="*/ 354952 w 761692"/>
                    <a:gd name="connsiteY158" fmla="*/ 730385 h 1016771"/>
                    <a:gd name="connsiteX159" fmla="*/ 353257 w 761692"/>
                    <a:gd name="connsiteY159" fmla="*/ 713432 h 1016771"/>
                    <a:gd name="connsiteX160" fmla="*/ 346476 w 761692"/>
                    <a:gd name="connsiteY160" fmla="*/ 701565 h 1016771"/>
                    <a:gd name="connsiteX161" fmla="*/ 332913 w 761692"/>
                    <a:gd name="connsiteY161" fmla="*/ 689697 h 1016771"/>
                    <a:gd name="connsiteX162" fmla="*/ 324436 w 761692"/>
                    <a:gd name="connsiteY162" fmla="*/ 681221 h 1016771"/>
                    <a:gd name="connsiteX163" fmla="*/ 314264 w 761692"/>
                    <a:gd name="connsiteY163" fmla="*/ 676135 h 1016771"/>
                    <a:gd name="connsiteX164" fmla="*/ 293920 w 761692"/>
                    <a:gd name="connsiteY164" fmla="*/ 669354 h 1016771"/>
                    <a:gd name="connsiteX165" fmla="*/ 282053 w 761692"/>
                    <a:gd name="connsiteY165" fmla="*/ 667658 h 1016771"/>
                    <a:gd name="connsiteX166" fmla="*/ 266795 w 761692"/>
                    <a:gd name="connsiteY166" fmla="*/ 672744 h 1016771"/>
                    <a:gd name="connsiteX167" fmla="*/ 265100 w 761692"/>
                    <a:gd name="connsiteY167" fmla="*/ 672744 h 1016771"/>
                    <a:gd name="connsiteX168" fmla="*/ 263404 w 761692"/>
                    <a:gd name="connsiteY168" fmla="*/ 671049 h 1016771"/>
                    <a:gd name="connsiteX169" fmla="*/ 260014 w 761692"/>
                    <a:gd name="connsiteY169" fmla="*/ 671049 h 1016771"/>
                    <a:gd name="connsiteX170" fmla="*/ 258318 w 761692"/>
                    <a:gd name="connsiteY170" fmla="*/ 671049 h 1016771"/>
                    <a:gd name="connsiteX171" fmla="*/ 253232 w 761692"/>
                    <a:gd name="connsiteY171" fmla="*/ 671049 h 1016771"/>
                    <a:gd name="connsiteX172" fmla="*/ 248146 w 761692"/>
                    <a:gd name="connsiteY172" fmla="*/ 672744 h 1016771"/>
                    <a:gd name="connsiteX173" fmla="*/ 248146 w 761692"/>
                    <a:gd name="connsiteY173" fmla="*/ 674440 h 1016771"/>
                    <a:gd name="connsiteX174" fmla="*/ 246451 w 761692"/>
                    <a:gd name="connsiteY174" fmla="*/ 674440 h 1016771"/>
                    <a:gd name="connsiteX175" fmla="*/ 236279 w 761692"/>
                    <a:gd name="connsiteY175" fmla="*/ 679526 h 1016771"/>
                    <a:gd name="connsiteX176" fmla="*/ 226107 w 761692"/>
                    <a:gd name="connsiteY176" fmla="*/ 684612 h 1016771"/>
                    <a:gd name="connsiteX177" fmla="*/ 217630 w 761692"/>
                    <a:gd name="connsiteY177" fmla="*/ 684612 h 1016771"/>
                    <a:gd name="connsiteX178" fmla="*/ 207458 w 761692"/>
                    <a:gd name="connsiteY178" fmla="*/ 693088 h 1016771"/>
                    <a:gd name="connsiteX179" fmla="*/ 198982 w 761692"/>
                    <a:gd name="connsiteY179" fmla="*/ 694783 h 1016771"/>
                    <a:gd name="connsiteX180" fmla="*/ 192200 w 761692"/>
                    <a:gd name="connsiteY180" fmla="*/ 699869 h 1016771"/>
                    <a:gd name="connsiteX181" fmla="*/ 178638 w 761692"/>
                    <a:gd name="connsiteY181" fmla="*/ 706651 h 1016771"/>
                    <a:gd name="connsiteX182" fmla="*/ 163380 w 761692"/>
                    <a:gd name="connsiteY182" fmla="*/ 710041 h 1016771"/>
                    <a:gd name="connsiteX183" fmla="*/ 141340 w 761692"/>
                    <a:gd name="connsiteY183" fmla="*/ 710041 h 1016771"/>
                    <a:gd name="connsiteX184" fmla="*/ 134559 w 761692"/>
                    <a:gd name="connsiteY184" fmla="*/ 716823 h 1016771"/>
                    <a:gd name="connsiteX185" fmla="*/ 127778 w 761692"/>
                    <a:gd name="connsiteY185" fmla="*/ 718518 h 1016771"/>
                    <a:gd name="connsiteX186" fmla="*/ 120996 w 761692"/>
                    <a:gd name="connsiteY186" fmla="*/ 725299 h 1016771"/>
                    <a:gd name="connsiteX187" fmla="*/ 111172 w 761692"/>
                    <a:gd name="connsiteY187" fmla="*/ 733720 h 1016771"/>
                    <a:gd name="connsiteX188" fmla="*/ 106283 w 761692"/>
                    <a:gd name="connsiteY188" fmla="*/ 729808 h 1016771"/>
                    <a:gd name="connsiteX189" fmla="*/ 92112 w 761692"/>
                    <a:gd name="connsiteY189" fmla="*/ 724494 h 1016771"/>
                    <a:gd name="connsiteX190" fmla="*/ 77941 w 761692"/>
                    <a:gd name="connsiteY190" fmla="*/ 726265 h 1016771"/>
                    <a:gd name="connsiteX191" fmla="*/ 70855 w 761692"/>
                    <a:gd name="connsiteY191" fmla="*/ 719180 h 1016771"/>
                    <a:gd name="connsiteX192" fmla="*/ 70855 w 761692"/>
                    <a:gd name="connsiteY192" fmla="*/ 699695 h 1016771"/>
                    <a:gd name="connsiteX193" fmla="*/ 81483 w 761692"/>
                    <a:gd name="connsiteY193" fmla="*/ 685524 h 1016771"/>
                    <a:gd name="connsiteX194" fmla="*/ 85026 w 761692"/>
                    <a:gd name="connsiteY194" fmla="*/ 673124 h 1016771"/>
                    <a:gd name="connsiteX195" fmla="*/ 86797 w 761692"/>
                    <a:gd name="connsiteY195" fmla="*/ 660724 h 1016771"/>
                    <a:gd name="connsiteX196" fmla="*/ 97426 w 761692"/>
                    <a:gd name="connsiteY196" fmla="*/ 650096 h 1016771"/>
                    <a:gd name="connsiteX197" fmla="*/ 102740 w 761692"/>
                    <a:gd name="connsiteY197" fmla="*/ 635925 h 1016771"/>
                    <a:gd name="connsiteX198" fmla="*/ 113368 w 761692"/>
                    <a:gd name="connsiteY198" fmla="*/ 625297 h 1016771"/>
                    <a:gd name="connsiteX199" fmla="*/ 115139 w 761692"/>
                    <a:gd name="connsiteY199" fmla="*/ 612897 h 1016771"/>
                    <a:gd name="connsiteX200" fmla="*/ 127539 w 761692"/>
                    <a:gd name="connsiteY200" fmla="*/ 609354 h 1016771"/>
                    <a:gd name="connsiteX201" fmla="*/ 136396 w 761692"/>
                    <a:gd name="connsiteY201" fmla="*/ 604040 h 1016771"/>
                    <a:gd name="connsiteX202" fmla="*/ 132853 w 761692"/>
                    <a:gd name="connsiteY202" fmla="*/ 593412 h 1016771"/>
                    <a:gd name="connsiteX203" fmla="*/ 134625 w 761692"/>
                    <a:gd name="connsiteY203" fmla="*/ 584555 h 1016771"/>
                    <a:gd name="connsiteX204" fmla="*/ 131082 w 761692"/>
                    <a:gd name="connsiteY204" fmla="*/ 575698 h 1016771"/>
                    <a:gd name="connsiteX205" fmla="*/ 120454 w 761692"/>
                    <a:gd name="connsiteY205" fmla="*/ 568613 h 1016771"/>
                    <a:gd name="connsiteX206" fmla="*/ 125768 w 761692"/>
                    <a:gd name="connsiteY206" fmla="*/ 552670 h 1016771"/>
                    <a:gd name="connsiteX207" fmla="*/ 118682 w 761692"/>
                    <a:gd name="connsiteY207" fmla="*/ 543813 h 1016771"/>
                    <a:gd name="connsiteX208" fmla="*/ 90340 w 761692"/>
                    <a:gd name="connsiteY208" fmla="*/ 543813 h 1016771"/>
                    <a:gd name="connsiteX209" fmla="*/ 86797 w 761692"/>
                    <a:gd name="connsiteY209" fmla="*/ 542042 h 1016771"/>
                    <a:gd name="connsiteX210" fmla="*/ 83255 w 761692"/>
                    <a:gd name="connsiteY210" fmla="*/ 542042 h 1016771"/>
                    <a:gd name="connsiteX211" fmla="*/ 81483 w 761692"/>
                    <a:gd name="connsiteY211" fmla="*/ 540271 h 1016771"/>
                    <a:gd name="connsiteX212" fmla="*/ 81483 w 761692"/>
                    <a:gd name="connsiteY212" fmla="*/ 536728 h 1016771"/>
                    <a:gd name="connsiteX213" fmla="*/ 79712 w 761692"/>
                    <a:gd name="connsiteY213" fmla="*/ 531414 h 1016771"/>
                    <a:gd name="connsiteX214" fmla="*/ 77941 w 761692"/>
                    <a:gd name="connsiteY214" fmla="*/ 529642 h 1016771"/>
                    <a:gd name="connsiteX215" fmla="*/ 70855 w 761692"/>
                    <a:gd name="connsiteY215" fmla="*/ 527871 h 1016771"/>
                    <a:gd name="connsiteX216" fmla="*/ 60227 w 761692"/>
                    <a:gd name="connsiteY216" fmla="*/ 536728 h 1016771"/>
                    <a:gd name="connsiteX217" fmla="*/ 47827 w 761692"/>
                    <a:gd name="connsiteY217" fmla="*/ 526100 h 1016771"/>
                    <a:gd name="connsiteX218" fmla="*/ 42513 w 761692"/>
                    <a:gd name="connsiteY218" fmla="*/ 515471 h 1016771"/>
                    <a:gd name="connsiteX219" fmla="*/ 33656 w 761692"/>
                    <a:gd name="connsiteY219" fmla="*/ 506614 h 1016771"/>
                    <a:gd name="connsiteX220" fmla="*/ 31885 w 761692"/>
                    <a:gd name="connsiteY220" fmla="*/ 490672 h 1016771"/>
                    <a:gd name="connsiteX221" fmla="*/ 26571 w 761692"/>
                    <a:gd name="connsiteY221" fmla="*/ 476501 h 1016771"/>
                    <a:gd name="connsiteX222" fmla="*/ 24799 w 761692"/>
                    <a:gd name="connsiteY222" fmla="*/ 471187 h 1016771"/>
                    <a:gd name="connsiteX223" fmla="*/ 12400 w 761692"/>
                    <a:gd name="connsiteY223" fmla="*/ 472958 h 1016771"/>
                    <a:gd name="connsiteX224" fmla="*/ 7086 w 761692"/>
                    <a:gd name="connsiteY224" fmla="*/ 464101 h 1016771"/>
                    <a:gd name="connsiteX225" fmla="*/ 8857 w 761692"/>
                    <a:gd name="connsiteY225" fmla="*/ 446388 h 1016771"/>
                    <a:gd name="connsiteX226" fmla="*/ 3543 w 761692"/>
                    <a:gd name="connsiteY226" fmla="*/ 435759 h 1016771"/>
                    <a:gd name="connsiteX227" fmla="*/ 5314 w 761692"/>
                    <a:gd name="connsiteY227" fmla="*/ 412731 h 1016771"/>
                    <a:gd name="connsiteX228" fmla="*/ 0 w 761692"/>
                    <a:gd name="connsiteY228" fmla="*/ 396789 h 1016771"/>
                    <a:gd name="connsiteX229" fmla="*/ 3543 w 761692"/>
                    <a:gd name="connsiteY229" fmla="*/ 384389 h 1016771"/>
                    <a:gd name="connsiteX230" fmla="*/ 14171 w 761692"/>
                    <a:gd name="connsiteY230" fmla="*/ 380846 h 1016771"/>
                    <a:gd name="connsiteX231" fmla="*/ 24799 w 761692"/>
                    <a:gd name="connsiteY231" fmla="*/ 364904 h 1016771"/>
                    <a:gd name="connsiteX232" fmla="*/ 30113 w 761692"/>
                    <a:gd name="connsiteY232" fmla="*/ 350733 h 1016771"/>
                    <a:gd name="connsiteX233" fmla="*/ 35428 w 761692"/>
                    <a:gd name="connsiteY233" fmla="*/ 341876 h 1016771"/>
                    <a:gd name="connsiteX234" fmla="*/ 42513 w 761692"/>
                    <a:gd name="connsiteY234" fmla="*/ 327705 h 1016771"/>
                    <a:gd name="connsiteX235" fmla="*/ 42513 w 761692"/>
                    <a:gd name="connsiteY235" fmla="*/ 315305 h 1016771"/>
                    <a:gd name="connsiteX236" fmla="*/ 56684 w 761692"/>
                    <a:gd name="connsiteY236" fmla="*/ 309991 h 1016771"/>
                    <a:gd name="connsiteX237" fmla="*/ 60227 w 761692"/>
                    <a:gd name="connsiteY237" fmla="*/ 309991 h 1016771"/>
                    <a:gd name="connsiteX238" fmla="*/ 61998 w 761692"/>
                    <a:gd name="connsiteY238" fmla="*/ 311763 h 1016771"/>
                    <a:gd name="connsiteX239" fmla="*/ 67312 w 761692"/>
                    <a:gd name="connsiteY239" fmla="*/ 311763 h 1016771"/>
                    <a:gd name="connsiteX240" fmla="*/ 67312 w 761692"/>
                    <a:gd name="connsiteY240" fmla="*/ 309991 h 1016771"/>
                    <a:gd name="connsiteX241" fmla="*/ 67312 w 761692"/>
                    <a:gd name="connsiteY241" fmla="*/ 308220 h 1016771"/>
                    <a:gd name="connsiteX242" fmla="*/ 69084 w 761692"/>
                    <a:gd name="connsiteY242" fmla="*/ 302906 h 1016771"/>
                    <a:gd name="connsiteX243" fmla="*/ 70855 w 761692"/>
                    <a:gd name="connsiteY243" fmla="*/ 301134 h 1016771"/>
                    <a:gd name="connsiteX244" fmla="*/ 70855 w 761692"/>
                    <a:gd name="connsiteY244" fmla="*/ 299363 h 1016771"/>
                    <a:gd name="connsiteX245" fmla="*/ 77941 w 761692"/>
                    <a:gd name="connsiteY245" fmla="*/ 295820 h 1016771"/>
                    <a:gd name="connsiteX246" fmla="*/ 85026 w 761692"/>
                    <a:gd name="connsiteY246" fmla="*/ 295820 h 1016771"/>
                    <a:gd name="connsiteX247" fmla="*/ 93883 w 761692"/>
                    <a:gd name="connsiteY247" fmla="*/ 297592 h 1016771"/>
                    <a:gd name="connsiteX248" fmla="*/ 100968 w 761692"/>
                    <a:gd name="connsiteY248" fmla="*/ 288735 h 1016771"/>
                    <a:gd name="connsiteX249" fmla="*/ 97426 w 761692"/>
                    <a:gd name="connsiteY249" fmla="*/ 279878 h 1016771"/>
                    <a:gd name="connsiteX250" fmla="*/ 85026 w 761692"/>
                    <a:gd name="connsiteY250" fmla="*/ 276335 h 1016771"/>
                    <a:gd name="connsiteX251" fmla="*/ 76169 w 761692"/>
                    <a:gd name="connsiteY251" fmla="*/ 271021 h 1016771"/>
                    <a:gd name="connsiteX252" fmla="*/ 76169 w 761692"/>
                    <a:gd name="connsiteY252" fmla="*/ 262164 h 1016771"/>
                    <a:gd name="connsiteX253" fmla="*/ 81483 w 761692"/>
                    <a:gd name="connsiteY253" fmla="*/ 251536 h 1016771"/>
                    <a:gd name="connsiteX254" fmla="*/ 86797 w 761692"/>
                    <a:gd name="connsiteY254" fmla="*/ 255079 h 1016771"/>
                    <a:gd name="connsiteX255" fmla="*/ 104511 w 761692"/>
                    <a:gd name="connsiteY255" fmla="*/ 262164 h 1016771"/>
                    <a:gd name="connsiteX256" fmla="*/ 116911 w 761692"/>
                    <a:gd name="connsiteY256" fmla="*/ 265707 h 1016771"/>
                    <a:gd name="connsiteX257" fmla="*/ 132853 w 761692"/>
                    <a:gd name="connsiteY257" fmla="*/ 269250 h 1016771"/>
                    <a:gd name="connsiteX258" fmla="*/ 138167 w 761692"/>
                    <a:gd name="connsiteY258" fmla="*/ 265707 h 1016771"/>
                    <a:gd name="connsiteX259" fmla="*/ 150567 w 761692"/>
                    <a:gd name="connsiteY259" fmla="*/ 255079 h 1016771"/>
                    <a:gd name="connsiteX260" fmla="*/ 166509 w 761692"/>
                    <a:gd name="connsiteY260" fmla="*/ 255079 h 1016771"/>
                    <a:gd name="connsiteX261" fmla="*/ 166509 w 761692"/>
                    <a:gd name="connsiteY261" fmla="*/ 265707 h 1016771"/>
                    <a:gd name="connsiteX262" fmla="*/ 177138 w 761692"/>
                    <a:gd name="connsiteY262" fmla="*/ 272792 h 1016771"/>
                    <a:gd name="connsiteX263" fmla="*/ 194851 w 761692"/>
                    <a:gd name="connsiteY263" fmla="*/ 276335 h 1016771"/>
                    <a:gd name="connsiteX264" fmla="*/ 209022 w 761692"/>
                    <a:gd name="connsiteY264" fmla="*/ 279878 h 1016771"/>
                    <a:gd name="connsiteX265" fmla="*/ 221422 w 761692"/>
                    <a:gd name="connsiteY265" fmla="*/ 276335 h 1016771"/>
                    <a:gd name="connsiteX266" fmla="*/ 226736 w 761692"/>
                    <a:gd name="connsiteY266" fmla="*/ 269250 h 1016771"/>
                    <a:gd name="connsiteX267" fmla="*/ 226736 w 761692"/>
                    <a:gd name="connsiteY267" fmla="*/ 251536 h 1016771"/>
                    <a:gd name="connsiteX268" fmla="*/ 224965 w 761692"/>
                    <a:gd name="connsiteY268" fmla="*/ 239136 h 1016771"/>
                    <a:gd name="connsiteX269" fmla="*/ 214337 w 761692"/>
                    <a:gd name="connsiteY269" fmla="*/ 230279 h 1016771"/>
                    <a:gd name="connsiteX270" fmla="*/ 210794 w 761692"/>
                    <a:gd name="connsiteY270" fmla="*/ 217880 h 1016771"/>
                    <a:gd name="connsiteX271" fmla="*/ 221422 w 761692"/>
                    <a:gd name="connsiteY271" fmla="*/ 207251 h 1016771"/>
                    <a:gd name="connsiteX272" fmla="*/ 235593 w 761692"/>
                    <a:gd name="connsiteY272" fmla="*/ 214337 h 1016771"/>
                    <a:gd name="connsiteX273" fmla="*/ 246221 w 761692"/>
                    <a:gd name="connsiteY273" fmla="*/ 219651 h 1016771"/>
                    <a:gd name="connsiteX274" fmla="*/ 253307 w 761692"/>
                    <a:gd name="connsiteY274" fmla="*/ 221422 h 1016771"/>
                    <a:gd name="connsiteX275" fmla="*/ 262164 w 761692"/>
                    <a:gd name="connsiteY275" fmla="*/ 210794 h 1016771"/>
                    <a:gd name="connsiteX276" fmla="*/ 263935 w 761692"/>
                    <a:gd name="connsiteY276" fmla="*/ 201937 h 1016771"/>
                    <a:gd name="connsiteX277" fmla="*/ 274563 w 761692"/>
                    <a:gd name="connsiteY277" fmla="*/ 189538 h 1016771"/>
                    <a:gd name="connsiteX278" fmla="*/ 283420 w 761692"/>
                    <a:gd name="connsiteY278" fmla="*/ 178909 h 1016771"/>
                    <a:gd name="connsiteX279" fmla="*/ 286963 w 761692"/>
                    <a:gd name="connsiteY279" fmla="*/ 173595 h 1016771"/>
                    <a:gd name="connsiteX280" fmla="*/ 311762 w 761692"/>
                    <a:gd name="connsiteY280" fmla="*/ 168281 h 1016771"/>
                    <a:gd name="connsiteX281" fmla="*/ 325933 w 761692"/>
                    <a:gd name="connsiteY281" fmla="*/ 164738 h 1016771"/>
                    <a:gd name="connsiteX282" fmla="*/ 336562 w 761692"/>
                    <a:gd name="connsiteY282" fmla="*/ 159424 h 1016771"/>
                    <a:gd name="connsiteX283" fmla="*/ 348961 w 761692"/>
                    <a:gd name="connsiteY283" fmla="*/ 145253 h 1016771"/>
                    <a:gd name="connsiteX284" fmla="*/ 359589 w 761692"/>
                    <a:gd name="connsiteY284" fmla="*/ 143482 h 1016771"/>
                    <a:gd name="connsiteX285" fmla="*/ 371989 w 761692"/>
                    <a:gd name="connsiteY285" fmla="*/ 143482 h 1016771"/>
                    <a:gd name="connsiteX286" fmla="*/ 391474 w 761692"/>
                    <a:gd name="connsiteY286" fmla="*/ 143482 h 1016771"/>
                    <a:gd name="connsiteX287" fmla="*/ 396788 w 761692"/>
                    <a:gd name="connsiteY287" fmla="*/ 141710 h 1016771"/>
                    <a:gd name="connsiteX288" fmla="*/ 403874 w 761692"/>
                    <a:gd name="connsiteY288" fmla="*/ 134625 h 1016771"/>
                    <a:gd name="connsiteX289" fmla="*/ 409188 w 761692"/>
                    <a:gd name="connsiteY289" fmla="*/ 129311 h 1016771"/>
                    <a:gd name="connsiteX290" fmla="*/ 409188 w 761692"/>
                    <a:gd name="connsiteY290" fmla="*/ 123997 h 1016771"/>
                    <a:gd name="connsiteX291" fmla="*/ 414502 w 761692"/>
                    <a:gd name="connsiteY291" fmla="*/ 115140 h 1016771"/>
                    <a:gd name="connsiteX292" fmla="*/ 428673 w 761692"/>
                    <a:gd name="connsiteY292" fmla="*/ 115140 h 1016771"/>
                    <a:gd name="connsiteX293" fmla="*/ 432216 w 761692"/>
                    <a:gd name="connsiteY293" fmla="*/ 109826 h 1016771"/>
                    <a:gd name="connsiteX294" fmla="*/ 437530 w 761692"/>
                    <a:gd name="connsiteY294" fmla="*/ 100969 h 1016771"/>
                    <a:gd name="connsiteX295" fmla="*/ 448158 w 761692"/>
                    <a:gd name="connsiteY295" fmla="*/ 99197 h 1016771"/>
                    <a:gd name="connsiteX296" fmla="*/ 460558 w 761692"/>
                    <a:gd name="connsiteY296" fmla="*/ 97426 h 1016771"/>
                    <a:gd name="connsiteX297" fmla="*/ 472958 w 761692"/>
                    <a:gd name="connsiteY297" fmla="*/ 93883 h 1016771"/>
                    <a:gd name="connsiteX298" fmla="*/ 492443 w 761692"/>
                    <a:gd name="connsiteY298" fmla="*/ 93883 h 1016771"/>
                    <a:gd name="connsiteX299" fmla="*/ 501300 w 761692"/>
                    <a:gd name="connsiteY299" fmla="*/ 83255 h 1016771"/>
                    <a:gd name="connsiteX300" fmla="*/ 517242 w 761692"/>
                    <a:gd name="connsiteY300" fmla="*/ 81484 h 1016771"/>
                    <a:gd name="connsiteX301" fmla="*/ 522556 w 761692"/>
                    <a:gd name="connsiteY301" fmla="*/ 81484 h 1016771"/>
                    <a:gd name="connsiteX302" fmla="*/ 522556 w 761692"/>
                    <a:gd name="connsiteY302" fmla="*/ 60227 h 1016771"/>
                    <a:gd name="connsiteX303" fmla="*/ 526099 w 761692"/>
                    <a:gd name="connsiteY303" fmla="*/ 54913 h 1016771"/>
                    <a:gd name="connsiteX304" fmla="*/ 529642 w 761692"/>
                    <a:gd name="connsiteY304" fmla="*/ 46056 h 1016771"/>
                    <a:gd name="connsiteX305" fmla="*/ 538499 w 761692"/>
                    <a:gd name="connsiteY305" fmla="*/ 40742 h 1016771"/>
                    <a:gd name="connsiteX306" fmla="*/ 540270 w 761692"/>
                    <a:gd name="connsiteY306" fmla="*/ 30114 h 1016771"/>
                    <a:gd name="connsiteX307" fmla="*/ 536727 w 761692"/>
                    <a:gd name="connsiteY307" fmla="*/ 19485 h 1016771"/>
                    <a:gd name="connsiteX308" fmla="*/ 543813 w 761692"/>
                    <a:gd name="connsiteY308" fmla="*/ 5314 h 1016771"/>
                    <a:gd name="connsiteX309" fmla="*/ 554441 w 761692"/>
                    <a:gd name="connsiteY309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9645 w 761692"/>
                    <a:gd name="connsiteY9" fmla="*/ 860925 h 1016771"/>
                    <a:gd name="connsiteX10" fmla="*/ 148122 w 761692"/>
                    <a:gd name="connsiteY10" fmla="*/ 867707 h 1016771"/>
                    <a:gd name="connsiteX11" fmla="*/ 138167 w 761692"/>
                    <a:gd name="connsiteY11" fmla="*/ 852033 h 1016771"/>
                    <a:gd name="connsiteX12" fmla="*/ 139939 w 761692"/>
                    <a:gd name="connsiteY12" fmla="*/ 850262 h 1016771"/>
                    <a:gd name="connsiteX13" fmla="*/ 139939 w 761692"/>
                    <a:gd name="connsiteY13" fmla="*/ 848490 h 1016771"/>
                    <a:gd name="connsiteX14" fmla="*/ 145253 w 761692"/>
                    <a:gd name="connsiteY14" fmla="*/ 843176 h 1016771"/>
                    <a:gd name="connsiteX15" fmla="*/ 147024 w 761692"/>
                    <a:gd name="connsiteY15" fmla="*/ 841405 h 1016771"/>
                    <a:gd name="connsiteX16" fmla="*/ 148796 w 761692"/>
                    <a:gd name="connsiteY16" fmla="*/ 839633 h 1016771"/>
                    <a:gd name="connsiteX17" fmla="*/ 150567 w 761692"/>
                    <a:gd name="connsiteY17" fmla="*/ 837862 h 1016771"/>
                    <a:gd name="connsiteX18" fmla="*/ 159250 w 761692"/>
                    <a:gd name="connsiteY18" fmla="*/ 829179 h 1016771"/>
                    <a:gd name="connsiteX19" fmla="*/ 116476 w 761692"/>
                    <a:gd name="connsiteY19" fmla="*/ 741349 h 1016771"/>
                    <a:gd name="connsiteX20" fmla="*/ 117606 w 761692"/>
                    <a:gd name="connsiteY20" fmla="*/ 742253 h 1016771"/>
                    <a:gd name="connsiteX21" fmla="*/ 122692 w 761692"/>
                    <a:gd name="connsiteY21" fmla="*/ 759206 h 1016771"/>
                    <a:gd name="connsiteX22" fmla="*/ 126082 w 761692"/>
                    <a:gd name="connsiteY22" fmla="*/ 771073 h 1016771"/>
                    <a:gd name="connsiteX23" fmla="*/ 129473 w 761692"/>
                    <a:gd name="connsiteY23" fmla="*/ 782940 h 1016771"/>
                    <a:gd name="connsiteX24" fmla="*/ 132864 w 761692"/>
                    <a:gd name="connsiteY24" fmla="*/ 793112 h 1016771"/>
                    <a:gd name="connsiteX25" fmla="*/ 136254 w 761692"/>
                    <a:gd name="connsiteY25" fmla="*/ 810066 h 1016771"/>
                    <a:gd name="connsiteX26" fmla="*/ 139058 w 761692"/>
                    <a:gd name="connsiteY26" fmla="*/ 818476 h 1016771"/>
                    <a:gd name="connsiteX27" fmla="*/ 138167 w 761692"/>
                    <a:gd name="connsiteY27" fmla="*/ 818377 h 1016771"/>
                    <a:gd name="connsiteX28" fmla="*/ 134625 w 761692"/>
                    <a:gd name="connsiteY28" fmla="*/ 807749 h 1016771"/>
                    <a:gd name="connsiteX29" fmla="*/ 131082 w 761692"/>
                    <a:gd name="connsiteY29" fmla="*/ 790035 h 1016771"/>
                    <a:gd name="connsiteX30" fmla="*/ 127539 w 761692"/>
                    <a:gd name="connsiteY30" fmla="*/ 779407 h 1016771"/>
                    <a:gd name="connsiteX31" fmla="*/ 123996 w 761692"/>
                    <a:gd name="connsiteY31" fmla="*/ 767007 h 1016771"/>
                    <a:gd name="connsiteX32" fmla="*/ 120454 w 761692"/>
                    <a:gd name="connsiteY32" fmla="*/ 754607 h 1016771"/>
                    <a:gd name="connsiteX33" fmla="*/ 116476 w 761692"/>
                    <a:gd name="connsiteY33" fmla="*/ 741349 h 1016771"/>
                    <a:gd name="connsiteX34" fmla="*/ 554441 w 761692"/>
                    <a:gd name="connsiteY34" fmla="*/ 0 h 1016771"/>
                    <a:gd name="connsiteX35" fmla="*/ 570383 w 761692"/>
                    <a:gd name="connsiteY35" fmla="*/ 3543 h 1016771"/>
                    <a:gd name="connsiteX36" fmla="*/ 577469 w 761692"/>
                    <a:gd name="connsiteY36" fmla="*/ 8857 h 1016771"/>
                    <a:gd name="connsiteX37" fmla="*/ 582783 w 761692"/>
                    <a:gd name="connsiteY37" fmla="*/ 17714 h 1016771"/>
                    <a:gd name="connsiteX38" fmla="*/ 582783 w 761692"/>
                    <a:gd name="connsiteY38" fmla="*/ 24799 h 1016771"/>
                    <a:gd name="connsiteX39" fmla="*/ 588097 w 761692"/>
                    <a:gd name="connsiteY39" fmla="*/ 33656 h 1016771"/>
                    <a:gd name="connsiteX40" fmla="*/ 598725 w 761692"/>
                    <a:gd name="connsiteY40" fmla="*/ 31885 h 1016771"/>
                    <a:gd name="connsiteX41" fmla="*/ 612896 w 761692"/>
                    <a:gd name="connsiteY41" fmla="*/ 37199 h 1016771"/>
                    <a:gd name="connsiteX42" fmla="*/ 618211 w 761692"/>
                    <a:gd name="connsiteY42" fmla="*/ 46056 h 1016771"/>
                    <a:gd name="connsiteX43" fmla="*/ 619982 w 761692"/>
                    <a:gd name="connsiteY43" fmla="*/ 54913 h 1016771"/>
                    <a:gd name="connsiteX44" fmla="*/ 618211 w 761692"/>
                    <a:gd name="connsiteY44" fmla="*/ 74398 h 1016771"/>
                    <a:gd name="connsiteX45" fmla="*/ 616439 w 761692"/>
                    <a:gd name="connsiteY45" fmla="*/ 85026 h 1016771"/>
                    <a:gd name="connsiteX46" fmla="*/ 621753 w 761692"/>
                    <a:gd name="connsiteY46" fmla="*/ 97426 h 1016771"/>
                    <a:gd name="connsiteX47" fmla="*/ 637696 w 761692"/>
                    <a:gd name="connsiteY47" fmla="*/ 113368 h 1016771"/>
                    <a:gd name="connsiteX48" fmla="*/ 644781 w 761692"/>
                    <a:gd name="connsiteY48" fmla="*/ 120454 h 1016771"/>
                    <a:gd name="connsiteX49" fmla="*/ 650095 w 761692"/>
                    <a:gd name="connsiteY49" fmla="*/ 136396 h 1016771"/>
                    <a:gd name="connsiteX50" fmla="*/ 655409 w 761692"/>
                    <a:gd name="connsiteY50" fmla="*/ 155881 h 1016771"/>
                    <a:gd name="connsiteX51" fmla="*/ 662495 w 761692"/>
                    <a:gd name="connsiteY51" fmla="*/ 171824 h 1016771"/>
                    <a:gd name="connsiteX52" fmla="*/ 660724 w 761692"/>
                    <a:gd name="connsiteY52" fmla="*/ 185995 h 1016771"/>
                    <a:gd name="connsiteX53" fmla="*/ 635924 w 761692"/>
                    <a:gd name="connsiteY53" fmla="*/ 194852 h 1016771"/>
                    <a:gd name="connsiteX54" fmla="*/ 619982 w 761692"/>
                    <a:gd name="connsiteY54" fmla="*/ 207251 h 1016771"/>
                    <a:gd name="connsiteX55" fmla="*/ 614668 w 761692"/>
                    <a:gd name="connsiteY55" fmla="*/ 223194 h 1016771"/>
                    <a:gd name="connsiteX56" fmla="*/ 618211 w 761692"/>
                    <a:gd name="connsiteY56" fmla="*/ 242679 h 1016771"/>
                    <a:gd name="connsiteX57" fmla="*/ 612896 w 761692"/>
                    <a:gd name="connsiteY57" fmla="*/ 256850 h 1016771"/>
                    <a:gd name="connsiteX58" fmla="*/ 625296 w 761692"/>
                    <a:gd name="connsiteY58" fmla="*/ 267478 h 1016771"/>
                    <a:gd name="connsiteX59" fmla="*/ 641238 w 761692"/>
                    <a:gd name="connsiteY59" fmla="*/ 269250 h 1016771"/>
                    <a:gd name="connsiteX60" fmla="*/ 658952 w 761692"/>
                    <a:gd name="connsiteY60" fmla="*/ 286963 h 1016771"/>
                    <a:gd name="connsiteX61" fmla="*/ 653638 w 761692"/>
                    <a:gd name="connsiteY61" fmla="*/ 309991 h 1016771"/>
                    <a:gd name="connsiteX62" fmla="*/ 653638 w 761692"/>
                    <a:gd name="connsiteY62" fmla="*/ 329476 h 1016771"/>
                    <a:gd name="connsiteX63" fmla="*/ 643010 w 761692"/>
                    <a:gd name="connsiteY63" fmla="*/ 338333 h 1016771"/>
                    <a:gd name="connsiteX64" fmla="*/ 632382 w 761692"/>
                    <a:gd name="connsiteY64" fmla="*/ 338333 h 1016771"/>
                    <a:gd name="connsiteX65" fmla="*/ 618211 w 761692"/>
                    <a:gd name="connsiteY65" fmla="*/ 357819 h 1016771"/>
                    <a:gd name="connsiteX66" fmla="*/ 609354 w 761692"/>
                    <a:gd name="connsiteY66" fmla="*/ 361361 h 1016771"/>
                    <a:gd name="connsiteX67" fmla="*/ 596954 w 761692"/>
                    <a:gd name="connsiteY67" fmla="*/ 363133 h 1016771"/>
                    <a:gd name="connsiteX68" fmla="*/ 581012 w 761692"/>
                    <a:gd name="connsiteY68" fmla="*/ 379075 h 1016771"/>
                    <a:gd name="connsiteX69" fmla="*/ 589868 w 761692"/>
                    <a:gd name="connsiteY69" fmla="*/ 393246 h 1016771"/>
                    <a:gd name="connsiteX70" fmla="*/ 586326 w 761692"/>
                    <a:gd name="connsiteY70" fmla="*/ 409189 h 1016771"/>
                    <a:gd name="connsiteX71" fmla="*/ 570383 w 761692"/>
                    <a:gd name="connsiteY71" fmla="*/ 398560 h 1016771"/>
                    <a:gd name="connsiteX72" fmla="*/ 550898 w 761692"/>
                    <a:gd name="connsiteY72" fmla="*/ 405646 h 1016771"/>
                    <a:gd name="connsiteX73" fmla="*/ 531413 w 761692"/>
                    <a:gd name="connsiteY73" fmla="*/ 425131 h 1016771"/>
                    <a:gd name="connsiteX74" fmla="*/ 543813 w 761692"/>
                    <a:gd name="connsiteY74" fmla="*/ 444616 h 1016771"/>
                    <a:gd name="connsiteX75" fmla="*/ 557984 w 761692"/>
                    <a:gd name="connsiteY75" fmla="*/ 462330 h 1016771"/>
                    <a:gd name="connsiteX76" fmla="*/ 570383 w 761692"/>
                    <a:gd name="connsiteY76" fmla="*/ 478272 h 1016771"/>
                    <a:gd name="connsiteX77" fmla="*/ 579240 w 761692"/>
                    <a:gd name="connsiteY77" fmla="*/ 485358 h 1016771"/>
                    <a:gd name="connsiteX78" fmla="*/ 602268 w 761692"/>
                    <a:gd name="connsiteY78" fmla="*/ 483586 h 1016771"/>
                    <a:gd name="connsiteX79" fmla="*/ 623525 w 761692"/>
                    <a:gd name="connsiteY79" fmla="*/ 474730 h 1016771"/>
                    <a:gd name="connsiteX80" fmla="*/ 639467 w 761692"/>
                    <a:gd name="connsiteY80" fmla="*/ 464101 h 1016771"/>
                    <a:gd name="connsiteX81" fmla="*/ 662495 w 761692"/>
                    <a:gd name="connsiteY81" fmla="*/ 464101 h 1016771"/>
                    <a:gd name="connsiteX82" fmla="*/ 673123 w 761692"/>
                    <a:gd name="connsiteY82" fmla="*/ 464101 h 1016771"/>
                    <a:gd name="connsiteX83" fmla="*/ 681980 w 761692"/>
                    <a:gd name="connsiteY83" fmla="*/ 467644 h 1016771"/>
                    <a:gd name="connsiteX84" fmla="*/ 703237 w 761692"/>
                    <a:gd name="connsiteY84" fmla="*/ 471187 h 1016771"/>
                    <a:gd name="connsiteX85" fmla="*/ 708551 w 761692"/>
                    <a:gd name="connsiteY85" fmla="*/ 474730 h 1016771"/>
                    <a:gd name="connsiteX86" fmla="*/ 722722 w 761692"/>
                    <a:gd name="connsiteY86" fmla="*/ 501300 h 1016771"/>
                    <a:gd name="connsiteX87" fmla="*/ 724493 w 761692"/>
                    <a:gd name="connsiteY87" fmla="*/ 522557 h 1016771"/>
                    <a:gd name="connsiteX88" fmla="*/ 722722 w 761692"/>
                    <a:gd name="connsiteY88" fmla="*/ 540271 h 1016771"/>
                    <a:gd name="connsiteX89" fmla="*/ 735121 w 761692"/>
                    <a:gd name="connsiteY89" fmla="*/ 552670 h 1016771"/>
                    <a:gd name="connsiteX90" fmla="*/ 735121 w 761692"/>
                    <a:gd name="connsiteY90" fmla="*/ 570384 h 1016771"/>
                    <a:gd name="connsiteX91" fmla="*/ 751064 w 761692"/>
                    <a:gd name="connsiteY91" fmla="*/ 581012 h 1016771"/>
                    <a:gd name="connsiteX92" fmla="*/ 761692 w 761692"/>
                    <a:gd name="connsiteY92" fmla="*/ 604040 h 1016771"/>
                    <a:gd name="connsiteX93" fmla="*/ 747521 w 761692"/>
                    <a:gd name="connsiteY93" fmla="*/ 616440 h 1016771"/>
                    <a:gd name="connsiteX94" fmla="*/ 728036 w 761692"/>
                    <a:gd name="connsiteY94" fmla="*/ 627068 h 1016771"/>
                    <a:gd name="connsiteX95" fmla="*/ 726264 w 761692"/>
                    <a:gd name="connsiteY95" fmla="*/ 650096 h 1016771"/>
                    <a:gd name="connsiteX96" fmla="*/ 728036 w 761692"/>
                    <a:gd name="connsiteY96" fmla="*/ 673124 h 1016771"/>
                    <a:gd name="connsiteX97" fmla="*/ 742207 w 761692"/>
                    <a:gd name="connsiteY97" fmla="*/ 689066 h 1016771"/>
                    <a:gd name="connsiteX98" fmla="*/ 742207 w 761692"/>
                    <a:gd name="connsiteY98" fmla="*/ 712094 h 1016771"/>
                    <a:gd name="connsiteX99" fmla="*/ 740435 w 761692"/>
                    <a:gd name="connsiteY99" fmla="*/ 735122 h 1016771"/>
                    <a:gd name="connsiteX100" fmla="*/ 742207 w 761692"/>
                    <a:gd name="connsiteY100" fmla="*/ 751065 h 1016771"/>
                    <a:gd name="connsiteX101" fmla="*/ 747521 w 761692"/>
                    <a:gd name="connsiteY101" fmla="*/ 768778 h 1016771"/>
                    <a:gd name="connsiteX102" fmla="*/ 759921 w 761692"/>
                    <a:gd name="connsiteY102" fmla="*/ 777635 h 1016771"/>
                    <a:gd name="connsiteX103" fmla="*/ 758149 w 761692"/>
                    <a:gd name="connsiteY103" fmla="*/ 802434 h 1016771"/>
                    <a:gd name="connsiteX104" fmla="*/ 752835 w 761692"/>
                    <a:gd name="connsiteY104" fmla="*/ 814834 h 1016771"/>
                    <a:gd name="connsiteX105" fmla="*/ 743978 w 761692"/>
                    <a:gd name="connsiteY105" fmla="*/ 827234 h 1016771"/>
                    <a:gd name="connsiteX106" fmla="*/ 743978 w 761692"/>
                    <a:gd name="connsiteY106" fmla="*/ 837862 h 1016771"/>
                    <a:gd name="connsiteX107" fmla="*/ 747521 w 761692"/>
                    <a:gd name="connsiteY107" fmla="*/ 853804 h 1016771"/>
                    <a:gd name="connsiteX108" fmla="*/ 733350 w 761692"/>
                    <a:gd name="connsiteY108" fmla="*/ 867975 h 1016771"/>
                    <a:gd name="connsiteX109" fmla="*/ 724493 w 761692"/>
                    <a:gd name="connsiteY109" fmla="*/ 880375 h 1016771"/>
                    <a:gd name="connsiteX110" fmla="*/ 722722 w 761692"/>
                    <a:gd name="connsiteY110" fmla="*/ 899860 h 1016771"/>
                    <a:gd name="connsiteX111" fmla="*/ 722722 w 761692"/>
                    <a:gd name="connsiteY111" fmla="*/ 919345 h 1016771"/>
                    <a:gd name="connsiteX112" fmla="*/ 715636 w 761692"/>
                    <a:gd name="connsiteY112" fmla="*/ 940602 h 1016771"/>
                    <a:gd name="connsiteX113" fmla="*/ 708551 w 761692"/>
                    <a:gd name="connsiteY113" fmla="*/ 954773 h 1016771"/>
                    <a:gd name="connsiteX114" fmla="*/ 699694 w 761692"/>
                    <a:gd name="connsiteY114" fmla="*/ 965401 h 1016771"/>
                    <a:gd name="connsiteX115" fmla="*/ 692608 w 761692"/>
                    <a:gd name="connsiteY115" fmla="*/ 984886 h 1016771"/>
                    <a:gd name="connsiteX116" fmla="*/ 683751 w 761692"/>
                    <a:gd name="connsiteY116" fmla="*/ 997286 h 1016771"/>
                    <a:gd name="connsiteX117" fmla="*/ 673123 w 761692"/>
                    <a:gd name="connsiteY117" fmla="*/ 1002600 h 1016771"/>
                    <a:gd name="connsiteX118" fmla="*/ 662495 w 761692"/>
                    <a:gd name="connsiteY118" fmla="*/ 1013228 h 1016771"/>
                    <a:gd name="connsiteX119" fmla="*/ 644781 w 761692"/>
                    <a:gd name="connsiteY119" fmla="*/ 1016771 h 1016771"/>
                    <a:gd name="connsiteX120" fmla="*/ 635924 w 761692"/>
                    <a:gd name="connsiteY120" fmla="*/ 1004372 h 1016771"/>
                    <a:gd name="connsiteX121" fmla="*/ 623525 w 761692"/>
                    <a:gd name="connsiteY121" fmla="*/ 997286 h 1016771"/>
                    <a:gd name="connsiteX122" fmla="*/ 614668 w 761692"/>
                    <a:gd name="connsiteY122" fmla="*/ 986658 h 1016771"/>
                    <a:gd name="connsiteX123" fmla="*/ 593411 w 761692"/>
                    <a:gd name="connsiteY123" fmla="*/ 970715 h 1016771"/>
                    <a:gd name="connsiteX124" fmla="*/ 582783 w 761692"/>
                    <a:gd name="connsiteY124" fmla="*/ 965401 h 1016771"/>
                    <a:gd name="connsiteX125" fmla="*/ 531413 w 761692"/>
                    <a:gd name="connsiteY125" fmla="*/ 965401 h 1016771"/>
                    <a:gd name="connsiteX126" fmla="*/ 511928 w 761692"/>
                    <a:gd name="connsiteY126" fmla="*/ 965401 h 1016771"/>
                    <a:gd name="connsiteX127" fmla="*/ 492443 w 761692"/>
                    <a:gd name="connsiteY127" fmla="*/ 963630 h 1016771"/>
                    <a:gd name="connsiteX128" fmla="*/ 483586 w 761692"/>
                    <a:gd name="connsiteY128" fmla="*/ 958316 h 1016771"/>
                    <a:gd name="connsiteX129" fmla="*/ 469415 w 761692"/>
                    <a:gd name="connsiteY129" fmla="*/ 954773 h 1016771"/>
                    <a:gd name="connsiteX130" fmla="*/ 460558 w 761692"/>
                    <a:gd name="connsiteY130" fmla="*/ 942373 h 1016771"/>
                    <a:gd name="connsiteX131" fmla="*/ 446387 w 761692"/>
                    <a:gd name="connsiteY131" fmla="*/ 935288 h 1016771"/>
                    <a:gd name="connsiteX132" fmla="*/ 428673 w 761692"/>
                    <a:gd name="connsiteY132" fmla="*/ 928202 h 1016771"/>
                    <a:gd name="connsiteX133" fmla="*/ 418045 w 761692"/>
                    <a:gd name="connsiteY133" fmla="*/ 917574 h 1016771"/>
                    <a:gd name="connsiteX134" fmla="*/ 421588 w 761692"/>
                    <a:gd name="connsiteY134" fmla="*/ 903403 h 1016771"/>
                    <a:gd name="connsiteX135" fmla="*/ 418045 w 761692"/>
                    <a:gd name="connsiteY135" fmla="*/ 898089 h 1016771"/>
                    <a:gd name="connsiteX136" fmla="*/ 396788 w 761692"/>
                    <a:gd name="connsiteY136" fmla="*/ 898089 h 1016771"/>
                    <a:gd name="connsiteX137" fmla="*/ 382617 w 761692"/>
                    <a:gd name="connsiteY137" fmla="*/ 896318 h 1016771"/>
                    <a:gd name="connsiteX138" fmla="*/ 380846 w 761692"/>
                    <a:gd name="connsiteY138" fmla="*/ 906946 h 1016771"/>
                    <a:gd name="connsiteX139" fmla="*/ 373601 w 761692"/>
                    <a:gd name="connsiteY139" fmla="*/ 894832 h 1016771"/>
                    <a:gd name="connsiteX140" fmla="*/ 387164 w 761692"/>
                    <a:gd name="connsiteY140" fmla="*/ 896527 h 1016771"/>
                    <a:gd name="connsiteX141" fmla="*/ 383773 w 761692"/>
                    <a:gd name="connsiteY141" fmla="*/ 886355 h 1016771"/>
                    <a:gd name="connsiteX142" fmla="*/ 387164 w 761692"/>
                    <a:gd name="connsiteY142" fmla="*/ 876183 h 1016771"/>
                    <a:gd name="connsiteX143" fmla="*/ 388859 w 761692"/>
                    <a:gd name="connsiteY143" fmla="*/ 867707 h 1016771"/>
                    <a:gd name="connsiteX144" fmla="*/ 380382 w 761692"/>
                    <a:gd name="connsiteY144" fmla="*/ 859230 h 1016771"/>
                    <a:gd name="connsiteX145" fmla="*/ 373601 w 761692"/>
                    <a:gd name="connsiteY145" fmla="*/ 849058 h 1016771"/>
                    <a:gd name="connsiteX146" fmla="*/ 380382 w 761692"/>
                    <a:gd name="connsiteY146" fmla="*/ 838886 h 1016771"/>
                    <a:gd name="connsiteX147" fmla="*/ 383773 w 761692"/>
                    <a:gd name="connsiteY147" fmla="*/ 833800 h 1016771"/>
                    <a:gd name="connsiteX148" fmla="*/ 388859 w 761692"/>
                    <a:gd name="connsiteY148" fmla="*/ 825324 h 1016771"/>
                    <a:gd name="connsiteX149" fmla="*/ 387164 w 761692"/>
                    <a:gd name="connsiteY149" fmla="*/ 810066 h 1016771"/>
                    <a:gd name="connsiteX150" fmla="*/ 387164 w 761692"/>
                    <a:gd name="connsiteY150" fmla="*/ 796503 h 1016771"/>
                    <a:gd name="connsiteX151" fmla="*/ 378687 w 761692"/>
                    <a:gd name="connsiteY151" fmla="*/ 789722 h 1016771"/>
                    <a:gd name="connsiteX152" fmla="*/ 366820 w 761692"/>
                    <a:gd name="connsiteY152" fmla="*/ 782940 h 1016771"/>
                    <a:gd name="connsiteX153" fmla="*/ 356648 w 761692"/>
                    <a:gd name="connsiteY153" fmla="*/ 781245 h 1016771"/>
                    <a:gd name="connsiteX154" fmla="*/ 349866 w 761692"/>
                    <a:gd name="connsiteY154" fmla="*/ 771073 h 1016771"/>
                    <a:gd name="connsiteX155" fmla="*/ 349866 w 761692"/>
                    <a:gd name="connsiteY155" fmla="*/ 752425 h 1016771"/>
                    <a:gd name="connsiteX156" fmla="*/ 353257 w 761692"/>
                    <a:gd name="connsiteY156" fmla="*/ 743948 h 1016771"/>
                    <a:gd name="connsiteX157" fmla="*/ 354952 w 761692"/>
                    <a:gd name="connsiteY157" fmla="*/ 730385 h 1016771"/>
                    <a:gd name="connsiteX158" fmla="*/ 353257 w 761692"/>
                    <a:gd name="connsiteY158" fmla="*/ 713432 h 1016771"/>
                    <a:gd name="connsiteX159" fmla="*/ 346476 w 761692"/>
                    <a:gd name="connsiteY159" fmla="*/ 701565 h 1016771"/>
                    <a:gd name="connsiteX160" fmla="*/ 332913 w 761692"/>
                    <a:gd name="connsiteY160" fmla="*/ 689697 h 1016771"/>
                    <a:gd name="connsiteX161" fmla="*/ 324436 w 761692"/>
                    <a:gd name="connsiteY161" fmla="*/ 681221 h 1016771"/>
                    <a:gd name="connsiteX162" fmla="*/ 314264 w 761692"/>
                    <a:gd name="connsiteY162" fmla="*/ 676135 h 1016771"/>
                    <a:gd name="connsiteX163" fmla="*/ 293920 w 761692"/>
                    <a:gd name="connsiteY163" fmla="*/ 669354 h 1016771"/>
                    <a:gd name="connsiteX164" fmla="*/ 282053 w 761692"/>
                    <a:gd name="connsiteY164" fmla="*/ 667658 h 1016771"/>
                    <a:gd name="connsiteX165" fmla="*/ 266795 w 761692"/>
                    <a:gd name="connsiteY165" fmla="*/ 672744 h 1016771"/>
                    <a:gd name="connsiteX166" fmla="*/ 265100 w 761692"/>
                    <a:gd name="connsiteY166" fmla="*/ 672744 h 1016771"/>
                    <a:gd name="connsiteX167" fmla="*/ 263404 w 761692"/>
                    <a:gd name="connsiteY167" fmla="*/ 671049 h 1016771"/>
                    <a:gd name="connsiteX168" fmla="*/ 260014 w 761692"/>
                    <a:gd name="connsiteY168" fmla="*/ 671049 h 1016771"/>
                    <a:gd name="connsiteX169" fmla="*/ 258318 w 761692"/>
                    <a:gd name="connsiteY169" fmla="*/ 671049 h 1016771"/>
                    <a:gd name="connsiteX170" fmla="*/ 253232 w 761692"/>
                    <a:gd name="connsiteY170" fmla="*/ 671049 h 1016771"/>
                    <a:gd name="connsiteX171" fmla="*/ 248146 w 761692"/>
                    <a:gd name="connsiteY171" fmla="*/ 672744 h 1016771"/>
                    <a:gd name="connsiteX172" fmla="*/ 248146 w 761692"/>
                    <a:gd name="connsiteY172" fmla="*/ 674440 h 1016771"/>
                    <a:gd name="connsiteX173" fmla="*/ 246451 w 761692"/>
                    <a:gd name="connsiteY173" fmla="*/ 674440 h 1016771"/>
                    <a:gd name="connsiteX174" fmla="*/ 236279 w 761692"/>
                    <a:gd name="connsiteY174" fmla="*/ 679526 h 1016771"/>
                    <a:gd name="connsiteX175" fmla="*/ 226107 w 761692"/>
                    <a:gd name="connsiteY175" fmla="*/ 684612 h 1016771"/>
                    <a:gd name="connsiteX176" fmla="*/ 217630 w 761692"/>
                    <a:gd name="connsiteY176" fmla="*/ 684612 h 1016771"/>
                    <a:gd name="connsiteX177" fmla="*/ 207458 w 761692"/>
                    <a:gd name="connsiteY177" fmla="*/ 693088 h 1016771"/>
                    <a:gd name="connsiteX178" fmla="*/ 198982 w 761692"/>
                    <a:gd name="connsiteY178" fmla="*/ 694783 h 1016771"/>
                    <a:gd name="connsiteX179" fmla="*/ 192200 w 761692"/>
                    <a:gd name="connsiteY179" fmla="*/ 699869 h 1016771"/>
                    <a:gd name="connsiteX180" fmla="*/ 178638 w 761692"/>
                    <a:gd name="connsiteY180" fmla="*/ 706651 h 1016771"/>
                    <a:gd name="connsiteX181" fmla="*/ 163380 w 761692"/>
                    <a:gd name="connsiteY181" fmla="*/ 710041 h 1016771"/>
                    <a:gd name="connsiteX182" fmla="*/ 141340 w 761692"/>
                    <a:gd name="connsiteY182" fmla="*/ 710041 h 1016771"/>
                    <a:gd name="connsiteX183" fmla="*/ 134559 w 761692"/>
                    <a:gd name="connsiteY183" fmla="*/ 716823 h 1016771"/>
                    <a:gd name="connsiteX184" fmla="*/ 127778 w 761692"/>
                    <a:gd name="connsiteY184" fmla="*/ 718518 h 1016771"/>
                    <a:gd name="connsiteX185" fmla="*/ 120996 w 761692"/>
                    <a:gd name="connsiteY185" fmla="*/ 725299 h 1016771"/>
                    <a:gd name="connsiteX186" fmla="*/ 111172 w 761692"/>
                    <a:gd name="connsiteY186" fmla="*/ 733720 h 1016771"/>
                    <a:gd name="connsiteX187" fmla="*/ 106283 w 761692"/>
                    <a:gd name="connsiteY187" fmla="*/ 729808 h 1016771"/>
                    <a:gd name="connsiteX188" fmla="*/ 92112 w 761692"/>
                    <a:gd name="connsiteY188" fmla="*/ 724494 h 1016771"/>
                    <a:gd name="connsiteX189" fmla="*/ 77941 w 761692"/>
                    <a:gd name="connsiteY189" fmla="*/ 726265 h 1016771"/>
                    <a:gd name="connsiteX190" fmla="*/ 70855 w 761692"/>
                    <a:gd name="connsiteY190" fmla="*/ 719180 h 1016771"/>
                    <a:gd name="connsiteX191" fmla="*/ 70855 w 761692"/>
                    <a:gd name="connsiteY191" fmla="*/ 699695 h 1016771"/>
                    <a:gd name="connsiteX192" fmla="*/ 81483 w 761692"/>
                    <a:gd name="connsiteY192" fmla="*/ 685524 h 1016771"/>
                    <a:gd name="connsiteX193" fmla="*/ 85026 w 761692"/>
                    <a:gd name="connsiteY193" fmla="*/ 673124 h 1016771"/>
                    <a:gd name="connsiteX194" fmla="*/ 86797 w 761692"/>
                    <a:gd name="connsiteY194" fmla="*/ 660724 h 1016771"/>
                    <a:gd name="connsiteX195" fmla="*/ 97426 w 761692"/>
                    <a:gd name="connsiteY195" fmla="*/ 650096 h 1016771"/>
                    <a:gd name="connsiteX196" fmla="*/ 102740 w 761692"/>
                    <a:gd name="connsiteY196" fmla="*/ 635925 h 1016771"/>
                    <a:gd name="connsiteX197" fmla="*/ 113368 w 761692"/>
                    <a:gd name="connsiteY197" fmla="*/ 625297 h 1016771"/>
                    <a:gd name="connsiteX198" fmla="*/ 115139 w 761692"/>
                    <a:gd name="connsiteY198" fmla="*/ 612897 h 1016771"/>
                    <a:gd name="connsiteX199" fmla="*/ 127539 w 761692"/>
                    <a:gd name="connsiteY199" fmla="*/ 609354 h 1016771"/>
                    <a:gd name="connsiteX200" fmla="*/ 136396 w 761692"/>
                    <a:gd name="connsiteY200" fmla="*/ 604040 h 1016771"/>
                    <a:gd name="connsiteX201" fmla="*/ 132853 w 761692"/>
                    <a:gd name="connsiteY201" fmla="*/ 593412 h 1016771"/>
                    <a:gd name="connsiteX202" fmla="*/ 134625 w 761692"/>
                    <a:gd name="connsiteY202" fmla="*/ 584555 h 1016771"/>
                    <a:gd name="connsiteX203" fmla="*/ 131082 w 761692"/>
                    <a:gd name="connsiteY203" fmla="*/ 575698 h 1016771"/>
                    <a:gd name="connsiteX204" fmla="*/ 120454 w 761692"/>
                    <a:gd name="connsiteY204" fmla="*/ 568613 h 1016771"/>
                    <a:gd name="connsiteX205" fmla="*/ 125768 w 761692"/>
                    <a:gd name="connsiteY205" fmla="*/ 552670 h 1016771"/>
                    <a:gd name="connsiteX206" fmla="*/ 118682 w 761692"/>
                    <a:gd name="connsiteY206" fmla="*/ 543813 h 1016771"/>
                    <a:gd name="connsiteX207" fmla="*/ 90340 w 761692"/>
                    <a:gd name="connsiteY207" fmla="*/ 543813 h 1016771"/>
                    <a:gd name="connsiteX208" fmla="*/ 86797 w 761692"/>
                    <a:gd name="connsiteY208" fmla="*/ 542042 h 1016771"/>
                    <a:gd name="connsiteX209" fmla="*/ 83255 w 761692"/>
                    <a:gd name="connsiteY209" fmla="*/ 542042 h 1016771"/>
                    <a:gd name="connsiteX210" fmla="*/ 81483 w 761692"/>
                    <a:gd name="connsiteY210" fmla="*/ 540271 h 1016771"/>
                    <a:gd name="connsiteX211" fmla="*/ 81483 w 761692"/>
                    <a:gd name="connsiteY211" fmla="*/ 536728 h 1016771"/>
                    <a:gd name="connsiteX212" fmla="*/ 79712 w 761692"/>
                    <a:gd name="connsiteY212" fmla="*/ 531414 h 1016771"/>
                    <a:gd name="connsiteX213" fmla="*/ 77941 w 761692"/>
                    <a:gd name="connsiteY213" fmla="*/ 529642 h 1016771"/>
                    <a:gd name="connsiteX214" fmla="*/ 70855 w 761692"/>
                    <a:gd name="connsiteY214" fmla="*/ 527871 h 1016771"/>
                    <a:gd name="connsiteX215" fmla="*/ 60227 w 761692"/>
                    <a:gd name="connsiteY215" fmla="*/ 536728 h 1016771"/>
                    <a:gd name="connsiteX216" fmla="*/ 47827 w 761692"/>
                    <a:gd name="connsiteY216" fmla="*/ 526100 h 1016771"/>
                    <a:gd name="connsiteX217" fmla="*/ 42513 w 761692"/>
                    <a:gd name="connsiteY217" fmla="*/ 515471 h 1016771"/>
                    <a:gd name="connsiteX218" fmla="*/ 33656 w 761692"/>
                    <a:gd name="connsiteY218" fmla="*/ 506614 h 1016771"/>
                    <a:gd name="connsiteX219" fmla="*/ 31885 w 761692"/>
                    <a:gd name="connsiteY219" fmla="*/ 490672 h 1016771"/>
                    <a:gd name="connsiteX220" fmla="*/ 26571 w 761692"/>
                    <a:gd name="connsiteY220" fmla="*/ 476501 h 1016771"/>
                    <a:gd name="connsiteX221" fmla="*/ 24799 w 761692"/>
                    <a:gd name="connsiteY221" fmla="*/ 471187 h 1016771"/>
                    <a:gd name="connsiteX222" fmla="*/ 12400 w 761692"/>
                    <a:gd name="connsiteY222" fmla="*/ 472958 h 1016771"/>
                    <a:gd name="connsiteX223" fmla="*/ 7086 w 761692"/>
                    <a:gd name="connsiteY223" fmla="*/ 464101 h 1016771"/>
                    <a:gd name="connsiteX224" fmla="*/ 8857 w 761692"/>
                    <a:gd name="connsiteY224" fmla="*/ 446388 h 1016771"/>
                    <a:gd name="connsiteX225" fmla="*/ 3543 w 761692"/>
                    <a:gd name="connsiteY225" fmla="*/ 435759 h 1016771"/>
                    <a:gd name="connsiteX226" fmla="*/ 5314 w 761692"/>
                    <a:gd name="connsiteY226" fmla="*/ 412731 h 1016771"/>
                    <a:gd name="connsiteX227" fmla="*/ 0 w 761692"/>
                    <a:gd name="connsiteY227" fmla="*/ 396789 h 1016771"/>
                    <a:gd name="connsiteX228" fmla="*/ 3543 w 761692"/>
                    <a:gd name="connsiteY228" fmla="*/ 384389 h 1016771"/>
                    <a:gd name="connsiteX229" fmla="*/ 14171 w 761692"/>
                    <a:gd name="connsiteY229" fmla="*/ 380846 h 1016771"/>
                    <a:gd name="connsiteX230" fmla="*/ 24799 w 761692"/>
                    <a:gd name="connsiteY230" fmla="*/ 364904 h 1016771"/>
                    <a:gd name="connsiteX231" fmla="*/ 30113 w 761692"/>
                    <a:gd name="connsiteY231" fmla="*/ 350733 h 1016771"/>
                    <a:gd name="connsiteX232" fmla="*/ 35428 w 761692"/>
                    <a:gd name="connsiteY232" fmla="*/ 341876 h 1016771"/>
                    <a:gd name="connsiteX233" fmla="*/ 42513 w 761692"/>
                    <a:gd name="connsiteY233" fmla="*/ 327705 h 1016771"/>
                    <a:gd name="connsiteX234" fmla="*/ 42513 w 761692"/>
                    <a:gd name="connsiteY234" fmla="*/ 315305 h 1016771"/>
                    <a:gd name="connsiteX235" fmla="*/ 56684 w 761692"/>
                    <a:gd name="connsiteY235" fmla="*/ 309991 h 1016771"/>
                    <a:gd name="connsiteX236" fmla="*/ 60227 w 761692"/>
                    <a:gd name="connsiteY236" fmla="*/ 309991 h 1016771"/>
                    <a:gd name="connsiteX237" fmla="*/ 61998 w 761692"/>
                    <a:gd name="connsiteY237" fmla="*/ 311763 h 1016771"/>
                    <a:gd name="connsiteX238" fmla="*/ 67312 w 761692"/>
                    <a:gd name="connsiteY238" fmla="*/ 311763 h 1016771"/>
                    <a:gd name="connsiteX239" fmla="*/ 67312 w 761692"/>
                    <a:gd name="connsiteY239" fmla="*/ 309991 h 1016771"/>
                    <a:gd name="connsiteX240" fmla="*/ 67312 w 761692"/>
                    <a:gd name="connsiteY240" fmla="*/ 308220 h 1016771"/>
                    <a:gd name="connsiteX241" fmla="*/ 69084 w 761692"/>
                    <a:gd name="connsiteY241" fmla="*/ 302906 h 1016771"/>
                    <a:gd name="connsiteX242" fmla="*/ 70855 w 761692"/>
                    <a:gd name="connsiteY242" fmla="*/ 301134 h 1016771"/>
                    <a:gd name="connsiteX243" fmla="*/ 70855 w 761692"/>
                    <a:gd name="connsiteY243" fmla="*/ 299363 h 1016771"/>
                    <a:gd name="connsiteX244" fmla="*/ 77941 w 761692"/>
                    <a:gd name="connsiteY244" fmla="*/ 295820 h 1016771"/>
                    <a:gd name="connsiteX245" fmla="*/ 85026 w 761692"/>
                    <a:gd name="connsiteY245" fmla="*/ 295820 h 1016771"/>
                    <a:gd name="connsiteX246" fmla="*/ 93883 w 761692"/>
                    <a:gd name="connsiteY246" fmla="*/ 297592 h 1016771"/>
                    <a:gd name="connsiteX247" fmla="*/ 100968 w 761692"/>
                    <a:gd name="connsiteY247" fmla="*/ 288735 h 1016771"/>
                    <a:gd name="connsiteX248" fmla="*/ 97426 w 761692"/>
                    <a:gd name="connsiteY248" fmla="*/ 279878 h 1016771"/>
                    <a:gd name="connsiteX249" fmla="*/ 85026 w 761692"/>
                    <a:gd name="connsiteY249" fmla="*/ 276335 h 1016771"/>
                    <a:gd name="connsiteX250" fmla="*/ 76169 w 761692"/>
                    <a:gd name="connsiteY250" fmla="*/ 271021 h 1016771"/>
                    <a:gd name="connsiteX251" fmla="*/ 76169 w 761692"/>
                    <a:gd name="connsiteY251" fmla="*/ 262164 h 1016771"/>
                    <a:gd name="connsiteX252" fmla="*/ 81483 w 761692"/>
                    <a:gd name="connsiteY252" fmla="*/ 251536 h 1016771"/>
                    <a:gd name="connsiteX253" fmla="*/ 86797 w 761692"/>
                    <a:gd name="connsiteY253" fmla="*/ 255079 h 1016771"/>
                    <a:gd name="connsiteX254" fmla="*/ 104511 w 761692"/>
                    <a:gd name="connsiteY254" fmla="*/ 262164 h 1016771"/>
                    <a:gd name="connsiteX255" fmla="*/ 116911 w 761692"/>
                    <a:gd name="connsiteY255" fmla="*/ 265707 h 1016771"/>
                    <a:gd name="connsiteX256" fmla="*/ 132853 w 761692"/>
                    <a:gd name="connsiteY256" fmla="*/ 269250 h 1016771"/>
                    <a:gd name="connsiteX257" fmla="*/ 138167 w 761692"/>
                    <a:gd name="connsiteY257" fmla="*/ 265707 h 1016771"/>
                    <a:gd name="connsiteX258" fmla="*/ 150567 w 761692"/>
                    <a:gd name="connsiteY258" fmla="*/ 255079 h 1016771"/>
                    <a:gd name="connsiteX259" fmla="*/ 166509 w 761692"/>
                    <a:gd name="connsiteY259" fmla="*/ 255079 h 1016771"/>
                    <a:gd name="connsiteX260" fmla="*/ 166509 w 761692"/>
                    <a:gd name="connsiteY260" fmla="*/ 265707 h 1016771"/>
                    <a:gd name="connsiteX261" fmla="*/ 177138 w 761692"/>
                    <a:gd name="connsiteY261" fmla="*/ 272792 h 1016771"/>
                    <a:gd name="connsiteX262" fmla="*/ 194851 w 761692"/>
                    <a:gd name="connsiteY262" fmla="*/ 276335 h 1016771"/>
                    <a:gd name="connsiteX263" fmla="*/ 209022 w 761692"/>
                    <a:gd name="connsiteY263" fmla="*/ 279878 h 1016771"/>
                    <a:gd name="connsiteX264" fmla="*/ 221422 w 761692"/>
                    <a:gd name="connsiteY264" fmla="*/ 276335 h 1016771"/>
                    <a:gd name="connsiteX265" fmla="*/ 226736 w 761692"/>
                    <a:gd name="connsiteY265" fmla="*/ 269250 h 1016771"/>
                    <a:gd name="connsiteX266" fmla="*/ 226736 w 761692"/>
                    <a:gd name="connsiteY266" fmla="*/ 251536 h 1016771"/>
                    <a:gd name="connsiteX267" fmla="*/ 224965 w 761692"/>
                    <a:gd name="connsiteY267" fmla="*/ 239136 h 1016771"/>
                    <a:gd name="connsiteX268" fmla="*/ 214337 w 761692"/>
                    <a:gd name="connsiteY268" fmla="*/ 230279 h 1016771"/>
                    <a:gd name="connsiteX269" fmla="*/ 210794 w 761692"/>
                    <a:gd name="connsiteY269" fmla="*/ 217880 h 1016771"/>
                    <a:gd name="connsiteX270" fmla="*/ 221422 w 761692"/>
                    <a:gd name="connsiteY270" fmla="*/ 207251 h 1016771"/>
                    <a:gd name="connsiteX271" fmla="*/ 235593 w 761692"/>
                    <a:gd name="connsiteY271" fmla="*/ 214337 h 1016771"/>
                    <a:gd name="connsiteX272" fmla="*/ 246221 w 761692"/>
                    <a:gd name="connsiteY272" fmla="*/ 219651 h 1016771"/>
                    <a:gd name="connsiteX273" fmla="*/ 253307 w 761692"/>
                    <a:gd name="connsiteY273" fmla="*/ 221422 h 1016771"/>
                    <a:gd name="connsiteX274" fmla="*/ 262164 w 761692"/>
                    <a:gd name="connsiteY274" fmla="*/ 210794 h 1016771"/>
                    <a:gd name="connsiteX275" fmla="*/ 263935 w 761692"/>
                    <a:gd name="connsiteY275" fmla="*/ 201937 h 1016771"/>
                    <a:gd name="connsiteX276" fmla="*/ 274563 w 761692"/>
                    <a:gd name="connsiteY276" fmla="*/ 189538 h 1016771"/>
                    <a:gd name="connsiteX277" fmla="*/ 283420 w 761692"/>
                    <a:gd name="connsiteY277" fmla="*/ 178909 h 1016771"/>
                    <a:gd name="connsiteX278" fmla="*/ 286963 w 761692"/>
                    <a:gd name="connsiteY278" fmla="*/ 173595 h 1016771"/>
                    <a:gd name="connsiteX279" fmla="*/ 311762 w 761692"/>
                    <a:gd name="connsiteY279" fmla="*/ 168281 h 1016771"/>
                    <a:gd name="connsiteX280" fmla="*/ 325933 w 761692"/>
                    <a:gd name="connsiteY280" fmla="*/ 164738 h 1016771"/>
                    <a:gd name="connsiteX281" fmla="*/ 336562 w 761692"/>
                    <a:gd name="connsiteY281" fmla="*/ 159424 h 1016771"/>
                    <a:gd name="connsiteX282" fmla="*/ 348961 w 761692"/>
                    <a:gd name="connsiteY282" fmla="*/ 145253 h 1016771"/>
                    <a:gd name="connsiteX283" fmla="*/ 359589 w 761692"/>
                    <a:gd name="connsiteY283" fmla="*/ 143482 h 1016771"/>
                    <a:gd name="connsiteX284" fmla="*/ 371989 w 761692"/>
                    <a:gd name="connsiteY284" fmla="*/ 143482 h 1016771"/>
                    <a:gd name="connsiteX285" fmla="*/ 391474 w 761692"/>
                    <a:gd name="connsiteY285" fmla="*/ 143482 h 1016771"/>
                    <a:gd name="connsiteX286" fmla="*/ 396788 w 761692"/>
                    <a:gd name="connsiteY286" fmla="*/ 141710 h 1016771"/>
                    <a:gd name="connsiteX287" fmla="*/ 403874 w 761692"/>
                    <a:gd name="connsiteY287" fmla="*/ 134625 h 1016771"/>
                    <a:gd name="connsiteX288" fmla="*/ 409188 w 761692"/>
                    <a:gd name="connsiteY288" fmla="*/ 129311 h 1016771"/>
                    <a:gd name="connsiteX289" fmla="*/ 409188 w 761692"/>
                    <a:gd name="connsiteY289" fmla="*/ 123997 h 1016771"/>
                    <a:gd name="connsiteX290" fmla="*/ 414502 w 761692"/>
                    <a:gd name="connsiteY290" fmla="*/ 115140 h 1016771"/>
                    <a:gd name="connsiteX291" fmla="*/ 428673 w 761692"/>
                    <a:gd name="connsiteY291" fmla="*/ 115140 h 1016771"/>
                    <a:gd name="connsiteX292" fmla="*/ 432216 w 761692"/>
                    <a:gd name="connsiteY292" fmla="*/ 109826 h 1016771"/>
                    <a:gd name="connsiteX293" fmla="*/ 437530 w 761692"/>
                    <a:gd name="connsiteY293" fmla="*/ 100969 h 1016771"/>
                    <a:gd name="connsiteX294" fmla="*/ 448158 w 761692"/>
                    <a:gd name="connsiteY294" fmla="*/ 99197 h 1016771"/>
                    <a:gd name="connsiteX295" fmla="*/ 460558 w 761692"/>
                    <a:gd name="connsiteY295" fmla="*/ 97426 h 1016771"/>
                    <a:gd name="connsiteX296" fmla="*/ 472958 w 761692"/>
                    <a:gd name="connsiteY296" fmla="*/ 93883 h 1016771"/>
                    <a:gd name="connsiteX297" fmla="*/ 492443 w 761692"/>
                    <a:gd name="connsiteY297" fmla="*/ 93883 h 1016771"/>
                    <a:gd name="connsiteX298" fmla="*/ 501300 w 761692"/>
                    <a:gd name="connsiteY298" fmla="*/ 83255 h 1016771"/>
                    <a:gd name="connsiteX299" fmla="*/ 517242 w 761692"/>
                    <a:gd name="connsiteY299" fmla="*/ 81484 h 1016771"/>
                    <a:gd name="connsiteX300" fmla="*/ 522556 w 761692"/>
                    <a:gd name="connsiteY300" fmla="*/ 81484 h 1016771"/>
                    <a:gd name="connsiteX301" fmla="*/ 522556 w 761692"/>
                    <a:gd name="connsiteY301" fmla="*/ 60227 h 1016771"/>
                    <a:gd name="connsiteX302" fmla="*/ 526099 w 761692"/>
                    <a:gd name="connsiteY302" fmla="*/ 54913 h 1016771"/>
                    <a:gd name="connsiteX303" fmla="*/ 529642 w 761692"/>
                    <a:gd name="connsiteY303" fmla="*/ 46056 h 1016771"/>
                    <a:gd name="connsiteX304" fmla="*/ 538499 w 761692"/>
                    <a:gd name="connsiteY304" fmla="*/ 40742 h 1016771"/>
                    <a:gd name="connsiteX305" fmla="*/ 540270 w 761692"/>
                    <a:gd name="connsiteY305" fmla="*/ 30114 h 1016771"/>
                    <a:gd name="connsiteX306" fmla="*/ 536727 w 761692"/>
                    <a:gd name="connsiteY306" fmla="*/ 19485 h 1016771"/>
                    <a:gd name="connsiteX307" fmla="*/ 543813 w 761692"/>
                    <a:gd name="connsiteY307" fmla="*/ 5314 h 1016771"/>
                    <a:gd name="connsiteX308" fmla="*/ 554441 w 761692"/>
                    <a:gd name="connsiteY308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9645 w 761692"/>
                    <a:gd name="connsiteY9" fmla="*/ 860925 h 1016771"/>
                    <a:gd name="connsiteX10" fmla="*/ 138167 w 761692"/>
                    <a:gd name="connsiteY10" fmla="*/ 852033 h 1016771"/>
                    <a:gd name="connsiteX11" fmla="*/ 139939 w 761692"/>
                    <a:gd name="connsiteY11" fmla="*/ 850262 h 1016771"/>
                    <a:gd name="connsiteX12" fmla="*/ 139939 w 761692"/>
                    <a:gd name="connsiteY12" fmla="*/ 848490 h 1016771"/>
                    <a:gd name="connsiteX13" fmla="*/ 145253 w 761692"/>
                    <a:gd name="connsiteY13" fmla="*/ 843176 h 1016771"/>
                    <a:gd name="connsiteX14" fmla="*/ 147024 w 761692"/>
                    <a:gd name="connsiteY14" fmla="*/ 841405 h 1016771"/>
                    <a:gd name="connsiteX15" fmla="*/ 148796 w 761692"/>
                    <a:gd name="connsiteY15" fmla="*/ 839633 h 1016771"/>
                    <a:gd name="connsiteX16" fmla="*/ 150567 w 761692"/>
                    <a:gd name="connsiteY16" fmla="*/ 837862 h 1016771"/>
                    <a:gd name="connsiteX17" fmla="*/ 159250 w 761692"/>
                    <a:gd name="connsiteY17" fmla="*/ 829179 h 1016771"/>
                    <a:gd name="connsiteX18" fmla="*/ 116476 w 761692"/>
                    <a:gd name="connsiteY18" fmla="*/ 741349 h 1016771"/>
                    <a:gd name="connsiteX19" fmla="*/ 117606 w 761692"/>
                    <a:gd name="connsiteY19" fmla="*/ 742253 h 1016771"/>
                    <a:gd name="connsiteX20" fmla="*/ 122692 w 761692"/>
                    <a:gd name="connsiteY20" fmla="*/ 759206 h 1016771"/>
                    <a:gd name="connsiteX21" fmla="*/ 126082 w 761692"/>
                    <a:gd name="connsiteY21" fmla="*/ 771073 h 1016771"/>
                    <a:gd name="connsiteX22" fmla="*/ 129473 w 761692"/>
                    <a:gd name="connsiteY22" fmla="*/ 782940 h 1016771"/>
                    <a:gd name="connsiteX23" fmla="*/ 132864 w 761692"/>
                    <a:gd name="connsiteY23" fmla="*/ 793112 h 1016771"/>
                    <a:gd name="connsiteX24" fmla="*/ 136254 w 761692"/>
                    <a:gd name="connsiteY24" fmla="*/ 810066 h 1016771"/>
                    <a:gd name="connsiteX25" fmla="*/ 139058 w 761692"/>
                    <a:gd name="connsiteY25" fmla="*/ 818476 h 1016771"/>
                    <a:gd name="connsiteX26" fmla="*/ 138167 w 761692"/>
                    <a:gd name="connsiteY26" fmla="*/ 818377 h 1016771"/>
                    <a:gd name="connsiteX27" fmla="*/ 134625 w 761692"/>
                    <a:gd name="connsiteY27" fmla="*/ 807749 h 1016771"/>
                    <a:gd name="connsiteX28" fmla="*/ 131082 w 761692"/>
                    <a:gd name="connsiteY28" fmla="*/ 790035 h 1016771"/>
                    <a:gd name="connsiteX29" fmla="*/ 127539 w 761692"/>
                    <a:gd name="connsiteY29" fmla="*/ 779407 h 1016771"/>
                    <a:gd name="connsiteX30" fmla="*/ 123996 w 761692"/>
                    <a:gd name="connsiteY30" fmla="*/ 767007 h 1016771"/>
                    <a:gd name="connsiteX31" fmla="*/ 120454 w 761692"/>
                    <a:gd name="connsiteY31" fmla="*/ 754607 h 1016771"/>
                    <a:gd name="connsiteX32" fmla="*/ 116476 w 761692"/>
                    <a:gd name="connsiteY32" fmla="*/ 741349 h 1016771"/>
                    <a:gd name="connsiteX33" fmla="*/ 554441 w 761692"/>
                    <a:gd name="connsiteY33" fmla="*/ 0 h 1016771"/>
                    <a:gd name="connsiteX34" fmla="*/ 570383 w 761692"/>
                    <a:gd name="connsiteY34" fmla="*/ 3543 h 1016771"/>
                    <a:gd name="connsiteX35" fmla="*/ 577469 w 761692"/>
                    <a:gd name="connsiteY35" fmla="*/ 8857 h 1016771"/>
                    <a:gd name="connsiteX36" fmla="*/ 582783 w 761692"/>
                    <a:gd name="connsiteY36" fmla="*/ 17714 h 1016771"/>
                    <a:gd name="connsiteX37" fmla="*/ 582783 w 761692"/>
                    <a:gd name="connsiteY37" fmla="*/ 24799 h 1016771"/>
                    <a:gd name="connsiteX38" fmla="*/ 588097 w 761692"/>
                    <a:gd name="connsiteY38" fmla="*/ 33656 h 1016771"/>
                    <a:gd name="connsiteX39" fmla="*/ 598725 w 761692"/>
                    <a:gd name="connsiteY39" fmla="*/ 31885 h 1016771"/>
                    <a:gd name="connsiteX40" fmla="*/ 612896 w 761692"/>
                    <a:gd name="connsiteY40" fmla="*/ 37199 h 1016771"/>
                    <a:gd name="connsiteX41" fmla="*/ 618211 w 761692"/>
                    <a:gd name="connsiteY41" fmla="*/ 46056 h 1016771"/>
                    <a:gd name="connsiteX42" fmla="*/ 619982 w 761692"/>
                    <a:gd name="connsiteY42" fmla="*/ 54913 h 1016771"/>
                    <a:gd name="connsiteX43" fmla="*/ 618211 w 761692"/>
                    <a:gd name="connsiteY43" fmla="*/ 74398 h 1016771"/>
                    <a:gd name="connsiteX44" fmla="*/ 616439 w 761692"/>
                    <a:gd name="connsiteY44" fmla="*/ 85026 h 1016771"/>
                    <a:gd name="connsiteX45" fmla="*/ 621753 w 761692"/>
                    <a:gd name="connsiteY45" fmla="*/ 97426 h 1016771"/>
                    <a:gd name="connsiteX46" fmla="*/ 637696 w 761692"/>
                    <a:gd name="connsiteY46" fmla="*/ 113368 h 1016771"/>
                    <a:gd name="connsiteX47" fmla="*/ 644781 w 761692"/>
                    <a:gd name="connsiteY47" fmla="*/ 120454 h 1016771"/>
                    <a:gd name="connsiteX48" fmla="*/ 650095 w 761692"/>
                    <a:gd name="connsiteY48" fmla="*/ 136396 h 1016771"/>
                    <a:gd name="connsiteX49" fmla="*/ 655409 w 761692"/>
                    <a:gd name="connsiteY49" fmla="*/ 155881 h 1016771"/>
                    <a:gd name="connsiteX50" fmla="*/ 662495 w 761692"/>
                    <a:gd name="connsiteY50" fmla="*/ 171824 h 1016771"/>
                    <a:gd name="connsiteX51" fmla="*/ 660724 w 761692"/>
                    <a:gd name="connsiteY51" fmla="*/ 185995 h 1016771"/>
                    <a:gd name="connsiteX52" fmla="*/ 635924 w 761692"/>
                    <a:gd name="connsiteY52" fmla="*/ 194852 h 1016771"/>
                    <a:gd name="connsiteX53" fmla="*/ 619982 w 761692"/>
                    <a:gd name="connsiteY53" fmla="*/ 207251 h 1016771"/>
                    <a:gd name="connsiteX54" fmla="*/ 614668 w 761692"/>
                    <a:gd name="connsiteY54" fmla="*/ 223194 h 1016771"/>
                    <a:gd name="connsiteX55" fmla="*/ 618211 w 761692"/>
                    <a:gd name="connsiteY55" fmla="*/ 242679 h 1016771"/>
                    <a:gd name="connsiteX56" fmla="*/ 612896 w 761692"/>
                    <a:gd name="connsiteY56" fmla="*/ 256850 h 1016771"/>
                    <a:gd name="connsiteX57" fmla="*/ 625296 w 761692"/>
                    <a:gd name="connsiteY57" fmla="*/ 267478 h 1016771"/>
                    <a:gd name="connsiteX58" fmla="*/ 641238 w 761692"/>
                    <a:gd name="connsiteY58" fmla="*/ 269250 h 1016771"/>
                    <a:gd name="connsiteX59" fmla="*/ 658952 w 761692"/>
                    <a:gd name="connsiteY59" fmla="*/ 286963 h 1016771"/>
                    <a:gd name="connsiteX60" fmla="*/ 653638 w 761692"/>
                    <a:gd name="connsiteY60" fmla="*/ 309991 h 1016771"/>
                    <a:gd name="connsiteX61" fmla="*/ 653638 w 761692"/>
                    <a:gd name="connsiteY61" fmla="*/ 329476 h 1016771"/>
                    <a:gd name="connsiteX62" fmla="*/ 643010 w 761692"/>
                    <a:gd name="connsiteY62" fmla="*/ 338333 h 1016771"/>
                    <a:gd name="connsiteX63" fmla="*/ 632382 w 761692"/>
                    <a:gd name="connsiteY63" fmla="*/ 338333 h 1016771"/>
                    <a:gd name="connsiteX64" fmla="*/ 618211 w 761692"/>
                    <a:gd name="connsiteY64" fmla="*/ 357819 h 1016771"/>
                    <a:gd name="connsiteX65" fmla="*/ 609354 w 761692"/>
                    <a:gd name="connsiteY65" fmla="*/ 361361 h 1016771"/>
                    <a:gd name="connsiteX66" fmla="*/ 596954 w 761692"/>
                    <a:gd name="connsiteY66" fmla="*/ 363133 h 1016771"/>
                    <a:gd name="connsiteX67" fmla="*/ 581012 w 761692"/>
                    <a:gd name="connsiteY67" fmla="*/ 379075 h 1016771"/>
                    <a:gd name="connsiteX68" fmla="*/ 589868 w 761692"/>
                    <a:gd name="connsiteY68" fmla="*/ 393246 h 1016771"/>
                    <a:gd name="connsiteX69" fmla="*/ 586326 w 761692"/>
                    <a:gd name="connsiteY69" fmla="*/ 409189 h 1016771"/>
                    <a:gd name="connsiteX70" fmla="*/ 570383 w 761692"/>
                    <a:gd name="connsiteY70" fmla="*/ 398560 h 1016771"/>
                    <a:gd name="connsiteX71" fmla="*/ 550898 w 761692"/>
                    <a:gd name="connsiteY71" fmla="*/ 405646 h 1016771"/>
                    <a:gd name="connsiteX72" fmla="*/ 531413 w 761692"/>
                    <a:gd name="connsiteY72" fmla="*/ 425131 h 1016771"/>
                    <a:gd name="connsiteX73" fmla="*/ 543813 w 761692"/>
                    <a:gd name="connsiteY73" fmla="*/ 444616 h 1016771"/>
                    <a:gd name="connsiteX74" fmla="*/ 557984 w 761692"/>
                    <a:gd name="connsiteY74" fmla="*/ 462330 h 1016771"/>
                    <a:gd name="connsiteX75" fmla="*/ 570383 w 761692"/>
                    <a:gd name="connsiteY75" fmla="*/ 478272 h 1016771"/>
                    <a:gd name="connsiteX76" fmla="*/ 579240 w 761692"/>
                    <a:gd name="connsiteY76" fmla="*/ 485358 h 1016771"/>
                    <a:gd name="connsiteX77" fmla="*/ 602268 w 761692"/>
                    <a:gd name="connsiteY77" fmla="*/ 483586 h 1016771"/>
                    <a:gd name="connsiteX78" fmla="*/ 623525 w 761692"/>
                    <a:gd name="connsiteY78" fmla="*/ 474730 h 1016771"/>
                    <a:gd name="connsiteX79" fmla="*/ 639467 w 761692"/>
                    <a:gd name="connsiteY79" fmla="*/ 464101 h 1016771"/>
                    <a:gd name="connsiteX80" fmla="*/ 662495 w 761692"/>
                    <a:gd name="connsiteY80" fmla="*/ 464101 h 1016771"/>
                    <a:gd name="connsiteX81" fmla="*/ 673123 w 761692"/>
                    <a:gd name="connsiteY81" fmla="*/ 464101 h 1016771"/>
                    <a:gd name="connsiteX82" fmla="*/ 681980 w 761692"/>
                    <a:gd name="connsiteY82" fmla="*/ 467644 h 1016771"/>
                    <a:gd name="connsiteX83" fmla="*/ 703237 w 761692"/>
                    <a:gd name="connsiteY83" fmla="*/ 471187 h 1016771"/>
                    <a:gd name="connsiteX84" fmla="*/ 708551 w 761692"/>
                    <a:gd name="connsiteY84" fmla="*/ 474730 h 1016771"/>
                    <a:gd name="connsiteX85" fmla="*/ 722722 w 761692"/>
                    <a:gd name="connsiteY85" fmla="*/ 501300 h 1016771"/>
                    <a:gd name="connsiteX86" fmla="*/ 724493 w 761692"/>
                    <a:gd name="connsiteY86" fmla="*/ 522557 h 1016771"/>
                    <a:gd name="connsiteX87" fmla="*/ 722722 w 761692"/>
                    <a:gd name="connsiteY87" fmla="*/ 540271 h 1016771"/>
                    <a:gd name="connsiteX88" fmla="*/ 735121 w 761692"/>
                    <a:gd name="connsiteY88" fmla="*/ 552670 h 1016771"/>
                    <a:gd name="connsiteX89" fmla="*/ 735121 w 761692"/>
                    <a:gd name="connsiteY89" fmla="*/ 570384 h 1016771"/>
                    <a:gd name="connsiteX90" fmla="*/ 751064 w 761692"/>
                    <a:gd name="connsiteY90" fmla="*/ 581012 h 1016771"/>
                    <a:gd name="connsiteX91" fmla="*/ 761692 w 761692"/>
                    <a:gd name="connsiteY91" fmla="*/ 604040 h 1016771"/>
                    <a:gd name="connsiteX92" fmla="*/ 747521 w 761692"/>
                    <a:gd name="connsiteY92" fmla="*/ 616440 h 1016771"/>
                    <a:gd name="connsiteX93" fmla="*/ 728036 w 761692"/>
                    <a:gd name="connsiteY93" fmla="*/ 627068 h 1016771"/>
                    <a:gd name="connsiteX94" fmla="*/ 726264 w 761692"/>
                    <a:gd name="connsiteY94" fmla="*/ 650096 h 1016771"/>
                    <a:gd name="connsiteX95" fmla="*/ 728036 w 761692"/>
                    <a:gd name="connsiteY95" fmla="*/ 673124 h 1016771"/>
                    <a:gd name="connsiteX96" fmla="*/ 742207 w 761692"/>
                    <a:gd name="connsiteY96" fmla="*/ 689066 h 1016771"/>
                    <a:gd name="connsiteX97" fmla="*/ 742207 w 761692"/>
                    <a:gd name="connsiteY97" fmla="*/ 712094 h 1016771"/>
                    <a:gd name="connsiteX98" fmla="*/ 740435 w 761692"/>
                    <a:gd name="connsiteY98" fmla="*/ 735122 h 1016771"/>
                    <a:gd name="connsiteX99" fmla="*/ 742207 w 761692"/>
                    <a:gd name="connsiteY99" fmla="*/ 751065 h 1016771"/>
                    <a:gd name="connsiteX100" fmla="*/ 747521 w 761692"/>
                    <a:gd name="connsiteY100" fmla="*/ 768778 h 1016771"/>
                    <a:gd name="connsiteX101" fmla="*/ 759921 w 761692"/>
                    <a:gd name="connsiteY101" fmla="*/ 777635 h 1016771"/>
                    <a:gd name="connsiteX102" fmla="*/ 758149 w 761692"/>
                    <a:gd name="connsiteY102" fmla="*/ 802434 h 1016771"/>
                    <a:gd name="connsiteX103" fmla="*/ 752835 w 761692"/>
                    <a:gd name="connsiteY103" fmla="*/ 814834 h 1016771"/>
                    <a:gd name="connsiteX104" fmla="*/ 743978 w 761692"/>
                    <a:gd name="connsiteY104" fmla="*/ 827234 h 1016771"/>
                    <a:gd name="connsiteX105" fmla="*/ 743978 w 761692"/>
                    <a:gd name="connsiteY105" fmla="*/ 837862 h 1016771"/>
                    <a:gd name="connsiteX106" fmla="*/ 747521 w 761692"/>
                    <a:gd name="connsiteY106" fmla="*/ 853804 h 1016771"/>
                    <a:gd name="connsiteX107" fmla="*/ 733350 w 761692"/>
                    <a:gd name="connsiteY107" fmla="*/ 867975 h 1016771"/>
                    <a:gd name="connsiteX108" fmla="*/ 724493 w 761692"/>
                    <a:gd name="connsiteY108" fmla="*/ 880375 h 1016771"/>
                    <a:gd name="connsiteX109" fmla="*/ 722722 w 761692"/>
                    <a:gd name="connsiteY109" fmla="*/ 899860 h 1016771"/>
                    <a:gd name="connsiteX110" fmla="*/ 722722 w 761692"/>
                    <a:gd name="connsiteY110" fmla="*/ 919345 h 1016771"/>
                    <a:gd name="connsiteX111" fmla="*/ 715636 w 761692"/>
                    <a:gd name="connsiteY111" fmla="*/ 940602 h 1016771"/>
                    <a:gd name="connsiteX112" fmla="*/ 708551 w 761692"/>
                    <a:gd name="connsiteY112" fmla="*/ 954773 h 1016771"/>
                    <a:gd name="connsiteX113" fmla="*/ 699694 w 761692"/>
                    <a:gd name="connsiteY113" fmla="*/ 965401 h 1016771"/>
                    <a:gd name="connsiteX114" fmla="*/ 692608 w 761692"/>
                    <a:gd name="connsiteY114" fmla="*/ 984886 h 1016771"/>
                    <a:gd name="connsiteX115" fmla="*/ 683751 w 761692"/>
                    <a:gd name="connsiteY115" fmla="*/ 997286 h 1016771"/>
                    <a:gd name="connsiteX116" fmla="*/ 673123 w 761692"/>
                    <a:gd name="connsiteY116" fmla="*/ 1002600 h 1016771"/>
                    <a:gd name="connsiteX117" fmla="*/ 662495 w 761692"/>
                    <a:gd name="connsiteY117" fmla="*/ 1013228 h 1016771"/>
                    <a:gd name="connsiteX118" fmla="*/ 644781 w 761692"/>
                    <a:gd name="connsiteY118" fmla="*/ 1016771 h 1016771"/>
                    <a:gd name="connsiteX119" fmla="*/ 635924 w 761692"/>
                    <a:gd name="connsiteY119" fmla="*/ 1004372 h 1016771"/>
                    <a:gd name="connsiteX120" fmla="*/ 623525 w 761692"/>
                    <a:gd name="connsiteY120" fmla="*/ 997286 h 1016771"/>
                    <a:gd name="connsiteX121" fmla="*/ 614668 w 761692"/>
                    <a:gd name="connsiteY121" fmla="*/ 986658 h 1016771"/>
                    <a:gd name="connsiteX122" fmla="*/ 593411 w 761692"/>
                    <a:gd name="connsiteY122" fmla="*/ 970715 h 1016771"/>
                    <a:gd name="connsiteX123" fmla="*/ 582783 w 761692"/>
                    <a:gd name="connsiteY123" fmla="*/ 965401 h 1016771"/>
                    <a:gd name="connsiteX124" fmla="*/ 531413 w 761692"/>
                    <a:gd name="connsiteY124" fmla="*/ 965401 h 1016771"/>
                    <a:gd name="connsiteX125" fmla="*/ 511928 w 761692"/>
                    <a:gd name="connsiteY125" fmla="*/ 965401 h 1016771"/>
                    <a:gd name="connsiteX126" fmla="*/ 492443 w 761692"/>
                    <a:gd name="connsiteY126" fmla="*/ 963630 h 1016771"/>
                    <a:gd name="connsiteX127" fmla="*/ 483586 w 761692"/>
                    <a:gd name="connsiteY127" fmla="*/ 958316 h 1016771"/>
                    <a:gd name="connsiteX128" fmla="*/ 469415 w 761692"/>
                    <a:gd name="connsiteY128" fmla="*/ 954773 h 1016771"/>
                    <a:gd name="connsiteX129" fmla="*/ 460558 w 761692"/>
                    <a:gd name="connsiteY129" fmla="*/ 942373 h 1016771"/>
                    <a:gd name="connsiteX130" fmla="*/ 446387 w 761692"/>
                    <a:gd name="connsiteY130" fmla="*/ 935288 h 1016771"/>
                    <a:gd name="connsiteX131" fmla="*/ 428673 w 761692"/>
                    <a:gd name="connsiteY131" fmla="*/ 928202 h 1016771"/>
                    <a:gd name="connsiteX132" fmla="*/ 418045 w 761692"/>
                    <a:gd name="connsiteY132" fmla="*/ 917574 h 1016771"/>
                    <a:gd name="connsiteX133" fmla="*/ 421588 w 761692"/>
                    <a:gd name="connsiteY133" fmla="*/ 903403 h 1016771"/>
                    <a:gd name="connsiteX134" fmla="*/ 418045 w 761692"/>
                    <a:gd name="connsiteY134" fmla="*/ 898089 h 1016771"/>
                    <a:gd name="connsiteX135" fmla="*/ 396788 w 761692"/>
                    <a:gd name="connsiteY135" fmla="*/ 898089 h 1016771"/>
                    <a:gd name="connsiteX136" fmla="*/ 382617 w 761692"/>
                    <a:gd name="connsiteY136" fmla="*/ 896318 h 1016771"/>
                    <a:gd name="connsiteX137" fmla="*/ 380846 w 761692"/>
                    <a:gd name="connsiteY137" fmla="*/ 906946 h 1016771"/>
                    <a:gd name="connsiteX138" fmla="*/ 373601 w 761692"/>
                    <a:gd name="connsiteY138" fmla="*/ 894832 h 1016771"/>
                    <a:gd name="connsiteX139" fmla="*/ 387164 w 761692"/>
                    <a:gd name="connsiteY139" fmla="*/ 896527 h 1016771"/>
                    <a:gd name="connsiteX140" fmla="*/ 383773 w 761692"/>
                    <a:gd name="connsiteY140" fmla="*/ 886355 h 1016771"/>
                    <a:gd name="connsiteX141" fmla="*/ 387164 w 761692"/>
                    <a:gd name="connsiteY141" fmla="*/ 876183 h 1016771"/>
                    <a:gd name="connsiteX142" fmla="*/ 388859 w 761692"/>
                    <a:gd name="connsiteY142" fmla="*/ 867707 h 1016771"/>
                    <a:gd name="connsiteX143" fmla="*/ 380382 w 761692"/>
                    <a:gd name="connsiteY143" fmla="*/ 859230 h 1016771"/>
                    <a:gd name="connsiteX144" fmla="*/ 373601 w 761692"/>
                    <a:gd name="connsiteY144" fmla="*/ 849058 h 1016771"/>
                    <a:gd name="connsiteX145" fmla="*/ 380382 w 761692"/>
                    <a:gd name="connsiteY145" fmla="*/ 838886 h 1016771"/>
                    <a:gd name="connsiteX146" fmla="*/ 383773 w 761692"/>
                    <a:gd name="connsiteY146" fmla="*/ 833800 h 1016771"/>
                    <a:gd name="connsiteX147" fmla="*/ 388859 w 761692"/>
                    <a:gd name="connsiteY147" fmla="*/ 825324 h 1016771"/>
                    <a:gd name="connsiteX148" fmla="*/ 387164 w 761692"/>
                    <a:gd name="connsiteY148" fmla="*/ 810066 h 1016771"/>
                    <a:gd name="connsiteX149" fmla="*/ 387164 w 761692"/>
                    <a:gd name="connsiteY149" fmla="*/ 796503 h 1016771"/>
                    <a:gd name="connsiteX150" fmla="*/ 378687 w 761692"/>
                    <a:gd name="connsiteY150" fmla="*/ 789722 h 1016771"/>
                    <a:gd name="connsiteX151" fmla="*/ 366820 w 761692"/>
                    <a:gd name="connsiteY151" fmla="*/ 782940 h 1016771"/>
                    <a:gd name="connsiteX152" fmla="*/ 356648 w 761692"/>
                    <a:gd name="connsiteY152" fmla="*/ 781245 h 1016771"/>
                    <a:gd name="connsiteX153" fmla="*/ 349866 w 761692"/>
                    <a:gd name="connsiteY153" fmla="*/ 771073 h 1016771"/>
                    <a:gd name="connsiteX154" fmla="*/ 349866 w 761692"/>
                    <a:gd name="connsiteY154" fmla="*/ 752425 h 1016771"/>
                    <a:gd name="connsiteX155" fmla="*/ 353257 w 761692"/>
                    <a:gd name="connsiteY155" fmla="*/ 743948 h 1016771"/>
                    <a:gd name="connsiteX156" fmla="*/ 354952 w 761692"/>
                    <a:gd name="connsiteY156" fmla="*/ 730385 h 1016771"/>
                    <a:gd name="connsiteX157" fmla="*/ 353257 w 761692"/>
                    <a:gd name="connsiteY157" fmla="*/ 713432 h 1016771"/>
                    <a:gd name="connsiteX158" fmla="*/ 346476 w 761692"/>
                    <a:gd name="connsiteY158" fmla="*/ 701565 h 1016771"/>
                    <a:gd name="connsiteX159" fmla="*/ 332913 w 761692"/>
                    <a:gd name="connsiteY159" fmla="*/ 689697 h 1016771"/>
                    <a:gd name="connsiteX160" fmla="*/ 324436 w 761692"/>
                    <a:gd name="connsiteY160" fmla="*/ 681221 h 1016771"/>
                    <a:gd name="connsiteX161" fmla="*/ 314264 w 761692"/>
                    <a:gd name="connsiteY161" fmla="*/ 676135 h 1016771"/>
                    <a:gd name="connsiteX162" fmla="*/ 293920 w 761692"/>
                    <a:gd name="connsiteY162" fmla="*/ 669354 h 1016771"/>
                    <a:gd name="connsiteX163" fmla="*/ 282053 w 761692"/>
                    <a:gd name="connsiteY163" fmla="*/ 667658 h 1016771"/>
                    <a:gd name="connsiteX164" fmla="*/ 266795 w 761692"/>
                    <a:gd name="connsiteY164" fmla="*/ 672744 h 1016771"/>
                    <a:gd name="connsiteX165" fmla="*/ 265100 w 761692"/>
                    <a:gd name="connsiteY165" fmla="*/ 672744 h 1016771"/>
                    <a:gd name="connsiteX166" fmla="*/ 263404 w 761692"/>
                    <a:gd name="connsiteY166" fmla="*/ 671049 h 1016771"/>
                    <a:gd name="connsiteX167" fmla="*/ 260014 w 761692"/>
                    <a:gd name="connsiteY167" fmla="*/ 671049 h 1016771"/>
                    <a:gd name="connsiteX168" fmla="*/ 258318 w 761692"/>
                    <a:gd name="connsiteY168" fmla="*/ 671049 h 1016771"/>
                    <a:gd name="connsiteX169" fmla="*/ 253232 w 761692"/>
                    <a:gd name="connsiteY169" fmla="*/ 671049 h 1016771"/>
                    <a:gd name="connsiteX170" fmla="*/ 248146 w 761692"/>
                    <a:gd name="connsiteY170" fmla="*/ 672744 h 1016771"/>
                    <a:gd name="connsiteX171" fmla="*/ 248146 w 761692"/>
                    <a:gd name="connsiteY171" fmla="*/ 674440 h 1016771"/>
                    <a:gd name="connsiteX172" fmla="*/ 246451 w 761692"/>
                    <a:gd name="connsiteY172" fmla="*/ 674440 h 1016771"/>
                    <a:gd name="connsiteX173" fmla="*/ 236279 w 761692"/>
                    <a:gd name="connsiteY173" fmla="*/ 679526 h 1016771"/>
                    <a:gd name="connsiteX174" fmla="*/ 226107 w 761692"/>
                    <a:gd name="connsiteY174" fmla="*/ 684612 h 1016771"/>
                    <a:gd name="connsiteX175" fmla="*/ 217630 w 761692"/>
                    <a:gd name="connsiteY175" fmla="*/ 684612 h 1016771"/>
                    <a:gd name="connsiteX176" fmla="*/ 207458 w 761692"/>
                    <a:gd name="connsiteY176" fmla="*/ 693088 h 1016771"/>
                    <a:gd name="connsiteX177" fmla="*/ 198982 w 761692"/>
                    <a:gd name="connsiteY177" fmla="*/ 694783 h 1016771"/>
                    <a:gd name="connsiteX178" fmla="*/ 192200 w 761692"/>
                    <a:gd name="connsiteY178" fmla="*/ 699869 h 1016771"/>
                    <a:gd name="connsiteX179" fmla="*/ 178638 w 761692"/>
                    <a:gd name="connsiteY179" fmla="*/ 706651 h 1016771"/>
                    <a:gd name="connsiteX180" fmla="*/ 163380 w 761692"/>
                    <a:gd name="connsiteY180" fmla="*/ 710041 h 1016771"/>
                    <a:gd name="connsiteX181" fmla="*/ 141340 w 761692"/>
                    <a:gd name="connsiteY181" fmla="*/ 710041 h 1016771"/>
                    <a:gd name="connsiteX182" fmla="*/ 134559 w 761692"/>
                    <a:gd name="connsiteY182" fmla="*/ 716823 h 1016771"/>
                    <a:gd name="connsiteX183" fmla="*/ 127778 w 761692"/>
                    <a:gd name="connsiteY183" fmla="*/ 718518 h 1016771"/>
                    <a:gd name="connsiteX184" fmla="*/ 120996 w 761692"/>
                    <a:gd name="connsiteY184" fmla="*/ 725299 h 1016771"/>
                    <a:gd name="connsiteX185" fmla="*/ 111172 w 761692"/>
                    <a:gd name="connsiteY185" fmla="*/ 733720 h 1016771"/>
                    <a:gd name="connsiteX186" fmla="*/ 106283 w 761692"/>
                    <a:gd name="connsiteY186" fmla="*/ 729808 h 1016771"/>
                    <a:gd name="connsiteX187" fmla="*/ 92112 w 761692"/>
                    <a:gd name="connsiteY187" fmla="*/ 724494 h 1016771"/>
                    <a:gd name="connsiteX188" fmla="*/ 77941 w 761692"/>
                    <a:gd name="connsiteY188" fmla="*/ 726265 h 1016771"/>
                    <a:gd name="connsiteX189" fmla="*/ 70855 w 761692"/>
                    <a:gd name="connsiteY189" fmla="*/ 719180 h 1016771"/>
                    <a:gd name="connsiteX190" fmla="*/ 70855 w 761692"/>
                    <a:gd name="connsiteY190" fmla="*/ 699695 h 1016771"/>
                    <a:gd name="connsiteX191" fmla="*/ 81483 w 761692"/>
                    <a:gd name="connsiteY191" fmla="*/ 685524 h 1016771"/>
                    <a:gd name="connsiteX192" fmla="*/ 85026 w 761692"/>
                    <a:gd name="connsiteY192" fmla="*/ 673124 h 1016771"/>
                    <a:gd name="connsiteX193" fmla="*/ 86797 w 761692"/>
                    <a:gd name="connsiteY193" fmla="*/ 660724 h 1016771"/>
                    <a:gd name="connsiteX194" fmla="*/ 97426 w 761692"/>
                    <a:gd name="connsiteY194" fmla="*/ 650096 h 1016771"/>
                    <a:gd name="connsiteX195" fmla="*/ 102740 w 761692"/>
                    <a:gd name="connsiteY195" fmla="*/ 635925 h 1016771"/>
                    <a:gd name="connsiteX196" fmla="*/ 113368 w 761692"/>
                    <a:gd name="connsiteY196" fmla="*/ 625297 h 1016771"/>
                    <a:gd name="connsiteX197" fmla="*/ 115139 w 761692"/>
                    <a:gd name="connsiteY197" fmla="*/ 612897 h 1016771"/>
                    <a:gd name="connsiteX198" fmla="*/ 127539 w 761692"/>
                    <a:gd name="connsiteY198" fmla="*/ 609354 h 1016771"/>
                    <a:gd name="connsiteX199" fmla="*/ 136396 w 761692"/>
                    <a:gd name="connsiteY199" fmla="*/ 604040 h 1016771"/>
                    <a:gd name="connsiteX200" fmla="*/ 132853 w 761692"/>
                    <a:gd name="connsiteY200" fmla="*/ 593412 h 1016771"/>
                    <a:gd name="connsiteX201" fmla="*/ 134625 w 761692"/>
                    <a:gd name="connsiteY201" fmla="*/ 584555 h 1016771"/>
                    <a:gd name="connsiteX202" fmla="*/ 131082 w 761692"/>
                    <a:gd name="connsiteY202" fmla="*/ 575698 h 1016771"/>
                    <a:gd name="connsiteX203" fmla="*/ 120454 w 761692"/>
                    <a:gd name="connsiteY203" fmla="*/ 568613 h 1016771"/>
                    <a:gd name="connsiteX204" fmla="*/ 125768 w 761692"/>
                    <a:gd name="connsiteY204" fmla="*/ 552670 h 1016771"/>
                    <a:gd name="connsiteX205" fmla="*/ 118682 w 761692"/>
                    <a:gd name="connsiteY205" fmla="*/ 543813 h 1016771"/>
                    <a:gd name="connsiteX206" fmla="*/ 90340 w 761692"/>
                    <a:gd name="connsiteY206" fmla="*/ 543813 h 1016771"/>
                    <a:gd name="connsiteX207" fmla="*/ 86797 w 761692"/>
                    <a:gd name="connsiteY207" fmla="*/ 542042 h 1016771"/>
                    <a:gd name="connsiteX208" fmla="*/ 83255 w 761692"/>
                    <a:gd name="connsiteY208" fmla="*/ 542042 h 1016771"/>
                    <a:gd name="connsiteX209" fmla="*/ 81483 w 761692"/>
                    <a:gd name="connsiteY209" fmla="*/ 540271 h 1016771"/>
                    <a:gd name="connsiteX210" fmla="*/ 81483 w 761692"/>
                    <a:gd name="connsiteY210" fmla="*/ 536728 h 1016771"/>
                    <a:gd name="connsiteX211" fmla="*/ 79712 w 761692"/>
                    <a:gd name="connsiteY211" fmla="*/ 531414 h 1016771"/>
                    <a:gd name="connsiteX212" fmla="*/ 77941 w 761692"/>
                    <a:gd name="connsiteY212" fmla="*/ 529642 h 1016771"/>
                    <a:gd name="connsiteX213" fmla="*/ 70855 w 761692"/>
                    <a:gd name="connsiteY213" fmla="*/ 527871 h 1016771"/>
                    <a:gd name="connsiteX214" fmla="*/ 60227 w 761692"/>
                    <a:gd name="connsiteY214" fmla="*/ 536728 h 1016771"/>
                    <a:gd name="connsiteX215" fmla="*/ 47827 w 761692"/>
                    <a:gd name="connsiteY215" fmla="*/ 526100 h 1016771"/>
                    <a:gd name="connsiteX216" fmla="*/ 42513 w 761692"/>
                    <a:gd name="connsiteY216" fmla="*/ 515471 h 1016771"/>
                    <a:gd name="connsiteX217" fmla="*/ 33656 w 761692"/>
                    <a:gd name="connsiteY217" fmla="*/ 506614 h 1016771"/>
                    <a:gd name="connsiteX218" fmla="*/ 31885 w 761692"/>
                    <a:gd name="connsiteY218" fmla="*/ 490672 h 1016771"/>
                    <a:gd name="connsiteX219" fmla="*/ 26571 w 761692"/>
                    <a:gd name="connsiteY219" fmla="*/ 476501 h 1016771"/>
                    <a:gd name="connsiteX220" fmla="*/ 24799 w 761692"/>
                    <a:gd name="connsiteY220" fmla="*/ 471187 h 1016771"/>
                    <a:gd name="connsiteX221" fmla="*/ 12400 w 761692"/>
                    <a:gd name="connsiteY221" fmla="*/ 472958 h 1016771"/>
                    <a:gd name="connsiteX222" fmla="*/ 7086 w 761692"/>
                    <a:gd name="connsiteY222" fmla="*/ 464101 h 1016771"/>
                    <a:gd name="connsiteX223" fmla="*/ 8857 w 761692"/>
                    <a:gd name="connsiteY223" fmla="*/ 446388 h 1016771"/>
                    <a:gd name="connsiteX224" fmla="*/ 3543 w 761692"/>
                    <a:gd name="connsiteY224" fmla="*/ 435759 h 1016771"/>
                    <a:gd name="connsiteX225" fmla="*/ 5314 w 761692"/>
                    <a:gd name="connsiteY225" fmla="*/ 412731 h 1016771"/>
                    <a:gd name="connsiteX226" fmla="*/ 0 w 761692"/>
                    <a:gd name="connsiteY226" fmla="*/ 396789 h 1016771"/>
                    <a:gd name="connsiteX227" fmla="*/ 3543 w 761692"/>
                    <a:gd name="connsiteY227" fmla="*/ 384389 h 1016771"/>
                    <a:gd name="connsiteX228" fmla="*/ 14171 w 761692"/>
                    <a:gd name="connsiteY228" fmla="*/ 380846 h 1016771"/>
                    <a:gd name="connsiteX229" fmla="*/ 24799 w 761692"/>
                    <a:gd name="connsiteY229" fmla="*/ 364904 h 1016771"/>
                    <a:gd name="connsiteX230" fmla="*/ 30113 w 761692"/>
                    <a:gd name="connsiteY230" fmla="*/ 350733 h 1016771"/>
                    <a:gd name="connsiteX231" fmla="*/ 35428 w 761692"/>
                    <a:gd name="connsiteY231" fmla="*/ 341876 h 1016771"/>
                    <a:gd name="connsiteX232" fmla="*/ 42513 w 761692"/>
                    <a:gd name="connsiteY232" fmla="*/ 327705 h 1016771"/>
                    <a:gd name="connsiteX233" fmla="*/ 42513 w 761692"/>
                    <a:gd name="connsiteY233" fmla="*/ 315305 h 1016771"/>
                    <a:gd name="connsiteX234" fmla="*/ 56684 w 761692"/>
                    <a:gd name="connsiteY234" fmla="*/ 309991 h 1016771"/>
                    <a:gd name="connsiteX235" fmla="*/ 60227 w 761692"/>
                    <a:gd name="connsiteY235" fmla="*/ 309991 h 1016771"/>
                    <a:gd name="connsiteX236" fmla="*/ 61998 w 761692"/>
                    <a:gd name="connsiteY236" fmla="*/ 311763 h 1016771"/>
                    <a:gd name="connsiteX237" fmla="*/ 67312 w 761692"/>
                    <a:gd name="connsiteY237" fmla="*/ 311763 h 1016771"/>
                    <a:gd name="connsiteX238" fmla="*/ 67312 w 761692"/>
                    <a:gd name="connsiteY238" fmla="*/ 309991 h 1016771"/>
                    <a:gd name="connsiteX239" fmla="*/ 67312 w 761692"/>
                    <a:gd name="connsiteY239" fmla="*/ 308220 h 1016771"/>
                    <a:gd name="connsiteX240" fmla="*/ 69084 w 761692"/>
                    <a:gd name="connsiteY240" fmla="*/ 302906 h 1016771"/>
                    <a:gd name="connsiteX241" fmla="*/ 70855 w 761692"/>
                    <a:gd name="connsiteY241" fmla="*/ 301134 h 1016771"/>
                    <a:gd name="connsiteX242" fmla="*/ 70855 w 761692"/>
                    <a:gd name="connsiteY242" fmla="*/ 299363 h 1016771"/>
                    <a:gd name="connsiteX243" fmla="*/ 77941 w 761692"/>
                    <a:gd name="connsiteY243" fmla="*/ 295820 h 1016771"/>
                    <a:gd name="connsiteX244" fmla="*/ 85026 w 761692"/>
                    <a:gd name="connsiteY244" fmla="*/ 295820 h 1016771"/>
                    <a:gd name="connsiteX245" fmla="*/ 93883 w 761692"/>
                    <a:gd name="connsiteY245" fmla="*/ 297592 h 1016771"/>
                    <a:gd name="connsiteX246" fmla="*/ 100968 w 761692"/>
                    <a:gd name="connsiteY246" fmla="*/ 288735 h 1016771"/>
                    <a:gd name="connsiteX247" fmla="*/ 97426 w 761692"/>
                    <a:gd name="connsiteY247" fmla="*/ 279878 h 1016771"/>
                    <a:gd name="connsiteX248" fmla="*/ 85026 w 761692"/>
                    <a:gd name="connsiteY248" fmla="*/ 276335 h 1016771"/>
                    <a:gd name="connsiteX249" fmla="*/ 76169 w 761692"/>
                    <a:gd name="connsiteY249" fmla="*/ 271021 h 1016771"/>
                    <a:gd name="connsiteX250" fmla="*/ 76169 w 761692"/>
                    <a:gd name="connsiteY250" fmla="*/ 262164 h 1016771"/>
                    <a:gd name="connsiteX251" fmla="*/ 81483 w 761692"/>
                    <a:gd name="connsiteY251" fmla="*/ 251536 h 1016771"/>
                    <a:gd name="connsiteX252" fmla="*/ 86797 w 761692"/>
                    <a:gd name="connsiteY252" fmla="*/ 255079 h 1016771"/>
                    <a:gd name="connsiteX253" fmla="*/ 104511 w 761692"/>
                    <a:gd name="connsiteY253" fmla="*/ 262164 h 1016771"/>
                    <a:gd name="connsiteX254" fmla="*/ 116911 w 761692"/>
                    <a:gd name="connsiteY254" fmla="*/ 265707 h 1016771"/>
                    <a:gd name="connsiteX255" fmla="*/ 132853 w 761692"/>
                    <a:gd name="connsiteY255" fmla="*/ 269250 h 1016771"/>
                    <a:gd name="connsiteX256" fmla="*/ 138167 w 761692"/>
                    <a:gd name="connsiteY256" fmla="*/ 265707 h 1016771"/>
                    <a:gd name="connsiteX257" fmla="*/ 150567 w 761692"/>
                    <a:gd name="connsiteY257" fmla="*/ 255079 h 1016771"/>
                    <a:gd name="connsiteX258" fmla="*/ 166509 w 761692"/>
                    <a:gd name="connsiteY258" fmla="*/ 255079 h 1016771"/>
                    <a:gd name="connsiteX259" fmla="*/ 166509 w 761692"/>
                    <a:gd name="connsiteY259" fmla="*/ 265707 h 1016771"/>
                    <a:gd name="connsiteX260" fmla="*/ 177138 w 761692"/>
                    <a:gd name="connsiteY260" fmla="*/ 272792 h 1016771"/>
                    <a:gd name="connsiteX261" fmla="*/ 194851 w 761692"/>
                    <a:gd name="connsiteY261" fmla="*/ 276335 h 1016771"/>
                    <a:gd name="connsiteX262" fmla="*/ 209022 w 761692"/>
                    <a:gd name="connsiteY262" fmla="*/ 279878 h 1016771"/>
                    <a:gd name="connsiteX263" fmla="*/ 221422 w 761692"/>
                    <a:gd name="connsiteY263" fmla="*/ 276335 h 1016771"/>
                    <a:gd name="connsiteX264" fmla="*/ 226736 w 761692"/>
                    <a:gd name="connsiteY264" fmla="*/ 269250 h 1016771"/>
                    <a:gd name="connsiteX265" fmla="*/ 226736 w 761692"/>
                    <a:gd name="connsiteY265" fmla="*/ 251536 h 1016771"/>
                    <a:gd name="connsiteX266" fmla="*/ 224965 w 761692"/>
                    <a:gd name="connsiteY266" fmla="*/ 239136 h 1016771"/>
                    <a:gd name="connsiteX267" fmla="*/ 214337 w 761692"/>
                    <a:gd name="connsiteY267" fmla="*/ 230279 h 1016771"/>
                    <a:gd name="connsiteX268" fmla="*/ 210794 w 761692"/>
                    <a:gd name="connsiteY268" fmla="*/ 217880 h 1016771"/>
                    <a:gd name="connsiteX269" fmla="*/ 221422 w 761692"/>
                    <a:gd name="connsiteY269" fmla="*/ 207251 h 1016771"/>
                    <a:gd name="connsiteX270" fmla="*/ 235593 w 761692"/>
                    <a:gd name="connsiteY270" fmla="*/ 214337 h 1016771"/>
                    <a:gd name="connsiteX271" fmla="*/ 246221 w 761692"/>
                    <a:gd name="connsiteY271" fmla="*/ 219651 h 1016771"/>
                    <a:gd name="connsiteX272" fmla="*/ 253307 w 761692"/>
                    <a:gd name="connsiteY272" fmla="*/ 221422 h 1016771"/>
                    <a:gd name="connsiteX273" fmla="*/ 262164 w 761692"/>
                    <a:gd name="connsiteY273" fmla="*/ 210794 h 1016771"/>
                    <a:gd name="connsiteX274" fmla="*/ 263935 w 761692"/>
                    <a:gd name="connsiteY274" fmla="*/ 201937 h 1016771"/>
                    <a:gd name="connsiteX275" fmla="*/ 274563 w 761692"/>
                    <a:gd name="connsiteY275" fmla="*/ 189538 h 1016771"/>
                    <a:gd name="connsiteX276" fmla="*/ 283420 w 761692"/>
                    <a:gd name="connsiteY276" fmla="*/ 178909 h 1016771"/>
                    <a:gd name="connsiteX277" fmla="*/ 286963 w 761692"/>
                    <a:gd name="connsiteY277" fmla="*/ 173595 h 1016771"/>
                    <a:gd name="connsiteX278" fmla="*/ 311762 w 761692"/>
                    <a:gd name="connsiteY278" fmla="*/ 168281 h 1016771"/>
                    <a:gd name="connsiteX279" fmla="*/ 325933 w 761692"/>
                    <a:gd name="connsiteY279" fmla="*/ 164738 h 1016771"/>
                    <a:gd name="connsiteX280" fmla="*/ 336562 w 761692"/>
                    <a:gd name="connsiteY280" fmla="*/ 159424 h 1016771"/>
                    <a:gd name="connsiteX281" fmla="*/ 348961 w 761692"/>
                    <a:gd name="connsiteY281" fmla="*/ 145253 h 1016771"/>
                    <a:gd name="connsiteX282" fmla="*/ 359589 w 761692"/>
                    <a:gd name="connsiteY282" fmla="*/ 143482 h 1016771"/>
                    <a:gd name="connsiteX283" fmla="*/ 371989 w 761692"/>
                    <a:gd name="connsiteY283" fmla="*/ 143482 h 1016771"/>
                    <a:gd name="connsiteX284" fmla="*/ 391474 w 761692"/>
                    <a:gd name="connsiteY284" fmla="*/ 143482 h 1016771"/>
                    <a:gd name="connsiteX285" fmla="*/ 396788 w 761692"/>
                    <a:gd name="connsiteY285" fmla="*/ 141710 h 1016771"/>
                    <a:gd name="connsiteX286" fmla="*/ 403874 w 761692"/>
                    <a:gd name="connsiteY286" fmla="*/ 134625 h 1016771"/>
                    <a:gd name="connsiteX287" fmla="*/ 409188 w 761692"/>
                    <a:gd name="connsiteY287" fmla="*/ 129311 h 1016771"/>
                    <a:gd name="connsiteX288" fmla="*/ 409188 w 761692"/>
                    <a:gd name="connsiteY288" fmla="*/ 123997 h 1016771"/>
                    <a:gd name="connsiteX289" fmla="*/ 414502 w 761692"/>
                    <a:gd name="connsiteY289" fmla="*/ 115140 h 1016771"/>
                    <a:gd name="connsiteX290" fmla="*/ 428673 w 761692"/>
                    <a:gd name="connsiteY290" fmla="*/ 115140 h 1016771"/>
                    <a:gd name="connsiteX291" fmla="*/ 432216 w 761692"/>
                    <a:gd name="connsiteY291" fmla="*/ 109826 h 1016771"/>
                    <a:gd name="connsiteX292" fmla="*/ 437530 w 761692"/>
                    <a:gd name="connsiteY292" fmla="*/ 100969 h 1016771"/>
                    <a:gd name="connsiteX293" fmla="*/ 448158 w 761692"/>
                    <a:gd name="connsiteY293" fmla="*/ 99197 h 1016771"/>
                    <a:gd name="connsiteX294" fmla="*/ 460558 w 761692"/>
                    <a:gd name="connsiteY294" fmla="*/ 97426 h 1016771"/>
                    <a:gd name="connsiteX295" fmla="*/ 472958 w 761692"/>
                    <a:gd name="connsiteY295" fmla="*/ 93883 h 1016771"/>
                    <a:gd name="connsiteX296" fmla="*/ 492443 w 761692"/>
                    <a:gd name="connsiteY296" fmla="*/ 93883 h 1016771"/>
                    <a:gd name="connsiteX297" fmla="*/ 501300 w 761692"/>
                    <a:gd name="connsiteY297" fmla="*/ 83255 h 1016771"/>
                    <a:gd name="connsiteX298" fmla="*/ 517242 w 761692"/>
                    <a:gd name="connsiteY298" fmla="*/ 81484 h 1016771"/>
                    <a:gd name="connsiteX299" fmla="*/ 522556 w 761692"/>
                    <a:gd name="connsiteY299" fmla="*/ 81484 h 1016771"/>
                    <a:gd name="connsiteX300" fmla="*/ 522556 w 761692"/>
                    <a:gd name="connsiteY300" fmla="*/ 60227 h 1016771"/>
                    <a:gd name="connsiteX301" fmla="*/ 526099 w 761692"/>
                    <a:gd name="connsiteY301" fmla="*/ 54913 h 1016771"/>
                    <a:gd name="connsiteX302" fmla="*/ 529642 w 761692"/>
                    <a:gd name="connsiteY302" fmla="*/ 46056 h 1016771"/>
                    <a:gd name="connsiteX303" fmla="*/ 538499 w 761692"/>
                    <a:gd name="connsiteY303" fmla="*/ 40742 h 1016771"/>
                    <a:gd name="connsiteX304" fmla="*/ 540270 w 761692"/>
                    <a:gd name="connsiteY304" fmla="*/ 30114 h 1016771"/>
                    <a:gd name="connsiteX305" fmla="*/ 536727 w 761692"/>
                    <a:gd name="connsiteY305" fmla="*/ 19485 h 1016771"/>
                    <a:gd name="connsiteX306" fmla="*/ 543813 w 761692"/>
                    <a:gd name="connsiteY306" fmla="*/ 5314 h 1016771"/>
                    <a:gd name="connsiteX307" fmla="*/ 554441 w 761692"/>
                    <a:gd name="connsiteY307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8167 w 761692"/>
                    <a:gd name="connsiteY9" fmla="*/ 852033 h 1016771"/>
                    <a:gd name="connsiteX10" fmla="*/ 139939 w 761692"/>
                    <a:gd name="connsiteY10" fmla="*/ 850262 h 1016771"/>
                    <a:gd name="connsiteX11" fmla="*/ 139939 w 761692"/>
                    <a:gd name="connsiteY11" fmla="*/ 848490 h 1016771"/>
                    <a:gd name="connsiteX12" fmla="*/ 145253 w 761692"/>
                    <a:gd name="connsiteY12" fmla="*/ 843176 h 1016771"/>
                    <a:gd name="connsiteX13" fmla="*/ 147024 w 761692"/>
                    <a:gd name="connsiteY13" fmla="*/ 841405 h 1016771"/>
                    <a:gd name="connsiteX14" fmla="*/ 148796 w 761692"/>
                    <a:gd name="connsiteY14" fmla="*/ 839633 h 1016771"/>
                    <a:gd name="connsiteX15" fmla="*/ 150567 w 761692"/>
                    <a:gd name="connsiteY15" fmla="*/ 837862 h 1016771"/>
                    <a:gd name="connsiteX16" fmla="*/ 159250 w 761692"/>
                    <a:gd name="connsiteY16" fmla="*/ 829179 h 1016771"/>
                    <a:gd name="connsiteX17" fmla="*/ 116476 w 761692"/>
                    <a:gd name="connsiteY17" fmla="*/ 741349 h 1016771"/>
                    <a:gd name="connsiteX18" fmla="*/ 117606 w 761692"/>
                    <a:gd name="connsiteY18" fmla="*/ 742253 h 1016771"/>
                    <a:gd name="connsiteX19" fmla="*/ 122692 w 761692"/>
                    <a:gd name="connsiteY19" fmla="*/ 759206 h 1016771"/>
                    <a:gd name="connsiteX20" fmla="*/ 126082 w 761692"/>
                    <a:gd name="connsiteY20" fmla="*/ 771073 h 1016771"/>
                    <a:gd name="connsiteX21" fmla="*/ 129473 w 761692"/>
                    <a:gd name="connsiteY21" fmla="*/ 782940 h 1016771"/>
                    <a:gd name="connsiteX22" fmla="*/ 132864 w 761692"/>
                    <a:gd name="connsiteY22" fmla="*/ 793112 h 1016771"/>
                    <a:gd name="connsiteX23" fmla="*/ 136254 w 761692"/>
                    <a:gd name="connsiteY23" fmla="*/ 810066 h 1016771"/>
                    <a:gd name="connsiteX24" fmla="*/ 139058 w 761692"/>
                    <a:gd name="connsiteY24" fmla="*/ 818476 h 1016771"/>
                    <a:gd name="connsiteX25" fmla="*/ 138167 w 761692"/>
                    <a:gd name="connsiteY25" fmla="*/ 818377 h 1016771"/>
                    <a:gd name="connsiteX26" fmla="*/ 134625 w 761692"/>
                    <a:gd name="connsiteY26" fmla="*/ 807749 h 1016771"/>
                    <a:gd name="connsiteX27" fmla="*/ 131082 w 761692"/>
                    <a:gd name="connsiteY27" fmla="*/ 790035 h 1016771"/>
                    <a:gd name="connsiteX28" fmla="*/ 127539 w 761692"/>
                    <a:gd name="connsiteY28" fmla="*/ 779407 h 1016771"/>
                    <a:gd name="connsiteX29" fmla="*/ 123996 w 761692"/>
                    <a:gd name="connsiteY29" fmla="*/ 767007 h 1016771"/>
                    <a:gd name="connsiteX30" fmla="*/ 120454 w 761692"/>
                    <a:gd name="connsiteY30" fmla="*/ 754607 h 1016771"/>
                    <a:gd name="connsiteX31" fmla="*/ 116476 w 761692"/>
                    <a:gd name="connsiteY31" fmla="*/ 741349 h 1016771"/>
                    <a:gd name="connsiteX32" fmla="*/ 554441 w 761692"/>
                    <a:gd name="connsiteY32" fmla="*/ 0 h 1016771"/>
                    <a:gd name="connsiteX33" fmla="*/ 570383 w 761692"/>
                    <a:gd name="connsiteY33" fmla="*/ 3543 h 1016771"/>
                    <a:gd name="connsiteX34" fmla="*/ 577469 w 761692"/>
                    <a:gd name="connsiteY34" fmla="*/ 8857 h 1016771"/>
                    <a:gd name="connsiteX35" fmla="*/ 582783 w 761692"/>
                    <a:gd name="connsiteY35" fmla="*/ 17714 h 1016771"/>
                    <a:gd name="connsiteX36" fmla="*/ 582783 w 761692"/>
                    <a:gd name="connsiteY36" fmla="*/ 24799 h 1016771"/>
                    <a:gd name="connsiteX37" fmla="*/ 588097 w 761692"/>
                    <a:gd name="connsiteY37" fmla="*/ 33656 h 1016771"/>
                    <a:gd name="connsiteX38" fmla="*/ 598725 w 761692"/>
                    <a:gd name="connsiteY38" fmla="*/ 31885 h 1016771"/>
                    <a:gd name="connsiteX39" fmla="*/ 612896 w 761692"/>
                    <a:gd name="connsiteY39" fmla="*/ 37199 h 1016771"/>
                    <a:gd name="connsiteX40" fmla="*/ 618211 w 761692"/>
                    <a:gd name="connsiteY40" fmla="*/ 46056 h 1016771"/>
                    <a:gd name="connsiteX41" fmla="*/ 619982 w 761692"/>
                    <a:gd name="connsiteY41" fmla="*/ 54913 h 1016771"/>
                    <a:gd name="connsiteX42" fmla="*/ 618211 w 761692"/>
                    <a:gd name="connsiteY42" fmla="*/ 74398 h 1016771"/>
                    <a:gd name="connsiteX43" fmla="*/ 616439 w 761692"/>
                    <a:gd name="connsiteY43" fmla="*/ 85026 h 1016771"/>
                    <a:gd name="connsiteX44" fmla="*/ 621753 w 761692"/>
                    <a:gd name="connsiteY44" fmla="*/ 97426 h 1016771"/>
                    <a:gd name="connsiteX45" fmla="*/ 637696 w 761692"/>
                    <a:gd name="connsiteY45" fmla="*/ 113368 h 1016771"/>
                    <a:gd name="connsiteX46" fmla="*/ 644781 w 761692"/>
                    <a:gd name="connsiteY46" fmla="*/ 120454 h 1016771"/>
                    <a:gd name="connsiteX47" fmla="*/ 650095 w 761692"/>
                    <a:gd name="connsiteY47" fmla="*/ 136396 h 1016771"/>
                    <a:gd name="connsiteX48" fmla="*/ 655409 w 761692"/>
                    <a:gd name="connsiteY48" fmla="*/ 155881 h 1016771"/>
                    <a:gd name="connsiteX49" fmla="*/ 662495 w 761692"/>
                    <a:gd name="connsiteY49" fmla="*/ 171824 h 1016771"/>
                    <a:gd name="connsiteX50" fmla="*/ 660724 w 761692"/>
                    <a:gd name="connsiteY50" fmla="*/ 185995 h 1016771"/>
                    <a:gd name="connsiteX51" fmla="*/ 635924 w 761692"/>
                    <a:gd name="connsiteY51" fmla="*/ 194852 h 1016771"/>
                    <a:gd name="connsiteX52" fmla="*/ 619982 w 761692"/>
                    <a:gd name="connsiteY52" fmla="*/ 207251 h 1016771"/>
                    <a:gd name="connsiteX53" fmla="*/ 614668 w 761692"/>
                    <a:gd name="connsiteY53" fmla="*/ 223194 h 1016771"/>
                    <a:gd name="connsiteX54" fmla="*/ 618211 w 761692"/>
                    <a:gd name="connsiteY54" fmla="*/ 242679 h 1016771"/>
                    <a:gd name="connsiteX55" fmla="*/ 612896 w 761692"/>
                    <a:gd name="connsiteY55" fmla="*/ 256850 h 1016771"/>
                    <a:gd name="connsiteX56" fmla="*/ 625296 w 761692"/>
                    <a:gd name="connsiteY56" fmla="*/ 267478 h 1016771"/>
                    <a:gd name="connsiteX57" fmla="*/ 641238 w 761692"/>
                    <a:gd name="connsiteY57" fmla="*/ 269250 h 1016771"/>
                    <a:gd name="connsiteX58" fmla="*/ 658952 w 761692"/>
                    <a:gd name="connsiteY58" fmla="*/ 286963 h 1016771"/>
                    <a:gd name="connsiteX59" fmla="*/ 653638 w 761692"/>
                    <a:gd name="connsiteY59" fmla="*/ 309991 h 1016771"/>
                    <a:gd name="connsiteX60" fmla="*/ 653638 w 761692"/>
                    <a:gd name="connsiteY60" fmla="*/ 329476 h 1016771"/>
                    <a:gd name="connsiteX61" fmla="*/ 643010 w 761692"/>
                    <a:gd name="connsiteY61" fmla="*/ 338333 h 1016771"/>
                    <a:gd name="connsiteX62" fmla="*/ 632382 w 761692"/>
                    <a:gd name="connsiteY62" fmla="*/ 338333 h 1016771"/>
                    <a:gd name="connsiteX63" fmla="*/ 618211 w 761692"/>
                    <a:gd name="connsiteY63" fmla="*/ 357819 h 1016771"/>
                    <a:gd name="connsiteX64" fmla="*/ 609354 w 761692"/>
                    <a:gd name="connsiteY64" fmla="*/ 361361 h 1016771"/>
                    <a:gd name="connsiteX65" fmla="*/ 596954 w 761692"/>
                    <a:gd name="connsiteY65" fmla="*/ 363133 h 1016771"/>
                    <a:gd name="connsiteX66" fmla="*/ 581012 w 761692"/>
                    <a:gd name="connsiteY66" fmla="*/ 379075 h 1016771"/>
                    <a:gd name="connsiteX67" fmla="*/ 589868 w 761692"/>
                    <a:gd name="connsiteY67" fmla="*/ 393246 h 1016771"/>
                    <a:gd name="connsiteX68" fmla="*/ 586326 w 761692"/>
                    <a:gd name="connsiteY68" fmla="*/ 409189 h 1016771"/>
                    <a:gd name="connsiteX69" fmla="*/ 570383 w 761692"/>
                    <a:gd name="connsiteY69" fmla="*/ 398560 h 1016771"/>
                    <a:gd name="connsiteX70" fmla="*/ 550898 w 761692"/>
                    <a:gd name="connsiteY70" fmla="*/ 405646 h 1016771"/>
                    <a:gd name="connsiteX71" fmla="*/ 531413 w 761692"/>
                    <a:gd name="connsiteY71" fmla="*/ 425131 h 1016771"/>
                    <a:gd name="connsiteX72" fmla="*/ 543813 w 761692"/>
                    <a:gd name="connsiteY72" fmla="*/ 444616 h 1016771"/>
                    <a:gd name="connsiteX73" fmla="*/ 557984 w 761692"/>
                    <a:gd name="connsiteY73" fmla="*/ 462330 h 1016771"/>
                    <a:gd name="connsiteX74" fmla="*/ 570383 w 761692"/>
                    <a:gd name="connsiteY74" fmla="*/ 478272 h 1016771"/>
                    <a:gd name="connsiteX75" fmla="*/ 579240 w 761692"/>
                    <a:gd name="connsiteY75" fmla="*/ 485358 h 1016771"/>
                    <a:gd name="connsiteX76" fmla="*/ 602268 w 761692"/>
                    <a:gd name="connsiteY76" fmla="*/ 483586 h 1016771"/>
                    <a:gd name="connsiteX77" fmla="*/ 623525 w 761692"/>
                    <a:gd name="connsiteY77" fmla="*/ 474730 h 1016771"/>
                    <a:gd name="connsiteX78" fmla="*/ 639467 w 761692"/>
                    <a:gd name="connsiteY78" fmla="*/ 464101 h 1016771"/>
                    <a:gd name="connsiteX79" fmla="*/ 662495 w 761692"/>
                    <a:gd name="connsiteY79" fmla="*/ 464101 h 1016771"/>
                    <a:gd name="connsiteX80" fmla="*/ 673123 w 761692"/>
                    <a:gd name="connsiteY80" fmla="*/ 464101 h 1016771"/>
                    <a:gd name="connsiteX81" fmla="*/ 681980 w 761692"/>
                    <a:gd name="connsiteY81" fmla="*/ 467644 h 1016771"/>
                    <a:gd name="connsiteX82" fmla="*/ 703237 w 761692"/>
                    <a:gd name="connsiteY82" fmla="*/ 471187 h 1016771"/>
                    <a:gd name="connsiteX83" fmla="*/ 708551 w 761692"/>
                    <a:gd name="connsiteY83" fmla="*/ 474730 h 1016771"/>
                    <a:gd name="connsiteX84" fmla="*/ 722722 w 761692"/>
                    <a:gd name="connsiteY84" fmla="*/ 501300 h 1016771"/>
                    <a:gd name="connsiteX85" fmla="*/ 724493 w 761692"/>
                    <a:gd name="connsiteY85" fmla="*/ 522557 h 1016771"/>
                    <a:gd name="connsiteX86" fmla="*/ 722722 w 761692"/>
                    <a:gd name="connsiteY86" fmla="*/ 540271 h 1016771"/>
                    <a:gd name="connsiteX87" fmla="*/ 735121 w 761692"/>
                    <a:gd name="connsiteY87" fmla="*/ 552670 h 1016771"/>
                    <a:gd name="connsiteX88" fmla="*/ 735121 w 761692"/>
                    <a:gd name="connsiteY88" fmla="*/ 570384 h 1016771"/>
                    <a:gd name="connsiteX89" fmla="*/ 751064 w 761692"/>
                    <a:gd name="connsiteY89" fmla="*/ 581012 h 1016771"/>
                    <a:gd name="connsiteX90" fmla="*/ 761692 w 761692"/>
                    <a:gd name="connsiteY90" fmla="*/ 604040 h 1016771"/>
                    <a:gd name="connsiteX91" fmla="*/ 747521 w 761692"/>
                    <a:gd name="connsiteY91" fmla="*/ 616440 h 1016771"/>
                    <a:gd name="connsiteX92" fmla="*/ 728036 w 761692"/>
                    <a:gd name="connsiteY92" fmla="*/ 627068 h 1016771"/>
                    <a:gd name="connsiteX93" fmla="*/ 726264 w 761692"/>
                    <a:gd name="connsiteY93" fmla="*/ 650096 h 1016771"/>
                    <a:gd name="connsiteX94" fmla="*/ 728036 w 761692"/>
                    <a:gd name="connsiteY94" fmla="*/ 673124 h 1016771"/>
                    <a:gd name="connsiteX95" fmla="*/ 742207 w 761692"/>
                    <a:gd name="connsiteY95" fmla="*/ 689066 h 1016771"/>
                    <a:gd name="connsiteX96" fmla="*/ 742207 w 761692"/>
                    <a:gd name="connsiteY96" fmla="*/ 712094 h 1016771"/>
                    <a:gd name="connsiteX97" fmla="*/ 740435 w 761692"/>
                    <a:gd name="connsiteY97" fmla="*/ 735122 h 1016771"/>
                    <a:gd name="connsiteX98" fmla="*/ 742207 w 761692"/>
                    <a:gd name="connsiteY98" fmla="*/ 751065 h 1016771"/>
                    <a:gd name="connsiteX99" fmla="*/ 747521 w 761692"/>
                    <a:gd name="connsiteY99" fmla="*/ 768778 h 1016771"/>
                    <a:gd name="connsiteX100" fmla="*/ 759921 w 761692"/>
                    <a:gd name="connsiteY100" fmla="*/ 777635 h 1016771"/>
                    <a:gd name="connsiteX101" fmla="*/ 758149 w 761692"/>
                    <a:gd name="connsiteY101" fmla="*/ 802434 h 1016771"/>
                    <a:gd name="connsiteX102" fmla="*/ 752835 w 761692"/>
                    <a:gd name="connsiteY102" fmla="*/ 814834 h 1016771"/>
                    <a:gd name="connsiteX103" fmla="*/ 743978 w 761692"/>
                    <a:gd name="connsiteY103" fmla="*/ 827234 h 1016771"/>
                    <a:gd name="connsiteX104" fmla="*/ 743978 w 761692"/>
                    <a:gd name="connsiteY104" fmla="*/ 837862 h 1016771"/>
                    <a:gd name="connsiteX105" fmla="*/ 747521 w 761692"/>
                    <a:gd name="connsiteY105" fmla="*/ 853804 h 1016771"/>
                    <a:gd name="connsiteX106" fmla="*/ 733350 w 761692"/>
                    <a:gd name="connsiteY106" fmla="*/ 867975 h 1016771"/>
                    <a:gd name="connsiteX107" fmla="*/ 724493 w 761692"/>
                    <a:gd name="connsiteY107" fmla="*/ 880375 h 1016771"/>
                    <a:gd name="connsiteX108" fmla="*/ 722722 w 761692"/>
                    <a:gd name="connsiteY108" fmla="*/ 899860 h 1016771"/>
                    <a:gd name="connsiteX109" fmla="*/ 722722 w 761692"/>
                    <a:gd name="connsiteY109" fmla="*/ 919345 h 1016771"/>
                    <a:gd name="connsiteX110" fmla="*/ 715636 w 761692"/>
                    <a:gd name="connsiteY110" fmla="*/ 940602 h 1016771"/>
                    <a:gd name="connsiteX111" fmla="*/ 708551 w 761692"/>
                    <a:gd name="connsiteY111" fmla="*/ 954773 h 1016771"/>
                    <a:gd name="connsiteX112" fmla="*/ 699694 w 761692"/>
                    <a:gd name="connsiteY112" fmla="*/ 965401 h 1016771"/>
                    <a:gd name="connsiteX113" fmla="*/ 692608 w 761692"/>
                    <a:gd name="connsiteY113" fmla="*/ 984886 h 1016771"/>
                    <a:gd name="connsiteX114" fmla="*/ 683751 w 761692"/>
                    <a:gd name="connsiteY114" fmla="*/ 997286 h 1016771"/>
                    <a:gd name="connsiteX115" fmla="*/ 673123 w 761692"/>
                    <a:gd name="connsiteY115" fmla="*/ 1002600 h 1016771"/>
                    <a:gd name="connsiteX116" fmla="*/ 662495 w 761692"/>
                    <a:gd name="connsiteY116" fmla="*/ 1013228 h 1016771"/>
                    <a:gd name="connsiteX117" fmla="*/ 644781 w 761692"/>
                    <a:gd name="connsiteY117" fmla="*/ 1016771 h 1016771"/>
                    <a:gd name="connsiteX118" fmla="*/ 635924 w 761692"/>
                    <a:gd name="connsiteY118" fmla="*/ 1004372 h 1016771"/>
                    <a:gd name="connsiteX119" fmla="*/ 623525 w 761692"/>
                    <a:gd name="connsiteY119" fmla="*/ 997286 h 1016771"/>
                    <a:gd name="connsiteX120" fmla="*/ 614668 w 761692"/>
                    <a:gd name="connsiteY120" fmla="*/ 986658 h 1016771"/>
                    <a:gd name="connsiteX121" fmla="*/ 593411 w 761692"/>
                    <a:gd name="connsiteY121" fmla="*/ 970715 h 1016771"/>
                    <a:gd name="connsiteX122" fmla="*/ 582783 w 761692"/>
                    <a:gd name="connsiteY122" fmla="*/ 965401 h 1016771"/>
                    <a:gd name="connsiteX123" fmla="*/ 531413 w 761692"/>
                    <a:gd name="connsiteY123" fmla="*/ 965401 h 1016771"/>
                    <a:gd name="connsiteX124" fmla="*/ 511928 w 761692"/>
                    <a:gd name="connsiteY124" fmla="*/ 965401 h 1016771"/>
                    <a:gd name="connsiteX125" fmla="*/ 492443 w 761692"/>
                    <a:gd name="connsiteY125" fmla="*/ 963630 h 1016771"/>
                    <a:gd name="connsiteX126" fmla="*/ 483586 w 761692"/>
                    <a:gd name="connsiteY126" fmla="*/ 958316 h 1016771"/>
                    <a:gd name="connsiteX127" fmla="*/ 469415 w 761692"/>
                    <a:gd name="connsiteY127" fmla="*/ 954773 h 1016771"/>
                    <a:gd name="connsiteX128" fmla="*/ 460558 w 761692"/>
                    <a:gd name="connsiteY128" fmla="*/ 942373 h 1016771"/>
                    <a:gd name="connsiteX129" fmla="*/ 446387 w 761692"/>
                    <a:gd name="connsiteY129" fmla="*/ 935288 h 1016771"/>
                    <a:gd name="connsiteX130" fmla="*/ 428673 w 761692"/>
                    <a:gd name="connsiteY130" fmla="*/ 928202 h 1016771"/>
                    <a:gd name="connsiteX131" fmla="*/ 418045 w 761692"/>
                    <a:gd name="connsiteY131" fmla="*/ 917574 h 1016771"/>
                    <a:gd name="connsiteX132" fmla="*/ 421588 w 761692"/>
                    <a:gd name="connsiteY132" fmla="*/ 903403 h 1016771"/>
                    <a:gd name="connsiteX133" fmla="*/ 418045 w 761692"/>
                    <a:gd name="connsiteY133" fmla="*/ 898089 h 1016771"/>
                    <a:gd name="connsiteX134" fmla="*/ 396788 w 761692"/>
                    <a:gd name="connsiteY134" fmla="*/ 898089 h 1016771"/>
                    <a:gd name="connsiteX135" fmla="*/ 382617 w 761692"/>
                    <a:gd name="connsiteY135" fmla="*/ 896318 h 1016771"/>
                    <a:gd name="connsiteX136" fmla="*/ 380846 w 761692"/>
                    <a:gd name="connsiteY136" fmla="*/ 906946 h 1016771"/>
                    <a:gd name="connsiteX137" fmla="*/ 373601 w 761692"/>
                    <a:gd name="connsiteY137" fmla="*/ 894832 h 1016771"/>
                    <a:gd name="connsiteX138" fmla="*/ 387164 w 761692"/>
                    <a:gd name="connsiteY138" fmla="*/ 896527 h 1016771"/>
                    <a:gd name="connsiteX139" fmla="*/ 383773 w 761692"/>
                    <a:gd name="connsiteY139" fmla="*/ 886355 h 1016771"/>
                    <a:gd name="connsiteX140" fmla="*/ 387164 w 761692"/>
                    <a:gd name="connsiteY140" fmla="*/ 876183 h 1016771"/>
                    <a:gd name="connsiteX141" fmla="*/ 388859 w 761692"/>
                    <a:gd name="connsiteY141" fmla="*/ 867707 h 1016771"/>
                    <a:gd name="connsiteX142" fmla="*/ 380382 w 761692"/>
                    <a:gd name="connsiteY142" fmla="*/ 859230 h 1016771"/>
                    <a:gd name="connsiteX143" fmla="*/ 373601 w 761692"/>
                    <a:gd name="connsiteY143" fmla="*/ 849058 h 1016771"/>
                    <a:gd name="connsiteX144" fmla="*/ 380382 w 761692"/>
                    <a:gd name="connsiteY144" fmla="*/ 838886 h 1016771"/>
                    <a:gd name="connsiteX145" fmla="*/ 383773 w 761692"/>
                    <a:gd name="connsiteY145" fmla="*/ 833800 h 1016771"/>
                    <a:gd name="connsiteX146" fmla="*/ 388859 w 761692"/>
                    <a:gd name="connsiteY146" fmla="*/ 825324 h 1016771"/>
                    <a:gd name="connsiteX147" fmla="*/ 387164 w 761692"/>
                    <a:gd name="connsiteY147" fmla="*/ 810066 h 1016771"/>
                    <a:gd name="connsiteX148" fmla="*/ 387164 w 761692"/>
                    <a:gd name="connsiteY148" fmla="*/ 796503 h 1016771"/>
                    <a:gd name="connsiteX149" fmla="*/ 378687 w 761692"/>
                    <a:gd name="connsiteY149" fmla="*/ 789722 h 1016771"/>
                    <a:gd name="connsiteX150" fmla="*/ 366820 w 761692"/>
                    <a:gd name="connsiteY150" fmla="*/ 782940 h 1016771"/>
                    <a:gd name="connsiteX151" fmla="*/ 356648 w 761692"/>
                    <a:gd name="connsiteY151" fmla="*/ 781245 h 1016771"/>
                    <a:gd name="connsiteX152" fmla="*/ 349866 w 761692"/>
                    <a:gd name="connsiteY152" fmla="*/ 771073 h 1016771"/>
                    <a:gd name="connsiteX153" fmla="*/ 349866 w 761692"/>
                    <a:gd name="connsiteY153" fmla="*/ 752425 h 1016771"/>
                    <a:gd name="connsiteX154" fmla="*/ 353257 w 761692"/>
                    <a:gd name="connsiteY154" fmla="*/ 743948 h 1016771"/>
                    <a:gd name="connsiteX155" fmla="*/ 354952 w 761692"/>
                    <a:gd name="connsiteY155" fmla="*/ 730385 h 1016771"/>
                    <a:gd name="connsiteX156" fmla="*/ 353257 w 761692"/>
                    <a:gd name="connsiteY156" fmla="*/ 713432 h 1016771"/>
                    <a:gd name="connsiteX157" fmla="*/ 346476 w 761692"/>
                    <a:gd name="connsiteY157" fmla="*/ 701565 h 1016771"/>
                    <a:gd name="connsiteX158" fmla="*/ 332913 w 761692"/>
                    <a:gd name="connsiteY158" fmla="*/ 689697 h 1016771"/>
                    <a:gd name="connsiteX159" fmla="*/ 324436 w 761692"/>
                    <a:gd name="connsiteY159" fmla="*/ 681221 h 1016771"/>
                    <a:gd name="connsiteX160" fmla="*/ 314264 w 761692"/>
                    <a:gd name="connsiteY160" fmla="*/ 676135 h 1016771"/>
                    <a:gd name="connsiteX161" fmla="*/ 293920 w 761692"/>
                    <a:gd name="connsiteY161" fmla="*/ 669354 h 1016771"/>
                    <a:gd name="connsiteX162" fmla="*/ 282053 w 761692"/>
                    <a:gd name="connsiteY162" fmla="*/ 667658 h 1016771"/>
                    <a:gd name="connsiteX163" fmla="*/ 266795 w 761692"/>
                    <a:gd name="connsiteY163" fmla="*/ 672744 h 1016771"/>
                    <a:gd name="connsiteX164" fmla="*/ 265100 w 761692"/>
                    <a:gd name="connsiteY164" fmla="*/ 672744 h 1016771"/>
                    <a:gd name="connsiteX165" fmla="*/ 263404 w 761692"/>
                    <a:gd name="connsiteY165" fmla="*/ 671049 h 1016771"/>
                    <a:gd name="connsiteX166" fmla="*/ 260014 w 761692"/>
                    <a:gd name="connsiteY166" fmla="*/ 671049 h 1016771"/>
                    <a:gd name="connsiteX167" fmla="*/ 258318 w 761692"/>
                    <a:gd name="connsiteY167" fmla="*/ 671049 h 1016771"/>
                    <a:gd name="connsiteX168" fmla="*/ 253232 w 761692"/>
                    <a:gd name="connsiteY168" fmla="*/ 671049 h 1016771"/>
                    <a:gd name="connsiteX169" fmla="*/ 248146 w 761692"/>
                    <a:gd name="connsiteY169" fmla="*/ 672744 h 1016771"/>
                    <a:gd name="connsiteX170" fmla="*/ 248146 w 761692"/>
                    <a:gd name="connsiteY170" fmla="*/ 674440 h 1016771"/>
                    <a:gd name="connsiteX171" fmla="*/ 246451 w 761692"/>
                    <a:gd name="connsiteY171" fmla="*/ 674440 h 1016771"/>
                    <a:gd name="connsiteX172" fmla="*/ 236279 w 761692"/>
                    <a:gd name="connsiteY172" fmla="*/ 679526 h 1016771"/>
                    <a:gd name="connsiteX173" fmla="*/ 226107 w 761692"/>
                    <a:gd name="connsiteY173" fmla="*/ 684612 h 1016771"/>
                    <a:gd name="connsiteX174" fmla="*/ 217630 w 761692"/>
                    <a:gd name="connsiteY174" fmla="*/ 684612 h 1016771"/>
                    <a:gd name="connsiteX175" fmla="*/ 207458 w 761692"/>
                    <a:gd name="connsiteY175" fmla="*/ 693088 h 1016771"/>
                    <a:gd name="connsiteX176" fmla="*/ 198982 w 761692"/>
                    <a:gd name="connsiteY176" fmla="*/ 694783 h 1016771"/>
                    <a:gd name="connsiteX177" fmla="*/ 192200 w 761692"/>
                    <a:gd name="connsiteY177" fmla="*/ 699869 h 1016771"/>
                    <a:gd name="connsiteX178" fmla="*/ 178638 w 761692"/>
                    <a:gd name="connsiteY178" fmla="*/ 706651 h 1016771"/>
                    <a:gd name="connsiteX179" fmla="*/ 163380 w 761692"/>
                    <a:gd name="connsiteY179" fmla="*/ 710041 h 1016771"/>
                    <a:gd name="connsiteX180" fmla="*/ 141340 w 761692"/>
                    <a:gd name="connsiteY180" fmla="*/ 710041 h 1016771"/>
                    <a:gd name="connsiteX181" fmla="*/ 134559 w 761692"/>
                    <a:gd name="connsiteY181" fmla="*/ 716823 h 1016771"/>
                    <a:gd name="connsiteX182" fmla="*/ 127778 w 761692"/>
                    <a:gd name="connsiteY182" fmla="*/ 718518 h 1016771"/>
                    <a:gd name="connsiteX183" fmla="*/ 120996 w 761692"/>
                    <a:gd name="connsiteY183" fmla="*/ 725299 h 1016771"/>
                    <a:gd name="connsiteX184" fmla="*/ 111172 w 761692"/>
                    <a:gd name="connsiteY184" fmla="*/ 733720 h 1016771"/>
                    <a:gd name="connsiteX185" fmla="*/ 106283 w 761692"/>
                    <a:gd name="connsiteY185" fmla="*/ 729808 h 1016771"/>
                    <a:gd name="connsiteX186" fmla="*/ 92112 w 761692"/>
                    <a:gd name="connsiteY186" fmla="*/ 724494 h 1016771"/>
                    <a:gd name="connsiteX187" fmla="*/ 77941 w 761692"/>
                    <a:gd name="connsiteY187" fmla="*/ 726265 h 1016771"/>
                    <a:gd name="connsiteX188" fmla="*/ 70855 w 761692"/>
                    <a:gd name="connsiteY188" fmla="*/ 719180 h 1016771"/>
                    <a:gd name="connsiteX189" fmla="*/ 70855 w 761692"/>
                    <a:gd name="connsiteY189" fmla="*/ 699695 h 1016771"/>
                    <a:gd name="connsiteX190" fmla="*/ 81483 w 761692"/>
                    <a:gd name="connsiteY190" fmla="*/ 685524 h 1016771"/>
                    <a:gd name="connsiteX191" fmla="*/ 85026 w 761692"/>
                    <a:gd name="connsiteY191" fmla="*/ 673124 h 1016771"/>
                    <a:gd name="connsiteX192" fmla="*/ 86797 w 761692"/>
                    <a:gd name="connsiteY192" fmla="*/ 660724 h 1016771"/>
                    <a:gd name="connsiteX193" fmla="*/ 97426 w 761692"/>
                    <a:gd name="connsiteY193" fmla="*/ 650096 h 1016771"/>
                    <a:gd name="connsiteX194" fmla="*/ 102740 w 761692"/>
                    <a:gd name="connsiteY194" fmla="*/ 635925 h 1016771"/>
                    <a:gd name="connsiteX195" fmla="*/ 113368 w 761692"/>
                    <a:gd name="connsiteY195" fmla="*/ 625297 h 1016771"/>
                    <a:gd name="connsiteX196" fmla="*/ 115139 w 761692"/>
                    <a:gd name="connsiteY196" fmla="*/ 612897 h 1016771"/>
                    <a:gd name="connsiteX197" fmla="*/ 127539 w 761692"/>
                    <a:gd name="connsiteY197" fmla="*/ 609354 h 1016771"/>
                    <a:gd name="connsiteX198" fmla="*/ 136396 w 761692"/>
                    <a:gd name="connsiteY198" fmla="*/ 604040 h 1016771"/>
                    <a:gd name="connsiteX199" fmla="*/ 132853 w 761692"/>
                    <a:gd name="connsiteY199" fmla="*/ 593412 h 1016771"/>
                    <a:gd name="connsiteX200" fmla="*/ 134625 w 761692"/>
                    <a:gd name="connsiteY200" fmla="*/ 584555 h 1016771"/>
                    <a:gd name="connsiteX201" fmla="*/ 131082 w 761692"/>
                    <a:gd name="connsiteY201" fmla="*/ 575698 h 1016771"/>
                    <a:gd name="connsiteX202" fmla="*/ 120454 w 761692"/>
                    <a:gd name="connsiteY202" fmla="*/ 568613 h 1016771"/>
                    <a:gd name="connsiteX203" fmla="*/ 125768 w 761692"/>
                    <a:gd name="connsiteY203" fmla="*/ 552670 h 1016771"/>
                    <a:gd name="connsiteX204" fmla="*/ 118682 w 761692"/>
                    <a:gd name="connsiteY204" fmla="*/ 543813 h 1016771"/>
                    <a:gd name="connsiteX205" fmla="*/ 90340 w 761692"/>
                    <a:gd name="connsiteY205" fmla="*/ 543813 h 1016771"/>
                    <a:gd name="connsiteX206" fmla="*/ 86797 w 761692"/>
                    <a:gd name="connsiteY206" fmla="*/ 542042 h 1016771"/>
                    <a:gd name="connsiteX207" fmla="*/ 83255 w 761692"/>
                    <a:gd name="connsiteY207" fmla="*/ 542042 h 1016771"/>
                    <a:gd name="connsiteX208" fmla="*/ 81483 w 761692"/>
                    <a:gd name="connsiteY208" fmla="*/ 540271 h 1016771"/>
                    <a:gd name="connsiteX209" fmla="*/ 81483 w 761692"/>
                    <a:gd name="connsiteY209" fmla="*/ 536728 h 1016771"/>
                    <a:gd name="connsiteX210" fmla="*/ 79712 w 761692"/>
                    <a:gd name="connsiteY210" fmla="*/ 531414 h 1016771"/>
                    <a:gd name="connsiteX211" fmla="*/ 77941 w 761692"/>
                    <a:gd name="connsiteY211" fmla="*/ 529642 h 1016771"/>
                    <a:gd name="connsiteX212" fmla="*/ 70855 w 761692"/>
                    <a:gd name="connsiteY212" fmla="*/ 527871 h 1016771"/>
                    <a:gd name="connsiteX213" fmla="*/ 60227 w 761692"/>
                    <a:gd name="connsiteY213" fmla="*/ 536728 h 1016771"/>
                    <a:gd name="connsiteX214" fmla="*/ 47827 w 761692"/>
                    <a:gd name="connsiteY214" fmla="*/ 526100 h 1016771"/>
                    <a:gd name="connsiteX215" fmla="*/ 42513 w 761692"/>
                    <a:gd name="connsiteY215" fmla="*/ 515471 h 1016771"/>
                    <a:gd name="connsiteX216" fmla="*/ 33656 w 761692"/>
                    <a:gd name="connsiteY216" fmla="*/ 506614 h 1016771"/>
                    <a:gd name="connsiteX217" fmla="*/ 31885 w 761692"/>
                    <a:gd name="connsiteY217" fmla="*/ 490672 h 1016771"/>
                    <a:gd name="connsiteX218" fmla="*/ 26571 w 761692"/>
                    <a:gd name="connsiteY218" fmla="*/ 476501 h 1016771"/>
                    <a:gd name="connsiteX219" fmla="*/ 24799 w 761692"/>
                    <a:gd name="connsiteY219" fmla="*/ 471187 h 1016771"/>
                    <a:gd name="connsiteX220" fmla="*/ 12400 w 761692"/>
                    <a:gd name="connsiteY220" fmla="*/ 472958 h 1016771"/>
                    <a:gd name="connsiteX221" fmla="*/ 7086 w 761692"/>
                    <a:gd name="connsiteY221" fmla="*/ 464101 h 1016771"/>
                    <a:gd name="connsiteX222" fmla="*/ 8857 w 761692"/>
                    <a:gd name="connsiteY222" fmla="*/ 446388 h 1016771"/>
                    <a:gd name="connsiteX223" fmla="*/ 3543 w 761692"/>
                    <a:gd name="connsiteY223" fmla="*/ 435759 h 1016771"/>
                    <a:gd name="connsiteX224" fmla="*/ 5314 w 761692"/>
                    <a:gd name="connsiteY224" fmla="*/ 412731 h 1016771"/>
                    <a:gd name="connsiteX225" fmla="*/ 0 w 761692"/>
                    <a:gd name="connsiteY225" fmla="*/ 396789 h 1016771"/>
                    <a:gd name="connsiteX226" fmla="*/ 3543 w 761692"/>
                    <a:gd name="connsiteY226" fmla="*/ 384389 h 1016771"/>
                    <a:gd name="connsiteX227" fmla="*/ 14171 w 761692"/>
                    <a:gd name="connsiteY227" fmla="*/ 380846 h 1016771"/>
                    <a:gd name="connsiteX228" fmla="*/ 24799 w 761692"/>
                    <a:gd name="connsiteY228" fmla="*/ 364904 h 1016771"/>
                    <a:gd name="connsiteX229" fmla="*/ 30113 w 761692"/>
                    <a:gd name="connsiteY229" fmla="*/ 350733 h 1016771"/>
                    <a:gd name="connsiteX230" fmla="*/ 35428 w 761692"/>
                    <a:gd name="connsiteY230" fmla="*/ 341876 h 1016771"/>
                    <a:gd name="connsiteX231" fmla="*/ 42513 w 761692"/>
                    <a:gd name="connsiteY231" fmla="*/ 327705 h 1016771"/>
                    <a:gd name="connsiteX232" fmla="*/ 42513 w 761692"/>
                    <a:gd name="connsiteY232" fmla="*/ 315305 h 1016771"/>
                    <a:gd name="connsiteX233" fmla="*/ 56684 w 761692"/>
                    <a:gd name="connsiteY233" fmla="*/ 309991 h 1016771"/>
                    <a:gd name="connsiteX234" fmla="*/ 60227 w 761692"/>
                    <a:gd name="connsiteY234" fmla="*/ 309991 h 1016771"/>
                    <a:gd name="connsiteX235" fmla="*/ 61998 w 761692"/>
                    <a:gd name="connsiteY235" fmla="*/ 311763 h 1016771"/>
                    <a:gd name="connsiteX236" fmla="*/ 67312 w 761692"/>
                    <a:gd name="connsiteY236" fmla="*/ 311763 h 1016771"/>
                    <a:gd name="connsiteX237" fmla="*/ 67312 w 761692"/>
                    <a:gd name="connsiteY237" fmla="*/ 309991 h 1016771"/>
                    <a:gd name="connsiteX238" fmla="*/ 67312 w 761692"/>
                    <a:gd name="connsiteY238" fmla="*/ 308220 h 1016771"/>
                    <a:gd name="connsiteX239" fmla="*/ 69084 w 761692"/>
                    <a:gd name="connsiteY239" fmla="*/ 302906 h 1016771"/>
                    <a:gd name="connsiteX240" fmla="*/ 70855 w 761692"/>
                    <a:gd name="connsiteY240" fmla="*/ 301134 h 1016771"/>
                    <a:gd name="connsiteX241" fmla="*/ 70855 w 761692"/>
                    <a:gd name="connsiteY241" fmla="*/ 299363 h 1016771"/>
                    <a:gd name="connsiteX242" fmla="*/ 77941 w 761692"/>
                    <a:gd name="connsiteY242" fmla="*/ 295820 h 1016771"/>
                    <a:gd name="connsiteX243" fmla="*/ 85026 w 761692"/>
                    <a:gd name="connsiteY243" fmla="*/ 295820 h 1016771"/>
                    <a:gd name="connsiteX244" fmla="*/ 93883 w 761692"/>
                    <a:gd name="connsiteY244" fmla="*/ 297592 h 1016771"/>
                    <a:gd name="connsiteX245" fmla="*/ 100968 w 761692"/>
                    <a:gd name="connsiteY245" fmla="*/ 288735 h 1016771"/>
                    <a:gd name="connsiteX246" fmla="*/ 97426 w 761692"/>
                    <a:gd name="connsiteY246" fmla="*/ 279878 h 1016771"/>
                    <a:gd name="connsiteX247" fmla="*/ 85026 w 761692"/>
                    <a:gd name="connsiteY247" fmla="*/ 276335 h 1016771"/>
                    <a:gd name="connsiteX248" fmla="*/ 76169 w 761692"/>
                    <a:gd name="connsiteY248" fmla="*/ 271021 h 1016771"/>
                    <a:gd name="connsiteX249" fmla="*/ 76169 w 761692"/>
                    <a:gd name="connsiteY249" fmla="*/ 262164 h 1016771"/>
                    <a:gd name="connsiteX250" fmla="*/ 81483 w 761692"/>
                    <a:gd name="connsiteY250" fmla="*/ 251536 h 1016771"/>
                    <a:gd name="connsiteX251" fmla="*/ 86797 w 761692"/>
                    <a:gd name="connsiteY251" fmla="*/ 255079 h 1016771"/>
                    <a:gd name="connsiteX252" fmla="*/ 104511 w 761692"/>
                    <a:gd name="connsiteY252" fmla="*/ 262164 h 1016771"/>
                    <a:gd name="connsiteX253" fmla="*/ 116911 w 761692"/>
                    <a:gd name="connsiteY253" fmla="*/ 265707 h 1016771"/>
                    <a:gd name="connsiteX254" fmla="*/ 132853 w 761692"/>
                    <a:gd name="connsiteY254" fmla="*/ 269250 h 1016771"/>
                    <a:gd name="connsiteX255" fmla="*/ 138167 w 761692"/>
                    <a:gd name="connsiteY255" fmla="*/ 265707 h 1016771"/>
                    <a:gd name="connsiteX256" fmla="*/ 150567 w 761692"/>
                    <a:gd name="connsiteY256" fmla="*/ 255079 h 1016771"/>
                    <a:gd name="connsiteX257" fmla="*/ 166509 w 761692"/>
                    <a:gd name="connsiteY257" fmla="*/ 255079 h 1016771"/>
                    <a:gd name="connsiteX258" fmla="*/ 166509 w 761692"/>
                    <a:gd name="connsiteY258" fmla="*/ 265707 h 1016771"/>
                    <a:gd name="connsiteX259" fmla="*/ 177138 w 761692"/>
                    <a:gd name="connsiteY259" fmla="*/ 272792 h 1016771"/>
                    <a:gd name="connsiteX260" fmla="*/ 194851 w 761692"/>
                    <a:gd name="connsiteY260" fmla="*/ 276335 h 1016771"/>
                    <a:gd name="connsiteX261" fmla="*/ 209022 w 761692"/>
                    <a:gd name="connsiteY261" fmla="*/ 279878 h 1016771"/>
                    <a:gd name="connsiteX262" fmla="*/ 221422 w 761692"/>
                    <a:gd name="connsiteY262" fmla="*/ 276335 h 1016771"/>
                    <a:gd name="connsiteX263" fmla="*/ 226736 w 761692"/>
                    <a:gd name="connsiteY263" fmla="*/ 269250 h 1016771"/>
                    <a:gd name="connsiteX264" fmla="*/ 226736 w 761692"/>
                    <a:gd name="connsiteY264" fmla="*/ 251536 h 1016771"/>
                    <a:gd name="connsiteX265" fmla="*/ 224965 w 761692"/>
                    <a:gd name="connsiteY265" fmla="*/ 239136 h 1016771"/>
                    <a:gd name="connsiteX266" fmla="*/ 214337 w 761692"/>
                    <a:gd name="connsiteY266" fmla="*/ 230279 h 1016771"/>
                    <a:gd name="connsiteX267" fmla="*/ 210794 w 761692"/>
                    <a:gd name="connsiteY267" fmla="*/ 217880 h 1016771"/>
                    <a:gd name="connsiteX268" fmla="*/ 221422 w 761692"/>
                    <a:gd name="connsiteY268" fmla="*/ 207251 h 1016771"/>
                    <a:gd name="connsiteX269" fmla="*/ 235593 w 761692"/>
                    <a:gd name="connsiteY269" fmla="*/ 214337 h 1016771"/>
                    <a:gd name="connsiteX270" fmla="*/ 246221 w 761692"/>
                    <a:gd name="connsiteY270" fmla="*/ 219651 h 1016771"/>
                    <a:gd name="connsiteX271" fmla="*/ 253307 w 761692"/>
                    <a:gd name="connsiteY271" fmla="*/ 221422 h 1016771"/>
                    <a:gd name="connsiteX272" fmla="*/ 262164 w 761692"/>
                    <a:gd name="connsiteY272" fmla="*/ 210794 h 1016771"/>
                    <a:gd name="connsiteX273" fmla="*/ 263935 w 761692"/>
                    <a:gd name="connsiteY273" fmla="*/ 201937 h 1016771"/>
                    <a:gd name="connsiteX274" fmla="*/ 274563 w 761692"/>
                    <a:gd name="connsiteY274" fmla="*/ 189538 h 1016771"/>
                    <a:gd name="connsiteX275" fmla="*/ 283420 w 761692"/>
                    <a:gd name="connsiteY275" fmla="*/ 178909 h 1016771"/>
                    <a:gd name="connsiteX276" fmla="*/ 286963 w 761692"/>
                    <a:gd name="connsiteY276" fmla="*/ 173595 h 1016771"/>
                    <a:gd name="connsiteX277" fmla="*/ 311762 w 761692"/>
                    <a:gd name="connsiteY277" fmla="*/ 168281 h 1016771"/>
                    <a:gd name="connsiteX278" fmla="*/ 325933 w 761692"/>
                    <a:gd name="connsiteY278" fmla="*/ 164738 h 1016771"/>
                    <a:gd name="connsiteX279" fmla="*/ 336562 w 761692"/>
                    <a:gd name="connsiteY279" fmla="*/ 159424 h 1016771"/>
                    <a:gd name="connsiteX280" fmla="*/ 348961 w 761692"/>
                    <a:gd name="connsiteY280" fmla="*/ 145253 h 1016771"/>
                    <a:gd name="connsiteX281" fmla="*/ 359589 w 761692"/>
                    <a:gd name="connsiteY281" fmla="*/ 143482 h 1016771"/>
                    <a:gd name="connsiteX282" fmla="*/ 371989 w 761692"/>
                    <a:gd name="connsiteY282" fmla="*/ 143482 h 1016771"/>
                    <a:gd name="connsiteX283" fmla="*/ 391474 w 761692"/>
                    <a:gd name="connsiteY283" fmla="*/ 143482 h 1016771"/>
                    <a:gd name="connsiteX284" fmla="*/ 396788 w 761692"/>
                    <a:gd name="connsiteY284" fmla="*/ 141710 h 1016771"/>
                    <a:gd name="connsiteX285" fmla="*/ 403874 w 761692"/>
                    <a:gd name="connsiteY285" fmla="*/ 134625 h 1016771"/>
                    <a:gd name="connsiteX286" fmla="*/ 409188 w 761692"/>
                    <a:gd name="connsiteY286" fmla="*/ 129311 h 1016771"/>
                    <a:gd name="connsiteX287" fmla="*/ 409188 w 761692"/>
                    <a:gd name="connsiteY287" fmla="*/ 123997 h 1016771"/>
                    <a:gd name="connsiteX288" fmla="*/ 414502 w 761692"/>
                    <a:gd name="connsiteY288" fmla="*/ 115140 h 1016771"/>
                    <a:gd name="connsiteX289" fmla="*/ 428673 w 761692"/>
                    <a:gd name="connsiteY289" fmla="*/ 115140 h 1016771"/>
                    <a:gd name="connsiteX290" fmla="*/ 432216 w 761692"/>
                    <a:gd name="connsiteY290" fmla="*/ 109826 h 1016771"/>
                    <a:gd name="connsiteX291" fmla="*/ 437530 w 761692"/>
                    <a:gd name="connsiteY291" fmla="*/ 100969 h 1016771"/>
                    <a:gd name="connsiteX292" fmla="*/ 448158 w 761692"/>
                    <a:gd name="connsiteY292" fmla="*/ 99197 h 1016771"/>
                    <a:gd name="connsiteX293" fmla="*/ 460558 w 761692"/>
                    <a:gd name="connsiteY293" fmla="*/ 97426 h 1016771"/>
                    <a:gd name="connsiteX294" fmla="*/ 472958 w 761692"/>
                    <a:gd name="connsiteY294" fmla="*/ 93883 h 1016771"/>
                    <a:gd name="connsiteX295" fmla="*/ 492443 w 761692"/>
                    <a:gd name="connsiteY295" fmla="*/ 93883 h 1016771"/>
                    <a:gd name="connsiteX296" fmla="*/ 501300 w 761692"/>
                    <a:gd name="connsiteY296" fmla="*/ 83255 h 1016771"/>
                    <a:gd name="connsiteX297" fmla="*/ 517242 w 761692"/>
                    <a:gd name="connsiteY297" fmla="*/ 81484 h 1016771"/>
                    <a:gd name="connsiteX298" fmla="*/ 522556 w 761692"/>
                    <a:gd name="connsiteY298" fmla="*/ 81484 h 1016771"/>
                    <a:gd name="connsiteX299" fmla="*/ 522556 w 761692"/>
                    <a:gd name="connsiteY299" fmla="*/ 60227 h 1016771"/>
                    <a:gd name="connsiteX300" fmla="*/ 526099 w 761692"/>
                    <a:gd name="connsiteY300" fmla="*/ 54913 h 1016771"/>
                    <a:gd name="connsiteX301" fmla="*/ 529642 w 761692"/>
                    <a:gd name="connsiteY301" fmla="*/ 46056 h 1016771"/>
                    <a:gd name="connsiteX302" fmla="*/ 538499 w 761692"/>
                    <a:gd name="connsiteY302" fmla="*/ 40742 h 1016771"/>
                    <a:gd name="connsiteX303" fmla="*/ 540270 w 761692"/>
                    <a:gd name="connsiteY303" fmla="*/ 30114 h 1016771"/>
                    <a:gd name="connsiteX304" fmla="*/ 536727 w 761692"/>
                    <a:gd name="connsiteY304" fmla="*/ 19485 h 1016771"/>
                    <a:gd name="connsiteX305" fmla="*/ 543813 w 761692"/>
                    <a:gd name="connsiteY305" fmla="*/ 5314 h 1016771"/>
                    <a:gd name="connsiteX306" fmla="*/ 554441 w 761692"/>
                    <a:gd name="connsiteY306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8167 w 761692"/>
                    <a:gd name="connsiteY9" fmla="*/ 852033 h 1016771"/>
                    <a:gd name="connsiteX10" fmla="*/ 139939 w 761692"/>
                    <a:gd name="connsiteY10" fmla="*/ 850262 h 1016771"/>
                    <a:gd name="connsiteX11" fmla="*/ 145253 w 761692"/>
                    <a:gd name="connsiteY11" fmla="*/ 843176 h 1016771"/>
                    <a:gd name="connsiteX12" fmla="*/ 147024 w 761692"/>
                    <a:gd name="connsiteY12" fmla="*/ 841405 h 1016771"/>
                    <a:gd name="connsiteX13" fmla="*/ 148796 w 761692"/>
                    <a:gd name="connsiteY13" fmla="*/ 839633 h 1016771"/>
                    <a:gd name="connsiteX14" fmla="*/ 150567 w 761692"/>
                    <a:gd name="connsiteY14" fmla="*/ 837862 h 1016771"/>
                    <a:gd name="connsiteX15" fmla="*/ 159250 w 761692"/>
                    <a:gd name="connsiteY15" fmla="*/ 829179 h 1016771"/>
                    <a:gd name="connsiteX16" fmla="*/ 116476 w 761692"/>
                    <a:gd name="connsiteY16" fmla="*/ 741349 h 1016771"/>
                    <a:gd name="connsiteX17" fmla="*/ 117606 w 761692"/>
                    <a:gd name="connsiteY17" fmla="*/ 742253 h 1016771"/>
                    <a:gd name="connsiteX18" fmla="*/ 122692 w 761692"/>
                    <a:gd name="connsiteY18" fmla="*/ 759206 h 1016771"/>
                    <a:gd name="connsiteX19" fmla="*/ 126082 w 761692"/>
                    <a:gd name="connsiteY19" fmla="*/ 771073 h 1016771"/>
                    <a:gd name="connsiteX20" fmla="*/ 129473 w 761692"/>
                    <a:gd name="connsiteY20" fmla="*/ 782940 h 1016771"/>
                    <a:gd name="connsiteX21" fmla="*/ 132864 w 761692"/>
                    <a:gd name="connsiteY21" fmla="*/ 793112 h 1016771"/>
                    <a:gd name="connsiteX22" fmla="*/ 136254 w 761692"/>
                    <a:gd name="connsiteY22" fmla="*/ 810066 h 1016771"/>
                    <a:gd name="connsiteX23" fmla="*/ 139058 w 761692"/>
                    <a:gd name="connsiteY23" fmla="*/ 818476 h 1016771"/>
                    <a:gd name="connsiteX24" fmla="*/ 138167 w 761692"/>
                    <a:gd name="connsiteY24" fmla="*/ 818377 h 1016771"/>
                    <a:gd name="connsiteX25" fmla="*/ 134625 w 761692"/>
                    <a:gd name="connsiteY25" fmla="*/ 807749 h 1016771"/>
                    <a:gd name="connsiteX26" fmla="*/ 131082 w 761692"/>
                    <a:gd name="connsiteY26" fmla="*/ 790035 h 1016771"/>
                    <a:gd name="connsiteX27" fmla="*/ 127539 w 761692"/>
                    <a:gd name="connsiteY27" fmla="*/ 779407 h 1016771"/>
                    <a:gd name="connsiteX28" fmla="*/ 123996 w 761692"/>
                    <a:gd name="connsiteY28" fmla="*/ 767007 h 1016771"/>
                    <a:gd name="connsiteX29" fmla="*/ 120454 w 761692"/>
                    <a:gd name="connsiteY29" fmla="*/ 754607 h 1016771"/>
                    <a:gd name="connsiteX30" fmla="*/ 116476 w 761692"/>
                    <a:gd name="connsiteY30" fmla="*/ 741349 h 1016771"/>
                    <a:gd name="connsiteX31" fmla="*/ 554441 w 761692"/>
                    <a:gd name="connsiteY31" fmla="*/ 0 h 1016771"/>
                    <a:gd name="connsiteX32" fmla="*/ 570383 w 761692"/>
                    <a:gd name="connsiteY32" fmla="*/ 3543 h 1016771"/>
                    <a:gd name="connsiteX33" fmla="*/ 577469 w 761692"/>
                    <a:gd name="connsiteY33" fmla="*/ 8857 h 1016771"/>
                    <a:gd name="connsiteX34" fmla="*/ 582783 w 761692"/>
                    <a:gd name="connsiteY34" fmla="*/ 17714 h 1016771"/>
                    <a:gd name="connsiteX35" fmla="*/ 582783 w 761692"/>
                    <a:gd name="connsiteY35" fmla="*/ 24799 h 1016771"/>
                    <a:gd name="connsiteX36" fmla="*/ 588097 w 761692"/>
                    <a:gd name="connsiteY36" fmla="*/ 33656 h 1016771"/>
                    <a:gd name="connsiteX37" fmla="*/ 598725 w 761692"/>
                    <a:gd name="connsiteY37" fmla="*/ 31885 h 1016771"/>
                    <a:gd name="connsiteX38" fmla="*/ 612896 w 761692"/>
                    <a:gd name="connsiteY38" fmla="*/ 37199 h 1016771"/>
                    <a:gd name="connsiteX39" fmla="*/ 618211 w 761692"/>
                    <a:gd name="connsiteY39" fmla="*/ 46056 h 1016771"/>
                    <a:gd name="connsiteX40" fmla="*/ 619982 w 761692"/>
                    <a:gd name="connsiteY40" fmla="*/ 54913 h 1016771"/>
                    <a:gd name="connsiteX41" fmla="*/ 618211 w 761692"/>
                    <a:gd name="connsiteY41" fmla="*/ 74398 h 1016771"/>
                    <a:gd name="connsiteX42" fmla="*/ 616439 w 761692"/>
                    <a:gd name="connsiteY42" fmla="*/ 85026 h 1016771"/>
                    <a:gd name="connsiteX43" fmla="*/ 621753 w 761692"/>
                    <a:gd name="connsiteY43" fmla="*/ 97426 h 1016771"/>
                    <a:gd name="connsiteX44" fmla="*/ 637696 w 761692"/>
                    <a:gd name="connsiteY44" fmla="*/ 113368 h 1016771"/>
                    <a:gd name="connsiteX45" fmla="*/ 644781 w 761692"/>
                    <a:gd name="connsiteY45" fmla="*/ 120454 h 1016771"/>
                    <a:gd name="connsiteX46" fmla="*/ 650095 w 761692"/>
                    <a:gd name="connsiteY46" fmla="*/ 136396 h 1016771"/>
                    <a:gd name="connsiteX47" fmla="*/ 655409 w 761692"/>
                    <a:gd name="connsiteY47" fmla="*/ 155881 h 1016771"/>
                    <a:gd name="connsiteX48" fmla="*/ 662495 w 761692"/>
                    <a:gd name="connsiteY48" fmla="*/ 171824 h 1016771"/>
                    <a:gd name="connsiteX49" fmla="*/ 660724 w 761692"/>
                    <a:gd name="connsiteY49" fmla="*/ 185995 h 1016771"/>
                    <a:gd name="connsiteX50" fmla="*/ 635924 w 761692"/>
                    <a:gd name="connsiteY50" fmla="*/ 194852 h 1016771"/>
                    <a:gd name="connsiteX51" fmla="*/ 619982 w 761692"/>
                    <a:gd name="connsiteY51" fmla="*/ 207251 h 1016771"/>
                    <a:gd name="connsiteX52" fmla="*/ 614668 w 761692"/>
                    <a:gd name="connsiteY52" fmla="*/ 223194 h 1016771"/>
                    <a:gd name="connsiteX53" fmla="*/ 618211 w 761692"/>
                    <a:gd name="connsiteY53" fmla="*/ 242679 h 1016771"/>
                    <a:gd name="connsiteX54" fmla="*/ 612896 w 761692"/>
                    <a:gd name="connsiteY54" fmla="*/ 256850 h 1016771"/>
                    <a:gd name="connsiteX55" fmla="*/ 625296 w 761692"/>
                    <a:gd name="connsiteY55" fmla="*/ 267478 h 1016771"/>
                    <a:gd name="connsiteX56" fmla="*/ 641238 w 761692"/>
                    <a:gd name="connsiteY56" fmla="*/ 269250 h 1016771"/>
                    <a:gd name="connsiteX57" fmla="*/ 658952 w 761692"/>
                    <a:gd name="connsiteY57" fmla="*/ 286963 h 1016771"/>
                    <a:gd name="connsiteX58" fmla="*/ 653638 w 761692"/>
                    <a:gd name="connsiteY58" fmla="*/ 309991 h 1016771"/>
                    <a:gd name="connsiteX59" fmla="*/ 653638 w 761692"/>
                    <a:gd name="connsiteY59" fmla="*/ 329476 h 1016771"/>
                    <a:gd name="connsiteX60" fmla="*/ 643010 w 761692"/>
                    <a:gd name="connsiteY60" fmla="*/ 338333 h 1016771"/>
                    <a:gd name="connsiteX61" fmla="*/ 632382 w 761692"/>
                    <a:gd name="connsiteY61" fmla="*/ 338333 h 1016771"/>
                    <a:gd name="connsiteX62" fmla="*/ 618211 w 761692"/>
                    <a:gd name="connsiteY62" fmla="*/ 357819 h 1016771"/>
                    <a:gd name="connsiteX63" fmla="*/ 609354 w 761692"/>
                    <a:gd name="connsiteY63" fmla="*/ 361361 h 1016771"/>
                    <a:gd name="connsiteX64" fmla="*/ 596954 w 761692"/>
                    <a:gd name="connsiteY64" fmla="*/ 363133 h 1016771"/>
                    <a:gd name="connsiteX65" fmla="*/ 581012 w 761692"/>
                    <a:gd name="connsiteY65" fmla="*/ 379075 h 1016771"/>
                    <a:gd name="connsiteX66" fmla="*/ 589868 w 761692"/>
                    <a:gd name="connsiteY66" fmla="*/ 393246 h 1016771"/>
                    <a:gd name="connsiteX67" fmla="*/ 586326 w 761692"/>
                    <a:gd name="connsiteY67" fmla="*/ 409189 h 1016771"/>
                    <a:gd name="connsiteX68" fmla="*/ 570383 w 761692"/>
                    <a:gd name="connsiteY68" fmla="*/ 398560 h 1016771"/>
                    <a:gd name="connsiteX69" fmla="*/ 550898 w 761692"/>
                    <a:gd name="connsiteY69" fmla="*/ 405646 h 1016771"/>
                    <a:gd name="connsiteX70" fmla="*/ 531413 w 761692"/>
                    <a:gd name="connsiteY70" fmla="*/ 425131 h 1016771"/>
                    <a:gd name="connsiteX71" fmla="*/ 543813 w 761692"/>
                    <a:gd name="connsiteY71" fmla="*/ 444616 h 1016771"/>
                    <a:gd name="connsiteX72" fmla="*/ 557984 w 761692"/>
                    <a:gd name="connsiteY72" fmla="*/ 462330 h 1016771"/>
                    <a:gd name="connsiteX73" fmla="*/ 570383 w 761692"/>
                    <a:gd name="connsiteY73" fmla="*/ 478272 h 1016771"/>
                    <a:gd name="connsiteX74" fmla="*/ 579240 w 761692"/>
                    <a:gd name="connsiteY74" fmla="*/ 485358 h 1016771"/>
                    <a:gd name="connsiteX75" fmla="*/ 602268 w 761692"/>
                    <a:gd name="connsiteY75" fmla="*/ 483586 h 1016771"/>
                    <a:gd name="connsiteX76" fmla="*/ 623525 w 761692"/>
                    <a:gd name="connsiteY76" fmla="*/ 474730 h 1016771"/>
                    <a:gd name="connsiteX77" fmla="*/ 639467 w 761692"/>
                    <a:gd name="connsiteY77" fmla="*/ 464101 h 1016771"/>
                    <a:gd name="connsiteX78" fmla="*/ 662495 w 761692"/>
                    <a:gd name="connsiteY78" fmla="*/ 464101 h 1016771"/>
                    <a:gd name="connsiteX79" fmla="*/ 673123 w 761692"/>
                    <a:gd name="connsiteY79" fmla="*/ 464101 h 1016771"/>
                    <a:gd name="connsiteX80" fmla="*/ 681980 w 761692"/>
                    <a:gd name="connsiteY80" fmla="*/ 467644 h 1016771"/>
                    <a:gd name="connsiteX81" fmla="*/ 703237 w 761692"/>
                    <a:gd name="connsiteY81" fmla="*/ 471187 h 1016771"/>
                    <a:gd name="connsiteX82" fmla="*/ 708551 w 761692"/>
                    <a:gd name="connsiteY82" fmla="*/ 474730 h 1016771"/>
                    <a:gd name="connsiteX83" fmla="*/ 722722 w 761692"/>
                    <a:gd name="connsiteY83" fmla="*/ 501300 h 1016771"/>
                    <a:gd name="connsiteX84" fmla="*/ 724493 w 761692"/>
                    <a:gd name="connsiteY84" fmla="*/ 522557 h 1016771"/>
                    <a:gd name="connsiteX85" fmla="*/ 722722 w 761692"/>
                    <a:gd name="connsiteY85" fmla="*/ 540271 h 1016771"/>
                    <a:gd name="connsiteX86" fmla="*/ 735121 w 761692"/>
                    <a:gd name="connsiteY86" fmla="*/ 552670 h 1016771"/>
                    <a:gd name="connsiteX87" fmla="*/ 735121 w 761692"/>
                    <a:gd name="connsiteY87" fmla="*/ 570384 h 1016771"/>
                    <a:gd name="connsiteX88" fmla="*/ 751064 w 761692"/>
                    <a:gd name="connsiteY88" fmla="*/ 581012 h 1016771"/>
                    <a:gd name="connsiteX89" fmla="*/ 761692 w 761692"/>
                    <a:gd name="connsiteY89" fmla="*/ 604040 h 1016771"/>
                    <a:gd name="connsiteX90" fmla="*/ 747521 w 761692"/>
                    <a:gd name="connsiteY90" fmla="*/ 616440 h 1016771"/>
                    <a:gd name="connsiteX91" fmla="*/ 728036 w 761692"/>
                    <a:gd name="connsiteY91" fmla="*/ 627068 h 1016771"/>
                    <a:gd name="connsiteX92" fmla="*/ 726264 w 761692"/>
                    <a:gd name="connsiteY92" fmla="*/ 650096 h 1016771"/>
                    <a:gd name="connsiteX93" fmla="*/ 728036 w 761692"/>
                    <a:gd name="connsiteY93" fmla="*/ 673124 h 1016771"/>
                    <a:gd name="connsiteX94" fmla="*/ 742207 w 761692"/>
                    <a:gd name="connsiteY94" fmla="*/ 689066 h 1016771"/>
                    <a:gd name="connsiteX95" fmla="*/ 742207 w 761692"/>
                    <a:gd name="connsiteY95" fmla="*/ 712094 h 1016771"/>
                    <a:gd name="connsiteX96" fmla="*/ 740435 w 761692"/>
                    <a:gd name="connsiteY96" fmla="*/ 735122 h 1016771"/>
                    <a:gd name="connsiteX97" fmla="*/ 742207 w 761692"/>
                    <a:gd name="connsiteY97" fmla="*/ 751065 h 1016771"/>
                    <a:gd name="connsiteX98" fmla="*/ 747521 w 761692"/>
                    <a:gd name="connsiteY98" fmla="*/ 768778 h 1016771"/>
                    <a:gd name="connsiteX99" fmla="*/ 759921 w 761692"/>
                    <a:gd name="connsiteY99" fmla="*/ 777635 h 1016771"/>
                    <a:gd name="connsiteX100" fmla="*/ 758149 w 761692"/>
                    <a:gd name="connsiteY100" fmla="*/ 802434 h 1016771"/>
                    <a:gd name="connsiteX101" fmla="*/ 752835 w 761692"/>
                    <a:gd name="connsiteY101" fmla="*/ 814834 h 1016771"/>
                    <a:gd name="connsiteX102" fmla="*/ 743978 w 761692"/>
                    <a:gd name="connsiteY102" fmla="*/ 827234 h 1016771"/>
                    <a:gd name="connsiteX103" fmla="*/ 743978 w 761692"/>
                    <a:gd name="connsiteY103" fmla="*/ 837862 h 1016771"/>
                    <a:gd name="connsiteX104" fmla="*/ 747521 w 761692"/>
                    <a:gd name="connsiteY104" fmla="*/ 853804 h 1016771"/>
                    <a:gd name="connsiteX105" fmla="*/ 733350 w 761692"/>
                    <a:gd name="connsiteY105" fmla="*/ 867975 h 1016771"/>
                    <a:gd name="connsiteX106" fmla="*/ 724493 w 761692"/>
                    <a:gd name="connsiteY106" fmla="*/ 880375 h 1016771"/>
                    <a:gd name="connsiteX107" fmla="*/ 722722 w 761692"/>
                    <a:gd name="connsiteY107" fmla="*/ 899860 h 1016771"/>
                    <a:gd name="connsiteX108" fmla="*/ 722722 w 761692"/>
                    <a:gd name="connsiteY108" fmla="*/ 919345 h 1016771"/>
                    <a:gd name="connsiteX109" fmla="*/ 715636 w 761692"/>
                    <a:gd name="connsiteY109" fmla="*/ 940602 h 1016771"/>
                    <a:gd name="connsiteX110" fmla="*/ 708551 w 761692"/>
                    <a:gd name="connsiteY110" fmla="*/ 954773 h 1016771"/>
                    <a:gd name="connsiteX111" fmla="*/ 699694 w 761692"/>
                    <a:gd name="connsiteY111" fmla="*/ 965401 h 1016771"/>
                    <a:gd name="connsiteX112" fmla="*/ 692608 w 761692"/>
                    <a:gd name="connsiteY112" fmla="*/ 984886 h 1016771"/>
                    <a:gd name="connsiteX113" fmla="*/ 683751 w 761692"/>
                    <a:gd name="connsiteY113" fmla="*/ 997286 h 1016771"/>
                    <a:gd name="connsiteX114" fmla="*/ 673123 w 761692"/>
                    <a:gd name="connsiteY114" fmla="*/ 1002600 h 1016771"/>
                    <a:gd name="connsiteX115" fmla="*/ 662495 w 761692"/>
                    <a:gd name="connsiteY115" fmla="*/ 1013228 h 1016771"/>
                    <a:gd name="connsiteX116" fmla="*/ 644781 w 761692"/>
                    <a:gd name="connsiteY116" fmla="*/ 1016771 h 1016771"/>
                    <a:gd name="connsiteX117" fmla="*/ 635924 w 761692"/>
                    <a:gd name="connsiteY117" fmla="*/ 1004372 h 1016771"/>
                    <a:gd name="connsiteX118" fmla="*/ 623525 w 761692"/>
                    <a:gd name="connsiteY118" fmla="*/ 997286 h 1016771"/>
                    <a:gd name="connsiteX119" fmla="*/ 614668 w 761692"/>
                    <a:gd name="connsiteY119" fmla="*/ 986658 h 1016771"/>
                    <a:gd name="connsiteX120" fmla="*/ 593411 w 761692"/>
                    <a:gd name="connsiteY120" fmla="*/ 970715 h 1016771"/>
                    <a:gd name="connsiteX121" fmla="*/ 582783 w 761692"/>
                    <a:gd name="connsiteY121" fmla="*/ 965401 h 1016771"/>
                    <a:gd name="connsiteX122" fmla="*/ 531413 w 761692"/>
                    <a:gd name="connsiteY122" fmla="*/ 965401 h 1016771"/>
                    <a:gd name="connsiteX123" fmla="*/ 511928 w 761692"/>
                    <a:gd name="connsiteY123" fmla="*/ 965401 h 1016771"/>
                    <a:gd name="connsiteX124" fmla="*/ 492443 w 761692"/>
                    <a:gd name="connsiteY124" fmla="*/ 963630 h 1016771"/>
                    <a:gd name="connsiteX125" fmla="*/ 483586 w 761692"/>
                    <a:gd name="connsiteY125" fmla="*/ 958316 h 1016771"/>
                    <a:gd name="connsiteX126" fmla="*/ 469415 w 761692"/>
                    <a:gd name="connsiteY126" fmla="*/ 954773 h 1016771"/>
                    <a:gd name="connsiteX127" fmla="*/ 460558 w 761692"/>
                    <a:gd name="connsiteY127" fmla="*/ 942373 h 1016771"/>
                    <a:gd name="connsiteX128" fmla="*/ 446387 w 761692"/>
                    <a:gd name="connsiteY128" fmla="*/ 935288 h 1016771"/>
                    <a:gd name="connsiteX129" fmla="*/ 428673 w 761692"/>
                    <a:gd name="connsiteY129" fmla="*/ 928202 h 1016771"/>
                    <a:gd name="connsiteX130" fmla="*/ 418045 w 761692"/>
                    <a:gd name="connsiteY130" fmla="*/ 917574 h 1016771"/>
                    <a:gd name="connsiteX131" fmla="*/ 421588 w 761692"/>
                    <a:gd name="connsiteY131" fmla="*/ 903403 h 1016771"/>
                    <a:gd name="connsiteX132" fmla="*/ 418045 w 761692"/>
                    <a:gd name="connsiteY132" fmla="*/ 898089 h 1016771"/>
                    <a:gd name="connsiteX133" fmla="*/ 396788 w 761692"/>
                    <a:gd name="connsiteY133" fmla="*/ 898089 h 1016771"/>
                    <a:gd name="connsiteX134" fmla="*/ 382617 w 761692"/>
                    <a:gd name="connsiteY134" fmla="*/ 896318 h 1016771"/>
                    <a:gd name="connsiteX135" fmla="*/ 380846 w 761692"/>
                    <a:gd name="connsiteY135" fmla="*/ 906946 h 1016771"/>
                    <a:gd name="connsiteX136" fmla="*/ 373601 w 761692"/>
                    <a:gd name="connsiteY136" fmla="*/ 894832 h 1016771"/>
                    <a:gd name="connsiteX137" fmla="*/ 387164 w 761692"/>
                    <a:gd name="connsiteY137" fmla="*/ 896527 h 1016771"/>
                    <a:gd name="connsiteX138" fmla="*/ 383773 w 761692"/>
                    <a:gd name="connsiteY138" fmla="*/ 886355 h 1016771"/>
                    <a:gd name="connsiteX139" fmla="*/ 387164 w 761692"/>
                    <a:gd name="connsiteY139" fmla="*/ 876183 h 1016771"/>
                    <a:gd name="connsiteX140" fmla="*/ 388859 w 761692"/>
                    <a:gd name="connsiteY140" fmla="*/ 867707 h 1016771"/>
                    <a:gd name="connsiteX141" fmla="*/ 380382 w 761692"/>
                    <a:gd name="connsiteY141" fmla="*/ 859230 h 1016771"/>
                    <a:gd name="connsiteX142" fmla="*/ 373601 w 761692"/>
                    <a:gd name="connsiteY142" fmla="*/ 849058 h 1016771"/>
                    <a:gd name="connsiteX143" fmla="*/ 380382 w 761692"/>
                    <a:gd name="connsiteY143" fmla="*/ 838886 h 1016771"/>
                    <a:gd name="connsiteX144" fmla="*/ 383773 w 761692"/>
                    <a:gd name="connsiteY144" fmla="*/ 833800 h 1016771"/>
                    <a:gd name="connsiteX145" fmla="*/ 388859 w 761692"/>
                    <a:gd name="connsiteY145" fmla="*/ 825324 h 1016771"/>
                    <a:gd name="connsiteX146" fmla="*/ 387164 w 761692"/>
                    <a:gd name="connsiteY146" fmla="*/ 810066 h 1016771"/>
                    <a:gd name="connsiteX147" fmla="*/ 387164 w 761692"/>
                    <a:gd name="connsiteY147" fmla="*/ 796503 h 1016771"/>
                    <a:gd name="connsiteX148" fmla="*/ 378687 w 761692"/>
                    <a:gd name="connsiteY148" fmla="*/ 789722 h 1016771"/>
                    <a:gd name="connsiteX149" fmla="*/ 366820 w 761692"/>
                    <a:gd name="connsiteY149" fmla="*/ 782940 h 1016771"/>
                    <a:gd name="connsiteX150" fmla="*/ 356648 w 761692"/>
                    <a:gd name="connsiteY150" fmla="*/ 781245 h 1016771"/>
                    <a:gd name="connsiteX151" fmla="*/ 349866 w 761692"/>
                    <a:gd name="connsiteY151" fmla="*/ 771073 h 1016771"/>
                    <a:gd name="connsiteX152" fmla="*/ 349866 w 761692"/>
                    <a:gd name="connsiteY152" fmla="*/ 752425 h 1016771"/>
                    <a:gd name="connsiteX153" fmla="*/ 353257 w 761692"/>
                    <a:gd name="connsiteY153" fmla="*/ 743948 h 1016771"/>
                    <a:gd name="connsiteX154" fmla="*/ 354952 w 761692"/>
                    <a:gd name="connsiteY154" fmla="*/ 730385 h 1016771"/>
                    <a:gd name="connsiteX155" fmla="*/ 353257 w 761692"/>
                    <a:gd name="connsiteY155" fmla="*/ 713432 h 1016771"/>
                    <a:gd name="connsiteX156" fmla="*/ 346476 w 761692"/>
                    <a:gd name="connsiteY156" fmla="*/ 701565 h 1016771"/>
                    <a:gd name="connsiteX157" fmla="*/ 332913 w 761692"/>
                    <a:gd name="connsiteY157" fmla="*/ 689697 h 1016771"/>
                    <a:gd name="connsiteX158" fmla="*/ 324436 w 761692"/>
                    <a:gd name="connsiteY158" fmla="*/ 681221 h 1016771"/>
                    <a:gd name="connsiteX159" fmla="*/ 314264 w 761692"/>
                    <a:gd name="connsiteY159" fmla="*/ 676135 h 1016771"/>
                    <a:gd name="connsiteX160" fmla="*/ 293920 w 761692"/>
                    <a:gd name="connsiteY160" fmla="*/ 669354 h 1016771"/>
                    <a:gd name="connsiteX161" fmla="*/ 282053 w 761692"/>
                    <a:gd name="connsiteY161" fmla="*/ 667658 h 1016771"/>
                    <a:gd name="connsiteX162" fmla="*/ 266795 w 761692"/>
                    <a:gd name="connsiteY162" fmla="*/ 672744 h 1016771"/>
                    <a:gd name="connsiteX163" fmla="*/ 265100 w 761692"/>
                    <a:gd name="connsiteY163" fmla="*/ 672744 h 1016771"/>
                    <a:gd name="connsiteX164" fmla="*/ 263404 w 761692"/>
                    <a:gd name="connsiteY164" fmla="*/ 671049 h 1016771"/>
                    <a:gd name="connsiteX165" fmla="*/ 260014 w 761692"/>
                    <a:gd name="connsiteY165" fmla="*/ 671049 h 1016771"/>
                    <a:gd name="connsiteX166" fmla="*/ 258318 w 761692"/>
                    <a:gd name="connsiteY166" fmla="*/ 671049 h 1016771"/>
                    <a:gd name="connsiteX167" fmla="*/ 253232 w 761692"/>
                    <a:gd name="connsiteY167" fmla="*/ 671049 h 1016771"/>
                    <a:gd name="connsiteX168" fmla="*/ 248146 w 761692"/>
                    <a:gd name="connsiteY168" fmla="*/ 672744 h 1016771"/>
                    <a:gd name="connsiteX169" fmla="*/ 248146 w 761692"/>
                    <a:gd name="connsiteY169" fmla="*/ 674440 h 1016771"/>
                    <a:gd name="connsiteX170" fmla="*/ 246451 w 761692"/>
                    <a:gd name="connsiteY170" fmla="*/ 674440 h 1016771"/>
                    <a:gd name="connsiteX171" fmla="*/ 236279 w 761692"/>
                    <a:gd name="connsiteY171" fmla="*/ 679526 h 1016771"/>
                    <a:gd name="connsiteX172" fmla="*/ 226107 w 761692"/>
                    <a:gd name="connsiteY172" fmla="*/ 684612 h 1016771"/>
                    <a:gd name="connsiteX173" fmla="*/ 217630 w 761692"/>
                    <a:gd name="connsiteY173" fmla="*/ 684612 h 1016771"/>
                    <a:gd name="connsiteX174" fmla="*/ 207458 w 761692"/>
                    <a:gd name="connsiteY174" fmla="*/ 693088 h 1016771"/>
                    <a:gd name="connsiteX175" fmla="*/ 198982 w 761692"/>
                    <a:gd name="connsiteY175" fmla="*/ 694783 h 1016771"/>
                    <a:gd name="connsiteX176" fmla="*/ 192200 w 761692"/>
                    <a:gd name="connsiteY176" fmla="*/ 699869 h 1016771"/>
                    <a:gd name="connsiteX177" fmla="*/ 178638 w 761692"/>
                    <a:gd name="connsiteY177" fmla="*/ 706651 h 1016771"/>
                    <a:gd name="connsiteX178" fmla="*/ 163380 w 761692"/>
                    <a:gd name="connsiteY178" fmla="*/ 710041 h 1016771"/>
                    <a:gd name="connsiteX179" fmla="*/ 141340 w 761692"/>
                    <a:gd name="connsiteY179" fmla="*/ 710041 h 1016771"/>
                    <a:gd name="connsiteX180" fmla="*/ 134559 w 761692"/>
                    <a:gd name="connsiteY180" fmla="*/ 716823 h 1016771"/>
                    <a:gd name="connsiteX181" fmla="*/ 127778 w 761692"/>
                    <a:gd name="connsiteY181" fmla="*/ 718518 h 1016771"/>
                    <a:gd name="connsiteX182" fmla="*/ 120996 w 761692"/>
                    <a:gd name="connsiteY182" fmla="*/ 725299 h 1016771"/>
                    <a:gd name="connsiteX183" fmla="*/ 111172 w 761692"/>
                    <a:gd name="connsiteY183" fmla="*/ 733720 h 1016771"/>
                    <a:gd name="connsiteX184" fmla="*/ 106283 w 761692"/>
                    <a:gd name="connsiteY184" fmla="*/ 729808 h 1016771"/>
                    <a:gd name="connsiteX185" fmla="*/ 92112 w 761692"/>
                    <a:gd name="connsiteY185" fmla="*/ 724494 h 1016771"/>
                    <a:gd name="connsiteX186" fmla="*/ 77941 w 761692"/>
                    <a:gd name="connsiteY186" fmla="*/ 726265 h 1016771"/>
                    <a:gd name="connsiteX187" fmla="*/ 70855 w 761692"/>
                    <a:gd name="connsiteY187" fmla="*/ 719180 h 1016771"/>
                    <a:gd name="connsiteX188" fmla="*/ 70855 w 761692"/>
                    <a:gd name="connsiteY188" fmla="*/ 699695 h 1016771"/>
                    <a:gd name="connsiteX189" fmla="*/ 81483 w 761692"/>
                    <a:gd name="connsiteY189" fmla="*/ 685524 h 1016771"/>
                    <a:gd name="connsiteX190" fmla="*/ 85026 w 761692"/>
                    <a:gd name="connsiteY190" fmla="*/ 673124 h 1016771"/>
                    <a:gd name="connsiteX191" fmla="*/ 86797 w 761692"/>
                    <a:gd name="connsiteY191" fmla="*/ 660724 h 1016771"/>
                    <a:gd name="connsiteX192" fmla="*/ 97426 w 761692"/>
                    <a:gd name="connsiteY192" fmla="*/ 650096 h 1016771"/>
                    <a:gd name="connsiteX193" fmla="*/ 102740 w 761692"/>
                    <a:gd name="connsiteY193" fmla="*/ 635925 h 1016771"/>
                    <a:gd name="connsiteX194" fmla="*/ 113368 w 761692"/>
                    <a:gd name="connsiteY194" fmla="*/ 625297 h 1016771"/>
                    <a:gd name="connsiteX195" fmla="*/ 115139 w 761692"/>
                    <a:gd name="connsiteY195" fmla="*/ 612897 h 1016771"/>
                    <a:gd name="connsiteX196" fmla="*/ 127539 w 761692"/>
                    <a:gd name="connsiteY196" fmla="*/ 609354 h 1016771"/>
                    <a:gd name="connsiteX197" fmla="*/ 136396 w 761692"/>
                    <a:gd name="connsiteY197" fmla="*/ 604040 h 1016771"/>
                    <a:gd name="connsiteX198" fmla="*/ 132853 w 761692"/>
                    <a:gd name="connsiteY198" fmla="*/ 593412 h 1016771"/>
                    <a:gd name="connsiteX199" fmla="*/ 134625 w 761692"/>
                    <a:gd name="connsiteY199" fmla="*/ 584555 h 1016771"/>
                    <a:gd name="connsiteX200" fmla="*/ 131082 w 761692"/>
                    <a:gd name="connsiteY200" fmla="*/ 575698 h 1016771"/>
                    <a:gd name="connsiteX201" fmla="*/ 120454 w 761692"/>
                    <a:gd name="connsiteY201" fmla="*/ 568613 h 1016771"/>
                    <a:gd name="connsiteX202" fmla="*/ 125768 w 761692"/>
                    <a:gd name="connsiteY202" fmla="*/ 552670 h 1016771"/>
                    <a:gd name="connsiteX203" fmla="*/ 118682 w 761692"/>
                    <a:gd name="connsiteY203" fmla="*/ 543813 h 1016771"/>
                    <a:gd name="connsiteX204" fmla="*/ 90340 w 761692"/>
                    <a:gd name="connsiteY204" fmla="*/ 543813 h 1016771"/>
                    <a:gd name="connsiteX205" fmla="*/ 86797 w 761692"/>
                    <a:gd name="connsiteY205" fmla="*/ 542042 h 1016771"/>
                    <a:gd name="connsiteX206" fmla="*/ 83255 w 761692"/>
                    <a:gd name="connsiteY206" fmla="*/ 542042 h 1016771"/>
                    <a:gd name="connsiteX207" fmla="*/ 81483 w 761692"/>
                    <a:gd name="connsiteY207" fmla="*/ 540271 h 1016771"/>
                    <a:gd name="connsiteX208" fmla="*/ 81483 w 761692"/>
                    <a:gd name="connsiteY208" fmla="*/ 536728 h 1016771"/>
                    <a:gd name="connsiteX209" fmla="*/ 79712 w 761692"/>
                    <a:gd name="connsiteY209" fmla="*/ 531414 h 1016771"/>
                    <a:gd name="connsiteX210" fmla="*/ 77941 w 761692"/>
                    <a:gd name="connsiteY210" fmla="*/ 529642 h 1016771"/>
                    <a:gd name="connsiteX211" fmla="*/ 70855 w 761692"/>
                    <a:gd name="connsiteY211" fmla="*/ 527871 h 1016771"/>
                    <a:gd name="connsiteX212" fmla="*/ 60227 w 761692"/>
                    <a:gd name="connsiteY212" fmla="*/ 536728 h 1016771"/>
                    <a:gd name="connsiteX213" fmla="*/ 47827 w 761692"/>
                    <a:gd name="connsiteY213" fmla="*/ 526100 h 1016771"/>
                    <a:gd name="connsiteX214" fmla="*/ 42513 w 761692"/>
                    <a:gd name="connsiteY214" fmla="*/ 515471 h 1016771"/>
                    <a:gd name="connsiteX215" fmla="*/ 33656 w 761692"/>
                    <a:gd name="connsiteY215" fmla="*/ 506614 h 1016771"/>
                    <a:gd name="connsiteX216" fmla="*/ 31885 w 761692"/>
                    <a:gd name="connsiteY216" fmla="*/ 490672 h 1016771"/>
                    <a:gd name="connsiteX217" fmla="*/ 26571 w 761692"/>
                    <a:gd name="connsiteY217" fmla="*/ 476501 h 1016771"/>
                    <a:gd name="connsiteX218" fmla="*/ 24799 w 761692"/>
                    <a:gd name="connsiteY218" fmla="*/ 471187 h 1016771"/>
                    <a:gd name="connsiteX219" fmla="*/ 12400 w 761692"/>
                    <a:gd name="connsiteY219" fmla="*/ 472958 h 1016771"/>
                    <a:gd name="connsiteX220" fmla="*/ 7086 w 761692"/>
                    <a:gd name="connsiteY220" fmla="*/ 464101 h 1016771"/>
                    <a:gd name="connsiteX221" fmla="*/ 8857 w 761692"/>
                    <a:gd name="connsiteY221" fmla="*/ 446388 h 1016771"/>
                    <a:gd name="connsiteX222" fmla="*/ 3543 w 761692"/>
                    <a:gd name="connsiteY222" fmla="*/ 435759 h 1016771"/>
                    <a:gd name="connsiteX223" fmla="*/ 5314 w 761692"/>
                    <a:gd name="connsiteY223" fmla="*/ 412731 h 1016771"/>
                    <a:gd name="connsiteX224" fmla="*/ 0 w 761692"/>
                    <a:gd name="connsiteY224" fmla="*/ 396789 h 1016771"/>
                    <a:gd name="connsiteX225" fmla="*/ 3543 w 761692"/>
                    <a:gd name="connsiteY225" fmla="*/ 384389 h 1016771"/>
                    <a:gd name="connsiteX226" fmla="*/ 14171 w 761692"/>
                    <a:gd name="connsiteY226" fmla="*/ 380846 h 1016771"/>
                    <a:gd name="connsiteX227" fmla="*/ 24799 w 761692"/>
                    <a:gd name="connsiteY227" fmla="*/ 364904 h 1016771"/>
                    <a:gd name="connsiteX228" fmla="*/ 30113 w 761692"/>
                    <a:gd name="connsiteY228" fmla="*/ 350733 h 1016771"/>
                    <a:gd name="connsiteX229" fmla="*/ 35428 w 761692"/>
                    <a:gd name="connsiteY229" fmla="*/ 341876 h 1016771"/>
                    <a:gd name="connsiteX230" fmla="*/ 42513 w 761692"/>
                    <a:gd name="connsiteY230" fmla="*/ 327705 h 1016771"/>
                    <a:gd name="connsiteX231" fmla="*/ 42513 w 761692"/>
                    <a:gd name="connsiteY231" fmla="*/ 315305 h 1016771"/>
                    <a:gd name="connsiteX232" fmla="*/ 56684 w 761692"/>
                    <a:gd name="connsiteY232" fmla="*/ 309991 h 1016771"/>
                    <a:gd name="connsiteX233" fmla="*/ 60227 w 761692"/>
                    <a:gd name="connsiteY233" fmla="*/ 309991 h 1016771"/>
                    <a:gd name="connsiteX234" fmla="*/ 61998 w 761692"/>
                    <a:gd name="connsiteY234" fmla="*/ 311763 h 1016771"/>
                    <a:gd name="connsiteX235" fmla="*/ 67312 w 761692"/>
                    <a:gd name="connsiteY235" fmla="*/ 311763 h 1016771"/>
                    <a:gd name="connsiteX236" fmla="*/ 67312 w 761692"/>
                    <a:gd name="connsiteY236" fmla="*/ 309991 h 1016771"/>
                    <a:gd name="connsiteX237" fmla="*/ 67312 w 761692"/>
                    <a:gd name="connsiteY237" fmla="*/ 308220 h 1016771"/>
                    <a:gd name="connsiteX238" fmla="*/ 69084 w 761692"/>
                    <a:gd name="connsiteY238" fmla="*/ 302906 h 1016771"/>
                    <a:gd name="connsiteX239" fmla="*/ 70855 w 761692"/>
                    <a:gd name="connsiteY239" fmla="*/ 301134 h 1016771"/>
                    <a:gd name="connsiteX240" fmla="*/ 70855 w 761692"/>
                    <a:gd name="connsiteY240" fmla="*/ 299363 h 1016771"/>
                    <a:gd name="connsiteX241" fmla="*/ 77941 w 761692"/>
                    <a:gd name="connsiteY241" fmla="*/ 295820 h 1016771"/>
                    <a:gd name="connsiteX242" fmla="*/ 85026 w 761692"/>
                    <a:gd name="connsiteY242" fmla="*/ 295820 h 1016771"/>
                    <a:gd name="connsiteX243" fmla="*/ 93883 w 761692"/>
                    <a:gd name="connsiteY243" fmla="*/ 297592 h 1016771"/>
                    <a:gd name="connsiteX244" fmla="*/ 100968 w 761692"/>
                    <a:gd name="connsiteY244" fmla="*/ 288735 h 1016771"/>
                    <a:gd name="connsiteX245" fmla="*/ 97426 w 761692"/>
                    <a:gd name="connsiteY245" fmla="*/ 279878 h 1016771"/>
                    <a:gd name="connsiteX246" fmla="*/ 85026 w 761692"/>
                    <a:gd name="connsiteY246" fmla="*/ 276335 h 1016771"/>
                    <a:gd name="connsiteX247" fmla="*/ 76169 w 761692"/>
                    <a:gd name="connsiteY247" fmla="*/ 271021 h 1016771"/>
                    <a:gd name="connsiteX248" fmla="*/ 76169 w 761692"/>
                    <a:gd name="connsiteY248" fmla="*/ 262164 h 1016771"/>
                    <a:gd name="connsiteX249" fmla="*/ 81483 w 761692"/>
                    <a:gd name="connsiteY249" fmla="*/ 251536 h 1016771"/>
                    <a:gd name="connsiteX250" fmla="*/ 86797 w 761692"/>
                    <a:gd name="connsiteY250" fmla="*/ 255079 h 1016771"/>
                    <a:gd name="connsiteX251" fmla="*/ 104511 w 761692"/>
                    <a:gd name="connsiteY251" fmla="*/ 262164 h 1016771"/>
                    <a:gd name="connsiteX252" fmla="*/ 116911 w 761692"/>
                    <a:gd name="connsiteY252" fmla="*/ 265707 h 1016771"/>
                    <a:gd name="connsiteX253" fmla="*/ 132853 w 761692"/>
                    <a:gd name="connsiteY253" fmla="*/ 269250 h 1016771"/>
                    <a:gd name="connsiteX254" fmla="*/ 138167 w 761692"/>
                    <a:gd name="connsiteY254" fmla="*/ 265707 h 1016771"/>
                    <a:gd name="connsiteX255" fmla="*/ 150567 w 761692"/>
                    <a:gd name="connsiteY255" fmla="*/ 255079 h 1016771"/>
                    <a:gd name="connsiteX256" fmla="*/ 166509 w 761692"/>
                    <a:gd name="connsiteY256" fmla="*/ 255079 h 1016771"/>
                    <a:gd name="connsiteX257" fmla="*/ 166509 w 761692"/>
                    <a:gd name="connsiteY257" fmla="*/ 265707 h 1016771"/>
                    <a:gd name="connsiteX258" fmla="*/ 177138 w 761692"/>
                    <a:gd name="connsiteY258" fmla="*/ 272792 h 1016771"/>
                    <a:gd name="connsiteX259" fmla="*/ 194851 w 761692"/>
                    <a:gd name="connsiteY259" fmla="*/ 276335 h 1016771"/>
                    <a:gd name="connsiteX260" fmla="*/ 209022 w 761692"/>
                    <a:gd name="connsiteY260" fmla="*/ 279878 h 1016771"/>
                    <a:gd name="connsiteX261" fmla="*/ 221422 w 761692"/>
                    <a:gd name="connsiteY261" fmla="*/ 276335 h 1016771"/>
                    <a:gd name="connsiteX262" fmla="*/ 226736 w 761692"/>
                    <a:gd name="connsiteY262" fmla="*/ 269250 h 1016771"/>
                    <a:gd name="connsiteX263" fmla="*/ 226736 w 761692"/>
                    <a:gd name="connsiteY263" fmla="*/ 251536 h 1016771"/>
                    <a:gd name="connsiteX264" fmla="*/ 224965 w 761692"/>
                    <a:gd name="connsiteY264" fmla="*/ 239136 h 1016771"/>
                    <a:gd name="connsiteX265" fmla="*/ 214337 w 761692"/>
                    <a:gd name="connsiteY265" fmla="*/ 230279 h 1016771"/>
                    <a:gd name="connsiteX266" fmla="*/ 210794 w 761692"/>
                    <a:gd name="connsiteY266" fmla="*/ 217880 h 1016771"/>
                    <a:gd name="connsiteX267" fmla="*/ 221422 w 761692"/>
                    <a:gd name="connsiteY267" fmla="*/ 207251 h 1016771"/>
                    <a:gd name="connsiteX268" fmla="*/ 235593 w 761692"/>
                    <a:gd name="connsiteY268" fmla="*/ 214337 h 1016771"/>
                    <a:gd name="connsiteX269" fmla="*/ 246221 w 761692"/>
                    <a:gd name="connsiteY269" fmla="*/ 219651 h 1016771"/>
                    <a:gd name="connsiteX270" fmla="*/ 253307 w 761692"/>
                    <a:gd name="connsiteY270" fmla="*/ 221422 h 1016771"/>
                    <a:gd name="connsiteX271" fmla="*/ 262164 w 761692"/>
                    <a:gd name="connsiteY271" fmla="*/ 210794 h 1016771"/>
                    <a:gd name="connsiteX272" fmla="*/ 263935 w 761692"/>
                    <a:gd name="connsiteY272" fmla="*/ 201937 h 1016771"/>
                    <a:gd name="connsiteX273" fmla="*/ 274563 w 761692"/>
                    <a:gd name="connsiteY273" fmla="*/ 189538 h 1016771"/>
                    <a:gd name="connsiteX274" fmla="*/ 283420 w 761692"/>
                    <a:gd name="connsiteY274" fmla="*/ 178909 h 1016771"/>
                    <a:gd name="connsiteX275" fmla="*/ 286963 w 761692"/>
                    <a:gd name="connsiteY275" fmla="*/ 173595 h 1016771"/>
                    <a:gd name="connsiteX276" fmla="*/ 311762 w 761692"/>
                    <a:gd name="connsiteY276" fmla="*/ 168281 h 1016771"/>
                    <a:gd name="connsiteX277" fmla="*/ 325933 w 761692"/>
                    <a:gd name="connsiteY277" fmla="*/ 164738 h 1016771"/>
                    <a:gd name="connsiteX278" fmla="*/ 336562 w 761692"/>
                    <a:gd name="connsiteY278" fmla="*/ 159424 h 1016771"/>
                    <a:gd name="connsiteX279" fmla="*/ 348961 w 761692"/>
                    <a:gd name="connsiteY279" fmla="*/ 145253 h 1016771"/>
                    <a:gd name="connsiteX280" fmla="*/ 359589 w 761692"/>
                    <a:gd name="connsiteY280" fmla="*/ 143482 h 1016771"/>
                    <a:gd name="connsiteX281" fmla="*/ 371989 w 761692"/>
                    <a:gd name="connsiteY281" fmla="*/ 143482 h 1016771"/>
                    <a:gd name="connsiteX282" fmla="*/ 391474 w 761692"/>
                    <a:gd name="connsiteY282" fmla="*/ 143482 h 1016771"/>
                    <a:gd name="connsiteX283" fmla="*/ 396788 w 761692"/>
                    <a:gd name="connsiteY283" fmla="*/ 141710 h 1016771"/>
                    <a:gd name="connsiteX284" fmla="*/ 403874 w 761692"/>
                    <a:gd name="connsiteY284" fmla="*/ 134625 h 1016771"/>
                    <a:gd name="connsiteX285" fmla="*/ 409188 w 761692"/>
                    <a:gd name="connsiteY285" fmla="*/ 129311 h 1016771"/>
                    <a:gd name="connsiteX286" fmla="*/ 409188 w 761692"/>
                    <a:gd name="connsiteY286" fmla="*/ 123997 h 1016771"/>
                    <a:gd name="connsiteX287" fmla="*/ 414502 w 761692"/>
                    <a:gd name="connsiteY287" fmla="*/ 115140 h 1016771"/>
                    <a:gd name="connsiteX288" fmla="*/ 428673 w 761692"/>
                    <a:gd name="connsiteY288" fmla="*/ 115140 h 1016771"/>
                    <a:gd name="connsiteX289" fmla="*/ 432216 w 761692"/>
                    <a:gd name="connsiteY289" fmla="*/ 109826 h 1016771"/>
                    <a:gd name="connsiteX290" fmla="*/ 437530 w 761692"/>
                    <a:gd name="connsiteY290" fmla="*/ 100969 h 1016771"/>
                    <a:gd name="connsiteX291" fmla="*/ 448158 w 761692"/>
                    <a:gd name="connsiteY291" fmla="*/ 99197 h 1016771"/>
                    <a:gd name="connsiteX292" fmla="*/ 460558 w 761692"/>
                    <a:gd name="connsiteY292" fmla="*/ 97426 h 1016771"/>
                    <a:gd name="connsiteX293" fmla="*/ 472958 w 761692"/>
                    <a:gd name="connsiteY293" fmla="*/ 93883 h 1016771"/>
                    <a:gd name="connsiteX294" fmla="*/ 492443 w 761692"/>
                    <a:gd name="connsiteY294" fmla="*/ 93883 h 1016771"/>
                    <a:gd name="connsiteX295" fmla="*/ 501300 w 761692"/>
                    <a:gd name="connsiteY295" fmla="*/ 83255 h 1016771"/>
                    <a:gd name="connsiteX296" fmla="*/ 517242 w 761692"/>
                    <a:gd name="connsiteY296" fmla="*/ 81484 h 1016771"/>
                    <a:gd name="connsiteX297" fmla="*/ 522556 w 761692"/>
                    <a:gd name="connsiteY297" fmla="*/ 81484 h 1016771"/>
                    <a:gd name="connsiteX298" fmla="*/ 522556 w 761692"/>
                    <a:gd name="connsiteY298" fmla="*/ 60227 h 1016771"/>
                    <a:gd name="connsiteX299" fmla="*/ 526099 w 761692"/>
                    <a:gd name="connsiteY299" fmla="*/ 54913 h 1016771"/>
                    <a:gd name="connsiteX300" fmla="*/ 529642 w 761692"/>
                    <a:gd name="connsiteY300" fmla="*/ 46056 h 1016771"/>
                    <a:gd name="connsiteX301" fmla="*/ 538499 w 761692"/>
                    <a:gd name="connsiteY301" fmla="*/ 40742 h 1016771"/>
                    <a:gd name="connsiteX302" fmla="*/ 540270 w 761692"/>
                    <a:gd name="connsiteY302" fmla="*/ 30114 h 1016771"/>
                    <a:gd name="connsiteX303" fmla="*/ 536727 w 761692"/>
                    <a:gd name="connsiteY303" fmla="*/ 19485 h 1016771"/>
                    <a:gd name="connsiteX304" fmla="*/ 543813 w 761692"/>
                    <a:gd name="connsiteY304" fmla="*/ 5314 h 1016771"/>
                    <a:gd name="connsiteX305" fmla="*/ 554441 w 761692"/>
                    <a:gd name="connsiteY305" fmla="*/ 0 h 1016771"/>
                    <a:gd name="connsiteX0" fmla="*/ 159250 w 761692"/>
                    <a:gd name="connsiteY0" fmla="*/ 82917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8167 w 761692"/>
                    <a:gd name="connsiteY9" fmla="*/ 852033 h 1016771"/>
                    <a:gd name="connsiteX10" fmla="*/ 139939 w 761692"/>
                    <a:gd name="connsiteY10" fmla="*/ 850262 h 1016771"/>
                    <a:gd name="connsiteX11" fmla="*/ 145253 w 761692"/>
                    <a:gd name="connsiteY11" fmla="*/ 843176 h 1016771"/>
                    <a:gd name="connsiteX12" fmla="*/ 147024 w 761692"/>
                    <a:gd name="connsiteY12" fmla="*/ 841405 h 1016771"/>
                    <a:gd name="connsiteX13" fmla="*/ 148796 w 761692"/>
                    <a:gd name="connsiteY13" fmla="*/ 839633 h 1016771"/>
                    <a:gd name="connsiteX14" fmla="*/ 159250 w 761692"/>
                    <a:gd name="connsiteY14" fmla="*/ 829179 h 1016771"/>
                    <a:gd name="connsiteX15" fmla="*/ 116476 w 761692"/>
                    <a:gd name="connsiteY15" fmla="*/ 741349 h 1016771"/>
                    <a:gd name="connsiteX16" fmla="*/ 117606 w 761692"/>
                    <a:gd name="connsiteY16" fmla="*/ 742253 h 1016771"/>
                    <a:gd name="connsiteX17" fmla="*/ 122692 w 761692"/>
                    <a:gd name="connsiteY17" fmla="*/ 759206 h 1016771"/>
                    <a:gd name="connsiteX18" fmla="*/ 126082 w 761692"/>
                    <a:gd name="connsiteY18" fmla="*/ 771073 h 1016771"/>
                    <a:gd name="connsiteX19" fmla="*/ 129473 w 761692"/>
                    <a:gd name="connsiteY19" fmla="*/ 782940 h 1016771"/>
                    <a:gd name="connsiteX20" fmla="*/ 132864 w 761692"/>
                    <a:gd name="connsiteY20" fmla="*/ 793112 h 1016771"/>
                    <a:gd name="connsiteX21" fmla="*/ 136254 w 761692"/>
                    <a:gd name="connsiteY21" fmla="*/ 810066 h 1016771"/>
                    <a:gd name="connsiteX22" fmla="*/ 139058 w 761692"/>
                    <a:gd name="connsiteY22" fmla="*/ 818476 h 1016771"/>
                    <a:gd name="connsiteX23" fmla="*/ 138167 w 761692"/>
                    <a:gd name="connsiteY23" fmla="*/ 818377 h 1016771"/>
                    <a:gd name="connsiteX24" fmla="*/ 134625 w 761692"/>
                    <a:gd name="connsiteY24" fmla="*/ 807749 h 1016771"/>
                    <a:gd name="connsiteX25" fmla="*/ 131082 w 761692"/>
                    <a:gd name="connsiteY25" fmla="*/ 790035 h 1016771"/>
                    <a:gd name="connsiteX26" fmla="*/ 127539 w 761692"/>
                    <a:gd name="connsiteY26" fmla="*/ 779407 h 1016771"/>
                    <a:gd name="connsiteX27" fmla="*/ 123996 w 761692"/>
                    <a:gd name="connsiteY27" fmla="*/ 767007 h 1016771"/>
                    <a:gd name="connsiteX28" fmla="*/ 120454 w 761692"/>
                    <a:gd name="connsiteY28" fmla="*/ 754607 h 1016771"/>
                    <a:gd name="connsiteX29" fmla="*/ 116476 w 761692"/>
                    <a:gd name="connsiteY29" fmla="*/ 741349 h 1016771"/>
                    <a:gd name="connsiteX30" fmla="*/ 554441 w 761692"/>
                    <a:gd name="connsiteY30" fmla="*/ 0 h 1016771"/>
                    <a:gd name="connsiteX31" fmla="*/ 570383 w 761692"/>
                    <a:gd name="connsiteY31" fmla="*/ 3543 h 1016771"/>
                    <a:gd name="connsiteX32" fmla="*/ 577469 w 761692"/>
                    <a:gd name="connsiteY32" fmla="*/ 8857 h 1016771"/>
                    <a:gd name="connsiteX33" fmla="*/ 582783 w 761692"/>
                    <a:gd name="connsiteY33" fmla="*/ 17714 h 1016771"/>
                    <a:gd name="connsiteX34" fmla="*/ 582783 w 761692"/>
                    <a:gd name="connsiteY34" fmla="*/ 24799 h 1016771"/>
                    <a:gd name="connsiteX35" fmla="*/ 588097 w 761692"/>
                    <a:gd name="connsiteY35" fmla="*/ 33656 h 1016771"/>
                    <a:gd name="connsiteX36" fmla="*/ 598725 w 761692"/>
                    <a:gd name="connsiteY36" fmla="*/ 31885 h 1016771"/>
                    <a:gd name="connsiteX37" fmla="*/ 612896 w 761692"/>
                    <a:gd name="connsiteY37" fmla="*/ 37199 h 1016771"/>
                    <a:gd name="connsiteX38" fmla="*/ 618211 w 761692"/>
                    <a:gd name="connsiteY38" fmla="*/ 46056 h 1016771"/>
                    <a:gd name="connsiteX39" fmla="*/ 619982 w 761692"/>
                    <a:gd name="connsiteY39" fmla="*/ 54913 h 1016771"/>
                    <a:gd name="connsiteX40" fmla="*/ 618211 w 761692"/>
                    <a:gd name="connsiteY40" fmla="*/ 74398 h 1016771"/>
                    <a:gd name="connsiteX41" fmla="*/ 616439 w 761692"/>
                    <a:gd name="connsiteY41" fmla="*/ 85026 h 1016771"/>
                    <a:gd name="connsiteX42" fmla="*/ 621753 w 761692"/>
                    <a:gd name="connsiteY42" fmla="*/ 97426 h 1016771"/>
                    <a:gd name="connsiteX43" fmla="*/ 637696 w 761692"/>
                    <a:gd name="connsiteY43" fmla="*/ 113368 h 1016771"/>
                    <a:gd name="connsiteX44" fmla="*/ 644781 w 761692"/>
                    <a:gd name="connsiteY44" fmla="*/ 120454 h 1016771"/>
                    <a:gd name="connsiteX45" fmla="*/ 650095 w 761692"/>
                    <a:gd name="connsiteY45" fmla="*/ 136396 h 1016771"/>
                    <a:gd name="connsiteX46" fmla="*/ 655409 w 761692"/>
                    <a:gd name="connsiteY46" fmla="*/ 155881 h 1016771"/>
                    <a:gd name="connsiteX47" fmla="*/ 662495 w 761692"/>
                    <a:gd name="connsiteY47" fmla="*/ 171824 h 1016771"/>
                    <a:gd name="connsiteX48" fmla="*/ 660724 w 761692"/>
                    <a:gd name="connsiteY48" fmla="*/ 185995 h 1016771"/>
                    <a:gd name="connsiteX49" fmla="*/ 635924 w 761692"/>
                    <a:gd name="connsiteY49" fmla="*/ 194852 h 1016771"/>
                    <a:gd name="connsiteX50" fmla="*/ 619982 w 761692"/>
                    <a:gd name="connsiteY50" fmla="*/ 207251 h 1016771"/>
                    <a:gd name="connsiteX51" fmla="*/ 614668 w 761692"/>
                    <a:gd name="connsiteY51" fmla="*/ 223194 h 1016771"/>
                    <a:gd name="connsiteX52" fmla="*/ 618211 w 761692"/>
                    <a:gd name="connsiteY52" fmla="*/ 242679 h 1016771"/>
                    <a:gd name="connsiteX53" fmla="*/ 612896 w 761692"/>
                    <a:gd name="connsiteY53" fmla="*/ 256850 h 1016771"/>
                    <a:gd name="connsiteX54" fmla="*/ 625296 w 761692"/>
                    <a:gd name="connsiteY54" fmla="*/ 267478 h 1016771"/>
                    <a:gd name="connsiteX55" fmla="*/ 641238 w 761692"/>
                    <a:gd name="connsiteY55" fmla="*/ 269250 h 1016771"/>
                    <a:gd name="connsiteX56" fmla="*/ 658952 w 761692"/>
                    <a:gd name="connsiteY56" fmla="*/ 286963 h 1016771"/>
                    <a:gd name="connsiteX57" fmla="*/ 653638 w 761692"/>
                    <a:gd name="connsiteY57" fmla="*/ 309991 h 1016771"/>
                    <a:gd name="connsiteX58" fmla="*/ 653638 w 761692"/>
                    <a:gd name="connsiteY58" fmla="*/ 329476 h 1016771"/>
                    <a:gd name="connsiteX59" fmla="*/ 643010 w 761692"/>
                    <a:gd name="connsiteY59" fmla="*/ 338333 h 1016771"/>
                    <a:gd name="connsiteX60" fmla="*/ 632382 w 761692"/>
                    <a:gd name="connsiteY60" fmla="*/ 338333 h 1016771"/>
                    <a:gd name="connsiteX61" fmla="*/ 618211 w 761692"/>
                    <a:gd name="connsiteY61" fmla="*/ 357819 h 1016771"/>
                    <a:gd name="connsiteX62" fmla="*/ 609354 w 761692"/>
                    <a:gd name="connsiteY62" fmla="*/ 361361 h 1016771"/>
                    <a:gd name="connsiteX63" fmla="*/ 596954 w 761692"/>
                    <a:gd name="connsiteY63" fmla="*/ 363133 h 1016771"/>
                    <a:gd name="connsiteX64" fmla="*/ 581012 w 761692"/>
                    <a:gd name="connsiteY64" fmla="*/ 379075 h 1016771"/>
                    <a:gd name="connsiteX65" fmla="*/ 589868 w 761692"/>
                    <a:gd name="connsiteY65" fmla="*/ 393246 h 1016771"/>
                    <a:gd name="connsiteX66" fmla="*/ 586326 w 761692"/>
                    <a:gd name="connsiteY66" fmla="*/ 409189 h 1016771"/>
                    <a:gd name="connsiteX67" fmla="*/ 570383 w 761692"/>
                    <a:gd name="connsiteY67" fmla="*/ 398560 h 1016771"/>
                    <a:gd name="connsiteX68" fmla="*/ 550898 w 761692"/>
                    <a:gd name="connsiteY68" fmla="*/ 405646 h 1016771"/>
                    <a:gd name="connsiteX69" fmla="*/ 531413 w 761692"/>
                    <a:gd name="connsiteY69" fmla="*/ 425131 h 1016771"/>
                    <a:gd name="connsiteX70" fmla="*/ 543813 w 761692"/>
                    <a:gd name="connsiteY70" fmla="*/ 444616 h 1016771"/>
                    <a:gd name="connsiteX71" fmla="*/ 557984 w 761692"/>
                    <a:gd name="connsiteY71" fmla="*/ 462330 h 1016771"/>
                    <a:gd name="connsiteX72" fmla="*/ 570383 w 761692"/>
                    <a:gd name="connsiteY72" fmla="*/ 478272 h 1016771"/>
                    <a:gd name="connsiteX73" fmla="*/ 579240 w 761692"/>
                    <a:gd name="connsiteY73" fmla="*/ 485358 h 1016771"/>
                    <a:gd name="connsiteX74" fmla="*/ 602268 w 761692"/>
                    <a:gd name="connsiteY74" fmla="*/ 483586 h 1016771"/>
                    <a:gd name="connsiteX75" fmla="*/ 623525 w 761692"/>
                    <a:gd name="connsiteY75" fmla="*/ 474730 h 1016771"/>
                    <a:gd name="connsiteX76" fmla="*/ 639467 w 761692"/>
                    <a:gd name="connsiteY76" fmla="*/ 464101 h 1016771"/>
                    <a:gd name="connsiteX77" fmla="*/ 662495 w 761692"/>
                    <a:gd name="connsiteY77" fmla="*/ 464101 h 1016771"/>
                    <a:gd name="connsiteX78" fmla="*/ 673123 w 761692"/>
                    <a:gd name="connsiteY78" fmla="*/ 464101 h 1016771"/>
                    <a:gd name="connsiteX79" fmla="*/ 681980 w 761692"/>
                    <a:gd name="connsiteY79" fmla="*/ 467644 h 1016771"/>
                    <a:gd name="connsiteX80" fmla="*/ 703237 w 761692"/>
                    <a:gd name="connsiteY80" fmla="*/ 471187 h 1016771"/>
                    <a:gd name="connsiteX81" fmla="*/ 708551 w 761692"/>
                    <a:gd name="connsiteY81" fmla="*/ 474730 h 1016771"/>
                    <a:gd name="connsiteX82" fmla="*/ 722722 w 761692"/>
                    <a:gd name="connsiteY82" fmla="*/ 501300 h 1016771"/>
                    <a:gd name="connsiteX83" fmla="*/ 724493 w 761692"/>
                    <a:gd name="connsiteY83" fmla="*/ 522557 h 1016771"/>
                    <a:gd name="connsiteX84" fmla="*/ 722722 w 761692"/>
                    <a:gd name="connsiteY84" fmla="*/ 540271 h 1016771"/>
                    <a:gd name="connsiteX85" fmla="*/ 735121 w 761692"/>
                    <a:gd name="connsiteY85" fmla="*/ 552670 h 1016771"/>
                    <a:gd name="connsiteX86" fmla="*/ 735121 w 761692"/>
                    <a:gd name="connsiteY86" fmla="*/ 570384 h 1016771"/>
                    <a:gd name="connsiteX87" fmla="*/ 751064 w 761692"/>
                    <a:gd name="connsiteY87" fmla="*/ 581012 h 1016771"/>
                    <a:gd name="connsiteX88" fmla="*/ 761692 w 761692"/>
                    <a:gd name="connsiteY88" fmla="*/ 604040 h 1016771"/>
                    <a:gd name="connsiteX89" fmla="*/ 747521 w 761692"/>
                    <a:gd name="connsiteY89" fmla="*/ 616440 h 1016771"/>
                    <a:gd name="connsiteX90" fmla="*/ 728036 w 761692"/>
                    <a:gd name="connsiteY90" fmla="*/ 627068 h 1016771"/>
                    <a:gd name="connsiteX91" fmla="*/ 726264 w 761692"/>
                    <a:gd name="connsiteY91" fmla="*/ 650096 h 1016771"/>
                    <a:gd name="connsiteX92" fmla="*/ 728036 w 761692"/>
                    <a:gd name="connsiteY92" fmla="*/ 673124 h 1016771"/>
                    <a:gd name="connsiteX93" fmla="*/ 742207 w 761692"/>
                    <a:gd name="connsiteY93" fmla="*/ 689066 h 1016771"/>
                    <a:gd name="connsiteX94" fmla="*/ 742207 w 761692"/>
                    <a:gd name="connsiteY94" fmla="*/ 712094 h 1016771"/>
                    <a:gd name="connsiteX95" fmla="*/ 740435 w 761692"/>
                    <a:gd name="connsiteY95" fmla="*/ 735122 h 1016771"/>
                    <a:gd name="connsiteX96" fmla="*/ 742207 w 761692"/>
                    <a:gd name="connsiteY96" fmla="*/ 751065 h 1016771"/>
                    <a:gd name="connsiteX97" fmla="*/ 747521 w 761692"/>
                    <a:gd name="connsiteY97" fmla="*/ 768778 h 1016771"/>
                    <a:gd name="connsiteX98" fmla="*/ 759921 w 761692"/>
                    <a:gd name="connsiteY98" fmla="*/ 777635 h 1016771"/>
                    <a:gd name="connsiteX99" fmla="*/ 758149 w 761692"/>
                    <a:gd name="connsiteY99" fmla="*/ 802434 h 1016771"/>
                    <a:gd name="connsiteX100" fmla="*/ 752835 w 761692"/>
                    <a:gd name="connsiteY100" fmla="*/ 814834 h 1016771"/>
                    <a:gd name="connsiteX101" fmla="*/ 743978 w 761692"/>
                    <a:gd name="connsiteY101" fmla="*/ 827234 h 1016771"/>
                    <a:gd name="connsiteX102" fmla="*/ 743978 w 761692"/>
                    <a:gd name="connsiteY102" fmla="*/ 837862 h 1016771"/>
                    <a:gd name="connsiteX103" fmla="*/ 747521 w 761692"/>
                    <a:gd name="connsiteY103" fmla="*/ 853804 h 1016771"/>
                    <a:gd name="connsiteX104" fmla="*/ 733350 w 761692"/>
                    <a:gd name="connsiteY104" fmla="*/ 867975 h 1016771"/>
                    <a:gd name="connsiteX105" fmla="*/ 724493 w 761692"/>
                    <a:gd name="connsiteY105" fmla="*/ 880375 h 1016771"/>
                    <a:gd name="connsiteX106" fmla="*/ 722722 w 761692"/>
                    <a:gd name="connsiteY106" fmla="*/ 899860 h 1016771"/>
                    <a:gd name="connsiteX107" fmla="*/ 722722 w 761692"/>
                    <a:gd name="connsiteY107" fmla="*/ 919345 h 1016771"/>
                    <a:gd name="connsiteX108" fmla="*/ 715636 w 761692"/>
                    <a:gd name="connsiteY108" fmla="*/ 940602 h 1016771"/>
                    <a:gd name="connsiteX109" fmla="*/ 708551 w 761692"/>
                    <a:gd name="connsiteY109" fmla="*/ 954773 h 1016771"/>
                    <a:gd name="connsiteX110" fmla="*/ 699694 w 761692"/>
                    <a:gd name="connsiteY110" fmla="*/ 965401 h 1016771"/>
                    <a:gd name="connsiteX111" fmla="*/ 692608 w 761692"/>
                    <a:gd name="connsiteY111" fmla="*/ 984886 h 1016771"/>
                    <a:gd name="connsiteX112" fmla="*/ 683751 w 761692"/>
                    <a:gd name="connsiteY112" fmla="*/ 997286 h 1016771"/>
                    <a:gd name="connsiteX113" fmla="*/ 673123 w 761692"/>
                    <a:gd name="connsiteY113" fmla="*/ 1002600 h 1016771"/>
                    <a:gd name="connsiteX114" fmla="*/ 662495 w 761692"/>
                    <a:gd name="connsiteY114" fmla="*/ 1013228 h 1016771"/>
                    <a:gd name="connsiteX115" fmla="*/ 644781 w 761692"/>
                    <a:gd name="connsiteY115" fmla="*/ 1016771 h 1016771"/>
                    <a:gd name="connsiteX116" fmla="*/ 635924 w 761692"/>
                    <a:gd name="connsiteY116" fmla="*/ 1004372 h 1016771"/>
                    <a:gd name="connsiteX117" fmla="*/ 623525 w 761692"/>
                    <a:gd name="connsiteY117" fmla="*/ 997286 h 1016771"/>
                    <a:gd name="connsiteX118" fmla="*/ 614668 w 761692"/>
                    <a:gd name="connsiteY118" fmla="*/ 986658 h 1016771"/>
                    <a:gd name="connsiteX119" fmla="*/ 593411 w 761692"/>
                    <a:gd name="connsiteY119" fmla="*/ 970715 h 1016771"/>
                    <a:gd name="connsiteX120" fmla="*/ 582783 w 761692"/>
                    <a:gd name="connsiteY120" fmla="*/ 965401 h 1016771"/>
                    <a:gd name="connsiteX121" fmla="*/ 531413 w 761692"/>
                    <a:gd name="connsiteY121" fmla="*/ 965401 h 1016771"/>
                    <a:gd name="connsiteX122" fmla="*/ 511928 w 761692"/>
                    <a:gd name="connsiteY122" fmla="*/ 965401 h 1016771"/>
                    <a:gd name="connsiteX123" fmla="*/ 492443 w 761692"/>
                    <a:gd name="connsiteY123" fmla="*/ 963630 h 1016771"/>
                    <a:gd name="connsiteX124" fmla="*/ 483586 w 761692"/>
                    <a:gd name="connsiteY124" fmla="*/ 958316 h 1016771"/>
                    <a:gd name="connsiteX125" fmla="*/ 469415 w 761692"/>
                    <a:gd name="connsiteY125" fmla="*/ 954773 h 1016771"/>
                    <a:gd name="connsiteX126" fmla="*/ 460558 w 761692"/>
                    <a:gd name="connsiteY126" fmla="*/ 942373 h 1016771"/>
                    <a:gd name="connsiteX127" fmla="*/ 446387 w 761692"/>
                    <a:gd name="connsiteY127" fmla="*/ 935288 h 1016771"/>
                    <a:gd name="connsiteX128" fmla="*/ 428673 w 761692"/>
                    <a:gd name="connsiteY128" fmla="*/ 928202 h 1016771"/>
                    <a:gd name="connsiteX129" fmla="*/ 418045 w 761692"/>
                    <a:gd name="connsiteY129" fmla="*/ 917574 h 1016771"/>
                    <a:gd name="connsiteX130" fmla="*/ 421588 w 761692"/>
                    <a:gd name="connsiteY130" fmla="*/ 903403 h 1016771"/>
                    <a:gd name="connsiteX131" fmla="*/ 418045 w 761692"/>
                    <a:gd name="connsiteY131" fmla="*/ 898089 h 1016771"/>
                    <a:gd name="connsiteX132" fmla="*/ 396788 w 761692"/>
                    <a:gd name="connsiteY132" fmla="*/ 898089 h 1016771"/>
                    <a:gd name="connsiteX133" fmla="*/ 382617 w 761692"/>
                    <a:gd name="connsiteY133" fmla="*/ 896318 h 1016771"/>
                    <a:gd name="connsiteX134" fmla="*/ 380846 w 761692"/>
                    <a:gd name="connsiteY134" fmla="*/ 906946 h 1016771"/>
                    <a:gd name="connsiteX135" fmla="*/ 373601 w 761692"/>
                    <a:gd name="connsiteY135" fmla="*/ 894832 h 1016771"/>
                    <a:gd name="connsiteX136" fmla="*/ 387164 w 761692"/>
                    <a:gd name="connsiteY136" fmla="*/ 896527 h 1016771"/>
                    <a:gd name="connsiteX137" fmla="*/ 383773 w 761692"/>
                    <a:gd name="connsiteY137" fmla="*/ 886355 h 1016771"/>
                    <a:gd name="connsiteX138" fmla="*/ 387164 w 761692"/>
                    <a:gd name="connsiteY138" fmla="*/ 876183 h 1016771"/>
                    <a:gd name="connsiteX139" fmla="*/ 388859 w 761692"/>
                    <a:gd name="connsiteY139" fmla="*/ 867707 h 1016771"/>
                    <a:gd name="connsiteX140" fmla="*/ 380382 w 761692"/>
                    <a:gd name="connsiteY140" fmla="*/ 859230 h 1016771"/>
                    <a:gd name="connsiteX141" fmla="*/ 373601 w 761692"/>
                    <a:gd name="connsiteY141" fmla="*/ 849058 h 1016771"/>
                    <a:gd name="connsiteX142" fmla="*/ 380382 w 761692"/>
                    <a:gd name="connsiteY142" fmla="*/ 838886 h 1016771"/>
                    <a:gd name="connsiteX143" fmla="*/ 383773 w 761692"/>
                    <a:gd name="connsiteY143" fmla="*/ 833800 h 1016771"/>
                    <a:gd name="connsiteX144" fmla="*/ 388859 w 761692"/>
                    <a:gd name="connsiteY144" fmla="*/ 825324 h 1016771"/>
                    <a:gd name="connsiteX145" fmla="*/ 387164 w 761692"/>
                    <a:gd name="connsiteY145" fmla="*/ 810066 h 1016771"/>
                    <a:gd name="connsiteX146" fmla="*/ 387164 w 761692"/>
                    <a:gd name="connsiteY146" fmla="*/ 796503 h 1016771"/>
                    <a:gd name="connsiteX147" fmla="*/ 378687 w 761692"/>
                    <a:gd name="connsiteY147" fmla="*/ 789722 h 1016771"/>
                    <a:gd name="connsiteX148" fmla="*/ 366820 w 761692"/>
                    <a:gd name="connsiteY148" fmla="*/ 782940 h 1016771"/>
                    <a:gd name="connsiteX149" fmla="*/ 356648 w 761692"/>
                    <a:gd name="connsiteY149" fmla="*/ 781245 h 1016771"/>
                    <a:gd name="connsiteX150" fmla="*/ 349866 w 761692"/>
                    <a:gd name="connsiteY150" fmla="*/ 771073 h 1016771"/>
                    <a:gd name="connsiteX151" fmla="*/ 349866 w 761692"/>
                    <a:gd name="connsiteY151" fmla="*/ 752425 h 1016771"/>
                    <a:gd name="connsiteX152" fmla="*/ 353257 w 761692"/>
                    <a:gd name="connsiteY152" fmla="*/ 743948 h 1016771"/>
                    <a:gd name="connsiteX153" fmla="*/ 354952 w 761692"/>
                    <a:gd name="connsiteY153" fmla="*/ 730385 h 1016771"/>
                    <a:gd name="connsiteX154" fmla="*/ 353257 w 761692"/>
                    <a:gd name="connsiteY154" fmla="*/ 713432 h 1016771"/>
                    <a:gd name="connsiteX155" fmla="*/ 346476 w 761692"/>
                    <a:gd name="connsiteY155" fmla="*/ 701565 h 1016771"/>
                    <a:gd name="connsiteX156" fmla="*/ 332913 w 761692"/>
                    <a:gd name="connsiteY156" fmla="*/ 689697 h 1016771"/>
                    <a:gd name="connsiteX157" fmla="*/ 324436 w 761692"/>
                    <a:gd name="connsiteY157" fmla="*/ 681221 h 1016771"/>
                    <a:gd name="connsiteX158" fmla="*/ 314264 w 761692"/>
                    <a:gd name="connsiteY158" fmla="*/ 676135 h 1016771"/>
                    <a:gd name="connsiteX159" fmla="*/ 293920 w 761692"/>
                    <a:gd name="connsiteY159" fmla="*/ 669354 h 1016771"/>
                    <a:gd name="connsiteX160" fmla="*/ 282053 w 761692"/>
                    <a:gd name="connsiteY160" fmla="*/ 667658 h 1016771"/>
                    <a:gd name="connsiteX161" fmla="*/ 266795 w 761692"/>
                    <a:gd name="connsiteY161" fmla="*/ 672744 h 1016771"/>
                    <a:gd name="connsiteX162" fmla="*/ 265100 w 761692"/>
                    <a:gd name="connsiteY162" fmla="*/ 672744 h 1016771"/>
                    <a:gd name="connsiteX163" fmla="*/ 263404 w 761692"/>
                    <a:gd name="connsiteY163" fmla="*/ 671049 h 1016771"/>
                    <a:gd name="connsiteX164" fmla="*/ 260014 w 761692"/>
                    <a:gd name="connsiteY164" fmla="*/ 671049 h 1016771"/>
                    <a:gd name="connsiteX165" fmla="*/ 258318 w 761692"/>
                    <a:gd name="connsiteY165" fmla="*/ 671049 h 1016771"/>
                    <a:gd name="connsiteX166" fmla="*/ 253232 w 761692"/>
                    <a:gd name="connsiteY166" fmla="*/ 671049 h 1016771"/>
                    <a:gd name="connsiteX167" fmla="*/ 248146 w 761692"/>
                    <a:gd name="connsiteY167" fmla="*/ 672744 h 1016771"/>
                    <a:gd name="connsiteX168" fmla="*/ 248146 w 761692"/>
                    <a:gd name="connsiteY168" fmla="*/ 674440 h 1016771"/>
                    <a:gd name="connsiteX169" fmla="*/ 246451 w 761692"/>
                    <a:gd name="connsiteY169" fmla="*/ 674440 h 1016771"/>
                    <a:gd name="connsiteX170" fmla="*/ 236279 w 761692"/>
                    <a:gd name="connsiteY170" fmla="*/ 679526 h 1016771"/>
                    <a:gd name="connsiteX171" fmla="*/ 226107 w 761692"/>
                    <a:gd name="connsiteY171" fmla="*/ 684612 h 1016771"/>
                    <a:gd name="connsiteX172" fmla="*/ 217630 w 761692"/>
                    <a:gd name="connsiteY172" fmla="*/ 684612 h 1016771"/>
                    <a:gd name="connsiteX173" fmla="*/ 207458 w 761692"/>
                    <a:gd name="connsiteY173" fmla="*/ 693088 h 1016771"/>
                    <a:gd name="connsiteX174" fmla="*/ 198982 w 761692"/>
                    <a:gd name="connsiteY174" fmla="*/ 694783 h 1016771"/>
                    <a:gd name="connsiteX175" fmla="*/ 192200 w 761692"/>
                    <a:gd name="connsiteY175" fmla="*/ 699869 h 1016771"/>
                    <a:gd name="connsiteX176" fmla="*/ 178638 w 761692"/>
                    <a:gd name="connsiteY176" fmla="*/ 706651 h 1016771"/>
                    <a:gd name="connsiteX177" fmla="*/ 163380 w 761692"/>
                    <a:gd name="connsiteY177" fmla="*/ 710041 h 1016771"/>
                    <a:gd name="connsiteX178" fmla="*/ 141340 w 761692"/>
                    <a:gd name="connsiteY178" fmla="*/ 710041 h 1016771"/>
                    <a:gd name="connsiteX179" fmla="*/ 134559 w 761692"/>
                    <a:gd name="connsiteY179" fmla="*/ 716823 h 1016771"/>
                    <a:gd name="connsiteX180" fmla="*/ 127778 w 761692"/>
                    <a:gd name="connsiteY180" fmla="*/ 718518 h 1016771"/>
                    <a:gd name="connsiteX181" fmla="*/ 120996 w 761692"/>
                    <a:gd name="connsiteY181" fmla="*/ 725299 h 1016771"/>
                    <a:gd name="connsiteX182" fmla="*/ 111172 w 761692"/>
                    <a:gd name="connsiteY182" fmla="*/ 733720 h 1016771"/>
                    <a:gd name="connsiteX183" fmla="*/ 106283 w 761692"/>
                    <a:gd name="connsiteY183" fmla="*/ 729808 h 1016771"/>
                    <a:gd name="connsiteX184" fmla="*/ 92112 w 761692"/>
                    <a:gd name="connsiteY184" fmla="*/ 724494 h 1016771"/>
                    <a:gd name="connsiteX185" fmla="*/ 77941 w 761692"/>
                    <a:gd name="connsiteY185" fmla="*/ 726265 h 1016771"/>
                    <a:gd name="connsiteX186" fmla="*/ 70855 w 761692"/>
                    <a:gd name="connsiteY186" fmla="*/ 719180 h 1016771"/>
                    <a:gd name="connsiteX187" fmla="*/ 70855 w 761692"/>
                    <a:gd name="connsiteY187" fmla="*/ 699695 h 1016771"/>
                    <a:gd name="connsiteX188" fmla="*/ 81483 w 761692"/>
                    <a:gd name="connsiteY188" fmla="*/ 685524 h 1016771"/>
                    <a:gd name="connsiteX189" fmla="*/ 85026 w 761692"/>
                    <a:gd name="connsiteY189" fmla="*/ 673124 h 1016771"/>
                    <a:gd name="connsiteX190" fmla="*/ 86797 w 761692"/>
                    <a:gd name="connsiteY190" fmla="*/ 660724 h 1016771"/>
                    <a:gd name="connsiteX191" fmla="*/ 97426 w 761692"/>
                    <a:gd name="connsiteY191" fmla="*/ 650096 h 1016771"/>
                    <a:gd name="connsiteX192" fmla="*/ 102740 w 761692"/>
                    <a:gd name="connsiteY192" fmla="*/ 635925 h 1016771"/>
                    <a:gd name="connsiteX193" fmla="*/ 113368 w 761692"/>
                    <a:gd name="connsiteY193" fmla="*/ 625297 h 1016771"/>
                    <a:gd name="connsiteX194" fmla="*/ 115139 w 761692"/>
                    <a:gd name="connsiteY194" fmla="*/ 612897 h 1016771"/>
                    <a:gd name="connsiteX195" fmla="*/ 127539 w 761692"/>
                    <a:gd name="connsiteY195" fmla="*/ 609354 h 1016771"/>
                    <a:gd name="connsiteX196" fmla="*/ 136396 w 761692"/>
                    <a:gd name="connsiteY196" fmla="*/ 604040 h 1016771"/>
                    <a:gd name="connsiteX197" fmla="*/ 132853 w 761692"/>
                    <a:gd name="connsiteY197" fmla="*/ 593412 h 1016771"/>
                    <a:gd name="connsiteX198" fmla="*/ 134625 w 761692"/>
                    <a:gd name="connsiteY198" fmla="*/ 584555 h 1016771"/>
                    <a:gd name="connsiteX199" fmla="*/ 131082 w 761692"/>
                    <a:gd name="connsiteY199" fmla="*/ 575698 h 1016771"/>
                    <a:gd name="connsiteX200" fmla="*/ 120454 w 761692"/>
                    <a:gd name="connsiteY200" fmla="*/ 568613 h 1016771"/>
                    <a:gd name="connsiteX201" fmla="*/ 125768 w 761692"/>
                    <a:gd name="connsiteY201" fmla="*/ 552670 h 1016771"/>
                    <a:gd name="connsiteX202" fmla="*/ 118682 w 761692"/>
                    <a:gd name="connsiteY202" fmla="*/ 543813 h 1016771"/>
                    <a:gd name="connsiteX203" fmla="*/ 90340 w 761692"/>
                    <a:gd name="connsiteY203" fmla="*/ 543813 h 1016771"/>
                    <a:gd name="connsiteX204" fmla="*/ 86797 w 761692"/>
                    <a:gd name="connsiteY204" fmla="*/ 542042 h 1016771"/>
                    <a:gd name="connsiteX205" fmla="*/ 83255 w 761692"/>
                    <a:gd name="connsiteY205" fmla="*/ 542042 h 1016771"/>
                    <a:gd name="connsiteX206" fmla="*/ 81483 w 761692"/>
                    <a:gd name="connsiteY206" fmla="*/ 540271 h 1016771"/>
                    <a:gd name="connsiteX207" fmla="*/ 81483 w 761692"/>
                    <a:gd name="connsiteY207" fmla="*/ 536728 h 1016771"/>
                    <a:gd name="connsiteX208" fmla="*/ 79712 w 761692"/>
                    <a:gd name="connsiteY208" fmla="*/ 531414 h 1016771"/>
                    <a:gd name="connsiteX209" fmla="*/ 77941 w 761692"/>
                    <a:gd name="connsiteY209" fmla="*/ 529642 h 1016771"/>
                    <a:gd name="connsiteX210" fmla="*/ 70855 w 761692"/>
                    <a:gd name="connsiteY210" fmla="*/ 527871 h 1016771"/>
                    <a:gd name="connsiteX211" fmla="*/ 60227 w 761692"/>
                    <a:gd name="connsiteY211" fmla="*/ 536728 h 1016771"/>
                    <a:gd name="connsiteX212" fmla="*/ 47827 w 761692"/>
                    <a:gd name="connsiteY212" fmla="*/ 526100 h 1016771"/>
                    <a:gd name="connsiteX213" fmla="*/ 42513 w 761692"/>
                    <a:gd name="connsiteY213" fmla="*/ 515471 h 1016771"/>
                    <a:gd name="connsiteX214" fmla="*/ 33656 w 761692"/>
                    <a:gd name="connsiteY214" fmla="*/ 506614 h 1016771"/>
                    <a:gd name="connsiteX215" fmla="*/ 31885 w 761692"/>
                    <a:gd name="connsiteY215" fmla="*/ 490672 h 1016771"/>
                    <a:gd name="connsiteX216" fmla="*/ 26571 w 761692"/>
                    <a:gd name="connsiteY216" fmla="*/ 476501 h 1016771"/>
                    <a:gd name="connsiteX217" fmla="*/ 24799 w 761692"/>
                    <a:gd name="connsiteY217" fmla="*/ 471187 h 1016771"/>
                    <a:gd name="connsiteX218" fmla="*/ 12400 w 761692"/>
                    <a:gd name="connsiteY218" fmla="*/ 472958 h 1016771"/>
                    <a:gd name="connsiteX219" fmla="*/ 7086 w 761692"/>
                    <a:gd name="connsiteY219" fmla="*/ 464101 h 1016771"/>
                    <a:gd name="connsiteX220" fmla="*/ 8857 w 761692"/>
                    <a:gd name="connsiteY220" fmla="*/ 446388 h 1016771"/>
                    <a:gd name="connsiteX221" fmla="*/ 3543 w 761692"/>
                    <a:gd name="connsiteY221" fmla="*/ 435759 h 1016771"/>
                    <a:gd name="connsiteX222" fmla="*/ 5314 w 761692"/>
                    <a:gd name="connsiteY222" fmla="*/ 412731 h 1016771"/>
                    <a:gd name="connsiteX223" fmla="*/ 0 w 761692"/>
                    <a:gd name="connsiteY223" fmla="*/ 396789 h 1016771"/>
                    <a:gd name="connsiteX224" fmla="*/ 3543 w 761692"/>
                    <a:gd name="connsiteY224" fmla="*/ 384389 h 1016771"/>
                    <a:gd name="connsiteX225" fmla="*/ 14171 w 761692"/>
                    <a:gd name="connsiteY225" fmla="*/ 380846 h 1016771"/>
                    <a:gd name="connsiteX226" fmla="*/ 24799 w 761692"/>
                    <a:gd name="connsiteY226" fmla="*/ 364904 h 1016771"/>
                    <a:gd name="connsiteX227" fmla="*/ 30113 w 761692"/>
                    <a:gd name="connsiteY227" fmla="*/ 350733 h 1016771"/>
                    <a:gd name="connsiteX228" fmla="*/ 35428 w 761692"/>
                    <a:gd name="connsiteY228" fmla="*/ 341876 h 1016771"/>
                    <a:gd name="connsiteX229" fmla="*/ 42513 w 761692"/>
                    <a:gd name="connsiteY229" fmla="*/ 327705 h 1016771"/>
                    <a:gd name="connsiteX230" fmla="*/ 42513 w 761692"/>
                    <a:gd name="connsiteY230" fmla="*/ 315305 h 1016771"/>
                    <a:gd name="connsiteX231" fmla="*/ 56684 w 761692"/>
                    <a:gd name="connsiteY231" fmla="*/ 309991 h 1016771"/>
                    <a:gd name="connsiteX232" fmla="*/ 60227 w 761692"/>
                    <a:gd name="connsiteY232" fmla="*/ 309991 h 1016771"/>
                    <a:gd name="connsiteX233" fmla="*/ 61998 w 761692"/>
                    <a:gd name="connsiteY233" fmla="*/ 311763 h 1016771"/>
                    <a:gd name="connsiteX234" fmla="*/ 67312 w 761692"/>
                    <a:gd name="connsiteY234" fmla="*/ 311763 h 1016771"/>
                    <a:gd name="connsiteX235" fmla="*/ 67312 w 761692"/>
                    <a:gd name="connsiteY235" fmla="*/ 309991 h 1016771"/>
                    <a:gd name="connsiteX236" fmla="*/ 67312 w 761692"/>
                    <a:gd name="connsiteY236" fmla="*/ 308220 h 1016771"/>
                    <a:gd name="connsiteX237" fmla="*/ 69084 w 761692"/>
                    <a:gd name="connsiteY237" fmla="*/ 302906 h 1016771"/>
                    <a:gd name="connsiteX238" fmla="*/ 70855 w 761692"/>
                    <a:gd name="connsiteY238" fmla="*/ 301134 h 1016771"/>
                    <a:gd name="connsiteX239" fmla="*/ 70855 w 761692"/>
                    <a:gd name="connsiteY239" fmla="*/ 299363 h 1016771"/>
                    <a:gd name="connsiteX240" fmla="*/ 77941 w 761692"/>
                    <a:gd name="connsiteY240" fmla="*/ 295820 h 1016771"/>
                    <a:gd name="connsiteX241" fmla="*/ 85026 w 761692"/>
                    <a:gd name="connsiteY241" fmla="*/ 295820 h 1016771"/>
                    <a:gd name="connsiteX242" fmla="*/ 93883 w 761692"/>
                    <a:gd name="connsiteY242" fmla="*/ 297592 h 1016771"/>
                    <a:gd name="connsiteX243" fmla="*/ 100968 w 761692"/>
                    <a:gd name="connsiteY243" fmla="*/ 288735 h 1016771"/>
                    <a:gd name="connsiteX244" fmla="*/ 97426 w 761692"/>
                    <a:gd name="connsiteY244" fmla="*/ 279878 h 1016771"/>
                    <a:gd name="connsiteX245" fmla="*/ 85026 w 761692"/>
                    <a:gd name="connsiteY245" fmla="*/ 276335 h 1016771"/>
                    <a:gd name="connsiteX246" fmla="*/ 76169 w 761692"/>
                    <a:gd name="connsiteY246" fmla="*/ 271021 h 1016771"/>
                    <a:gd name="connsiteX247" fmla="*/ 76169 w 761692"/>
                    <a:gd name="connsiteY247" fmla="*/ 262164 h 1016771"/>
                    <a:gd name="connsiteX248" fmla="*/ 81483 w 761692"/>
                    <a:gd name="connsiteY248" fmla="*/ 251536 h 1016771"/>
                    <a:gd name="connsiteX249" fmla="*/ 86797 w 761692"/>
                    <a:gd name="connsiteY249" fmla="*/ 255079 h 1016771"/>
                    <a:gd name="connsiteX250" fmla="*/ 104511 w 761692"/>
                    <a:gd name="connsiteY250" fmla="*/ 262164 h 1016771"/>
                    <a:gd name="connsiteX251" fmla="*/ 116911 w 761692"/>
                    <a:gd name="connsiteY251" fmla="*/ 265707 h 1016771"/>
                    <a:gd name="connsiteX252" fmla="*/ 132853 w 761692"/>
                    <a:gd name="connsiteY252" fmla="*/ 269250 h 1016771"/>
                    <a:gd name="connsiteX253" fmla="*/ 138167 w 761692"/>
                    <a:gd name="connsiteY253" fmla="*/ 265707 h 1016771"/>
                    <a:gd name="connsiteX254" fmla="*/ 150567 w 761692"/>
                    <a:gd name="connsiteY254" fmla="*/ 255079 h 1016771"/>
                    <a:gd name="connsiteX255" fmla="*/ 166509 w 761692"/>
                    <a:gd name="connsiteY255" fmla="*/ 255079 h 1016771"/>
                    <a:gd name="connsiteX256" fmla="*/ 166509 w 761692"/>
                    <a:gd name="connsiteY256" fmla="*/ 265707 h 1016771"/>
                    <a:gd name="connsiteX257" fmla="*/ 177138 w 761692"/>
                    <a:gd name="connsiteY257" fmla="*/ 272792 h 1016771"/>
                    <a:gd name="connsiteX258" fmla="*/ 194851 w 761692"/>
                    <a:gd name="connsiteY258" fmla="*/ 276335 h 1016771"/>
                    <a:gd name="connsiteX259" fmla="*/ 209022 w 761692"/>
                    <a:gd name="connsiteY259" fmla="*/ 279878 h 1016771"/>
                    <a:gd name="connsiteX260" fmla="*/ 221422 w 761692"/>
                    <a:gd name="connsiteY260" fmla="*/ 276335 h 1016771"/>
                    <a:gd name="connsiteX261" fmla="*/ 226736 w 761692"/>
                    <a:gd name="connsiteY261" fmla="*/ 269250 h 1016771"/>
                    <a:gd name="connsiteX262" fmla="*/ 226736 w 761692"/>
                    <a:gd name="connsiteY262" fmla="*/ 251536 h 1016771"/>
                    <a:gd name="connsiteX263" fmla="*/ 224965 w 761692"/>
                    <a:gd name="connsiteY263" fmla="*/ 239136 h 1016771"/>
                    <a:gd name="connsiteX264" fmla="*/ 214337 w 761692"/>
                    <a:gd name="connsiteY264" fmla="*/ 230279 h 1016771"/>
                    <a:gd name="connsiteX265" fmla="*/ 210794 w 761692"/>
                    <a:gd name="connsiteY265" fmla="*/ 217880 h 1016771"/>
                    <a:gd name="connsiteX266" fmla="*/ 221422 w 761692"/>
                    <a:gd name="connsiteY266" fmla="*/ 207251 h 1016771"/>
                    <a:gd name="connsiteX267" fmla="*/ 235593 w 761692"/>
                    <a:gd name="connsiteY267" fmla="*/ 214337 h 1016771"/>
                    <a:gd name="connsiteX268" fmla="*/ 246221 w 761692"/>
                    <a:gd name="connsiteY268" fmla="*/ 219651 h 1016771"/>
                    <a:gd name="connsiteX269" fmla="*/ 253307 w 761692"/>
                    <a:gd name="connsiteY269" fmla="*/ 221422 h 1016771"/>
                    <a:gd name="connsiteX270" fmla="*/ 262164 w 761692"/>
                    <a:gd name="connsiteY270" fmla="*/ 210794 h 1016771"/>
                    <a:gd name="connsiteX271" fmla="*/ 263935 w 761692"/>
                    <a:gd name="connsiteY271" fmla="*/ 201937 h 1016771"/>
                    <a:gd name="connsiteX272" fmla="*/ 274563 w 761692"/>
                    <a:gd name="connsiteY272" fmla="*/ 189538 h 1016771"/>
                    <a:gd name="connsiteX273" fmla="*/ 283420 w 761692"/>
                    <a:gd name="connsiteY273" fmla="*/ 178909 h 1016771"/>
                    <a:gd name="connsiteX274" fmla="*/ 286963 w 761692"/>
                    <a:gd name="connsiteY274" fmla="*/ 173595 h 1016771"/>
                    <a:gd name="connsiteX275" fmla="*/ 311762 w 761692"/>
                    <a:gd name="connsiteY275" fmla="*/ 168281 h 1016771"/>
                    <a:gd name="connsiteX276" fmla="*/ 325933 w 761692"/>
                    <a:gd name="connsiteY276" fmla="*/ 164738 h 1016771"/>
                    <a:gd name="connsiteX277" fmla="*/ 336562 w 761692"/>
                    <a:gd name="connsiteY277" fmla="*/ 159424 h 1016771"/>
                    <a:gd name="connsiteX278" fmla="*/ 348961 w 761692"/>
                    <a:gd name="connsiteY278" fmla="*/ 145253 h 1016771"/>
                    <a:gd name="connsiteX279" fmla="*/ 359589 w 761692"/>
                    <a:gd name="connsiteY279" fmla="*/ 143482 h 1016771"/>
                    <a:gd name="connsiteX280" fmla="*/ 371989 w 761692"/>
                    <a:gd name="connsiteY280" fmla="*/ 143482 h 1016771"/>
                    <a:gd name="connsiteX281" fmla="*/ 391474 w 761692"/>
                    <a:gd name="connsiteY281" fmla="*/ 143482 h 1016771"/>
                    <a:gd name="connsiteX282" fmla="*/ 396788 w 761692"/>
                    <a:gd name="connsiteY282" fmla="*/ 141710 h 1016771"/>
                    <a:gd name="connsiteX283" fmla="*/ 403874 w 761692"/>
                    <a:gd name="connsiteY283" fmla="*/ 134625 h 1016771"/>
                    <a:gd name="connsiteX284" fmla="*/ 409188 w 761692"/>
                    <a:gd name="connsiteY284" fmla="*/ 129311 h 1016771"/>
                    <a:gd name="connsiteX285" fmla="*/ 409188 w 761692"/>
                    <a:gd name="connsiteY285" fmla="*/ 123997 h 1016771"/>
                    <a:gd name="connsiteX286" fmla="*/ 414502 w 761692"/>
                    <a:gd name="connsiteY286" fmla="*/ 115140 h 1016771"/>
                    <a:gd name="connsiteX287" fmla="*/ 428673 w 761692"/>
                    <a:gd name="connsiteY287" fmla="*/ 115140 h 1016771"/>
                    <a:gd name="connsiteX288" fmla="*/ 432216 w 761692"/>
                    <a:gd name="connsiteY288" fmla="*/ 109826 h 1016771"/>
                    <a:gd name="connsiteX289" fmla="*/ 437530 w 761692"/>
                    <a:gd name="connsiteY289" fmla="*/ 100969 h 1016771"/>
                    <a:gd name="connsiteX290" fmla="*/ 448158 w 761692"/>
                    <a:gd name="connsiteY290" fmla="*/ 99197 h 1016771"/>
                    <a:gd name="connsiteX291" fmla="*/ 460558 w 761692"/>
                    <a:gd name="connsiteY291" fmla="*/ 97426 h 1016771"/>
                    <a:gd name="connsiteX292" fmla="*/ 472958 w 761692"/>
                    <a:gd name="connsiteY292" fmla="*/ 93883 h 1016771"/>
                    <a:gd name="connsiteX293" fmla="*/ 492443 w 761692"/>
                    <a:gd name="connsiteY293" fmla="*/ 93883 h 1016771"/>
                    <a:gd name="connsiteX294" fmla="*/ 501300 w 761692"/>
                    <a:gd name="connsiteY294" fmla="*/ 83255 h 1016771"/>
                    <a:gd name="connsiteX295" fmla="*/ 517242 w 761692"/>
                    <a:gd name="connsiteY295" fmla="*/ 81484 h 1016771"/>
                    <a:gd name="connsiteX296" fmla="*/ 522556 w 761692"/>
                    <a:gd name="connsiteY296" fmla="*/ 81484 h 1016771"/>
                    <a:gd name="connsiteX297" fmla="*/ 522556 w 761692"/>
                    <a:gd name="connsiteY297" fmla="*/ 60227 h 1016771"/>
                    <a:gd name="connsiteX298" fmla="*/ 526099 w 761692"/>
                    <a:gd name="connsiteY298" fmla="*/ 54913 h 1016771"/>
                    <a:gd name="connsiteX299" fmla="*/ 529642 w 761692"/>
                    <a:gd name="connsiteY299" fmla="*/ 46056 h 1016771"/>
                    <a:gd name="connsiteX300" fmla="*/ 538499 w 761692"/>
                    <a:gd name="connsiteY300" fmla="*/ 40742 h 1016771"/>
                    <a:gd name="connsiteX301" fmla="*/ 540270 w 761692"/>
                    <a:gd name="connsiteY301" fmla="*/ 30114 h 1016771"/>
                    <a:gd name="connsiteX302" fmla="*/ 536727 w 761692"/>
                    <a:gd name="connsiteY302" fmla="*/ 19485 h 1016771"/>
                    <a:gd name="connsiteX303" fmla="*/ 543813 w 761692"/>
                    <a:gd name="connsiteY303" fmla="*/ 5314 h 1016771"/>
                    <a:gd name="connsiteX304" fmla="*/ 554441 w 761692"/>
                    <a:gd name="connsiteY304" fmla="*/ 0 h 1016771"/>
                    <a:gd name="connsiteX0" fmla="*/ 148796 w 761692"/>
                    <a:gd name="connsiteY0" fmla="*/ 839633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8167 w 761692"/>
                    <a:gd name="connsiteY9" fmla="*/ 852033 h 1016771"/>
                    <a:gd name="connsiteX10" fmla="*/ 139939 w 761692"/>
                    <a:gd name="connsiteY10" fmla="*/ 850262 h 1016771"/>
                    <a:gd name="connsiteX11" fmla="*/ 145253 w 761692"/>
                    <a:gd name="connsiteY11" fmla="*/ 843176 h 1016771"/>
                    <a:gd name="connsiteX12" fmla="*/ 147024 w 761692"/>
                    <a:gd name="connsiteY12" fmla="*/ 841405 h 1016771"/>
                    <a:gd name="connsiteX13" fmla="*/ 148796 w 761692"/>
                    <a:gd name="connsiteY13" fmla="*/ 839633 h 1016771"/>
                    <a:gd name="connsiteX14" fmla="*/ 116476 w 761692"/>
                    <a:gd name="connsiteY14" fmla="*/ 741349 h 1016771"/>
                    <a:gd name="connsiteX15" fmla="*/ 117606 w 761692"/>
                    <a:gd name="connsiteY15" fmla="*/ 742253 h 1016771"/>
                    <a:gd name="connsiteX16" fmla="*/ 122692 w 761692"/>
                    <a:gd name="connsiteY16" fmla="*/ 759206 h 1016771"/>
                    <a:gd name="connsiteX17" fmla="*/ 126082 w 761692"/>
                    <a:gd name="connsiteY17" fmla="*/ 771073 h 1016771"/>
                    <a:gd name="connsiteX18" fmla="*/ 129473 w 761692"/>
                    <a:gd name="connsiteY18" fmla="*/ 782940 h 1016771"/>
                    <a:gd name="connsiteX19" fmla="*/ 132864 w 761692"/>
                    <a:gd name="connsiteY19" fmla="*/ 793112 h 1016771"/>
                    <a:gd name="connsiteX20" fmla="*/ 136254 w 761692"/>
                    <a:gd name="connsiteY20" fmla="*/ 810066 h 1016771"/>
                    <a:gd name="connsiteX21" fmla="*/ 139058 w 761692"/>
                    <a:gd name="connsiteY21" fmla="*/ 818476 h 1016771"/>
                    <a:gd name="connsiteX22" fmla="*/ 138167 w 761692"/>
                    <a:gd name="connsiteY22" fmla="*/ 818377 h 1016771"/>
                    <a:gd name="connsiteX23" fmla="*/ 134625 w 761692"/>
                    <a:gd name="connsiteY23" fmla="*/ 807749 h 1016771"/>
                    <a:gd name="connsiteX24" fmla="*/ 131082 w 761692"/>
                    <a:gd name="connsiteY24" fmla="*/ 790035 h 1016771"/>
                    <a:gd name="connsiteX25" fmla="*/ 127539 w 761692"/>
                    <a:gd name="connsiteY25" fmla="*/ 779407 h 1016771"/>
                    <a:gd name="connsiteX26" fmla="*/ 123996 w 761692"/>
                    <a:gd name="connsiteY26" fmla="*/ 767007 h 1016771"/>
                    <a:gd name="connsiteX27" fmla="*/ 120454 w 761692"/>
                    <a:gd name="connsiteY27" fmla="*/ 754607 h 1016771"/>
                    <a:gd name="connsiteX28" fmla="*/ 116476 w 761692"/>
                    <a:gd name="connsiteY28" fmla="*/ 741349 h 1016771"/>
                    <a:gd name="connsiteX29" fmla="*/ 554441 w 761692"/>
                    <a:gd name="connsiteY29" fmla="*/ 0 h 1016771"/>
                    <a:gd name="connsiteX30" fmla="*/ 570383 w 761692"/>
                    <a:gd name="connsiteY30" fmla="*/ 3543 h 1016771"/>
                    <a:gd name="connsiteX31" fmla="*/ 577469 w 761692"/>
                    <a:gd name="connsiteY31" fmla="*/ 8857 h 1016771"/>
                    <a:gd name="connsiteX32" fmla="*/ 582783 w 761692"/>
                    <a:gd name="connsiteY32" fmla="*/ 17714 h 1016771"/>
                    <a:gd name="connsiteX33" fmla="*/ 582783 w 761692"/>
                    <a:gd name="connsiteY33" fmla="*/ 24799 h 1016771"/>
                    <a:gd name="connsiteX34" fmla="*/ 588097 w 761692"/>
                    <a:gd name="connsiteY34" fmla="*/ 33656 h 1016771"/>
                    <a:gd name="connsiteX35" fmla="*/ 598725 w 761692"/>
                    <a:gd name="connsiteY35" fmla="*/ 31885 h 1016771"/>
                    <a:gd name="connsiteX36" fmla="*/ 612896 w 761692"/>
                    <a:gd name="connsiteY36" fmla="*/ 37199 h 1016771"/>
                    <a:gd name="connsiteX37" fmla="*/ 618211 w 761692"/>
                    <a:gd name="connsiteY37" fmla="*/ 46056 h 1016771"/>
                    <a:gd name="connsiteX38" fmla="*/ 619982 w 761692"/>
                    <a:gd name="connsiteY38" fmla="*/ 54913 h 1016771"/>
                    <a:gd name="connsiteX39" fmla="*/ 618211 w 761692"/>
                    <a:gd name="connsiteY39" fmla="*/ 74398 h 1016771"/>
                    <a:gd name="connsiteX40" fmla="*/ 616439 w 761692"/>
                    <a:gd name="connsiteY40" fmla="*/ 85026 h 1016771"/>
                    <a:gd name="connsiteX41" fmla="*/ 621753 w 761692"/>
                    <a:gd name="connsiteY41" fmla="*/ 97426 h 1016771"/>
                    <a:gd name="connsiteX42" fmla="*/ 637696 w 761692"/>
                    <a:gd name="connsiteY42" fmla="*/ 113368 h 1016771"/>
                    <a:gd name="connsiteX43" fmla="*/ 644781 w 761692"/>
                    <a:gd name="connsiteY43" fmla="*/ 120454 h 1016771"/>
                    <a:gd name="connsiteX44" fmla="*/ 650095 w 761692"/>
                    <a:gd name="connsiteY44" fmla="*/ 136396 h 1016771"/>
                    <a:gd name="connsiteX45" fmla="*/ 655409 w 761692"/>
                    <a:gd name="connsiteY45" fmla="*/ 155881 h 1016771"/>
                    <a:gd name="connsiteX46" fmla="*/ 662495 w 761692"/>
                    <a:gd name="connsiteY46" fmla="*/ 171824 h 1016771"/>
                    <a:gd name="connsiteX47" fmla="*/ 660724 w 761692"/>
                    <a:gd name="connsiteY47" fmla="*/ 185995 h 1016771"/>
                    <a:gd name="connsiteX48" fmla="*/ 635924 w 761692"/>
                    <a:gd name="connsiteY48" fmla="*/ 194852 h 1016771"/>
                    <a:gd name="connsiteX49" fmla="*/ 619982 w 761692"/>
                    <a:gd name="connsiteY49" fmla="*/ 207251 h 1016771"/>
                    <a:gd name="connsiteX50" fmla="*/ 614668 w 761692"/>
                    <a:gd name="connsiteY50" fmla="*/ 223194 h 1016771"/>
                    <a:gd name="connsiteX51" fmla="*/ 618211 w 761692"/>
                    <a:gd name="connsiteY51" fmla="*/ 242679 h 1016771"/>
                    <a:gd name="connsiteX52" fmla="*/ 612896 w 761692"/>
                    <a:gd name="connsiteY52" fmla="*/ 256850 h 1016771"/>
                    <a:gd name="connsiteX53" fmla="*/ 625296 w 761692"/>
                    <a:gd name="connsiteY53" fmla="*/ 267478 h 1016771"/>
                    <a:gd name="connsiteX54" fmla="*/ 641238 w 761692"/>
                    <a:gd name="connsiteY54" fmla="*/ 269250 h 1016771"/>
                    <a:gd name="connsiteX55" fmla="*/ 658952 w 761692"/>
                    <a:gd name="connsiteY55" fmla="*/ 286963 h 1016771"/>
                    <a:gd name="connsiteX56" fmla="*/ 653638 w 761692"/>
                    <a:gd name="connsiteY56" fmla="*/ 309991 h 1016771"/>
                    <a:gd name="connsiteX57" fmla="*/ 653638 w 761692"/>
                    <a:gd name="connsiteY57" fmla="*/ 329476 h 1016771"/>
                    <a:gd name="connsiteX58" fmla="*/ 643010 w 761692"/>
                    <a:gd name="connsiteY58" fmla="*/ 338333 h 1016771"/>
                    <a:gd name="connsiteX59" fmla="*/ 632382 w 761692"/>
                    <a:gd name="connsiteY59" fmla="*/ 338333 h 1016771"/>
                    <a:gd name="connsiteX60" fmla="*/ 618211 w 761692"/>
                    <a:gd name="connsiteY60" fmla="*/ 357819 h 1016771"/>
                    <a:gd name="connsiteX61" fmla="*/ 609354 w 761692"/>
                    <a:gd name="connsiteY61" fmla="*/ 361361 h 1016771"/>
                    <a:gd name="connsiteX62" fmla="*/ 596954 w 761692"/>
                    <a:gd name="connsiteY62" fmla="*/ 363133 h 1016771"/>
                    <a:gd name="connsiteX63" fmla="*/ 581012 w 761692"/>
                    <a:gd name="connsiteY63" fmla="*/ 379075 h 1016771"/>
                    <a:gd name="connsiteX64" fmla="*/ 589868 w 761692"/>
                    <a:gd name="connsiteY64" fmla="*/ 393246 h 1016771"/>
                    <a:gd name="connsiteX65" fmla="*/ 586326 w 761692"/>
                    <a:gd name="connsiteY65" fmla="*/ 409189 h 1016771"/>
                    <a:gd name="connsiteX66" fmla="*/ 570383 w 761692"/>
                    <a:gd name="connsiteY66" fmla="*/ 398560 h 1016771"/>
                    <a:gd name="connsiteX67" fmla="*/ 550898 w 761692"/>
                    <a:gd name="connsiteY67" fmla="*/ 405646 h 1016771"/>
                    <a:gd name="connsiteX68" fmla="*/ 531413 w 761692"/>
                    <a:gd name="connsiteY68" fmla="*/ 425131 h 1016771"/>
                    <a:gd name="connsiteX69" fmla="*/ 543813 w 761692"/>
                    <a:gd name="connsiteY69" fmla="*/ 444616 h 1016771"/>
                    <a:gd name="connsiteX70" fmla="*/ 557984 w 761692"/>
                    <a:gd name="connsiteY70" fmla="*/ 462330 h 1016771"/>
                    <a:gd name="connsiteX71" fmla="*/ 570383 w 761692"/>
                    <a:gd name="connsiteY71" fmla="*/ 478272 h 1016771"/>
                    <a:gd name="connsiteX72" fmla="*/ 579240 w 761692"/>
                    <a:gd name="connsiteY72" fmla="*/ 485358 h 1016771"/>
                    <a:gd name="connsiteX73" fmla="*/ 602268 w 761692"/>
                    <a:gd name="connsiteY73" fmla="*/ 483586 h 1016771"/>
                    <a:gd name="connsiteX74" fmla="*/ 623525 w 761692"/>
                    <a:gd name="connsiteY74" fmla="*/ 474730 h 1016771"/>
                    <a:gd name="connsiteX75" fmla="*/ 639467 w 761692"/>
                    <a:gd name="connsiteY75" fmla="*/ 464101 h 1016771"/>
                    <a:gd name="connsiteX76" fmla="*/ 662495 w 761692"/>
                    <a:gd name="connsiteY76" fmla="*/ 464101 h 1016771"/>
                    <a:gd name="connsiteX77" fmla="*/ 673123 w 761692"/>
                    <a:gd name="connsiteY77" fmla="*/ 464101 h 1016771"/>
                    <a:gd name="connsiteX78" fmla="*/ 681980 w 761692"/>
                    <a:gd name="connsiteY78" fmla="*/ 467644 h 1016771"/>
                    <a:gd name="connsiteX79" fmla="*/ 703237 w 761692"/>
                    <a:gd name="connsiteY79" fmla="*/ 471187 h 1016771"/>
                    <a:gd name="connsiteX80" fmla="*/ 708551 w 761692"/>
                    <a:gd name="connsiteY80" fmla="*/ 474730 h 1016771"/>
                    <a:gd name="connsiteX81" fmla="*/ 722722 w 761692"/>
                    <a:gd name="connsiteY81" fmla="*/ 501300 h 1016771"/>
                    <a:gd name="connsiteX82" fmla="*/ 724493 w 761692"/>
                    <a:gd name="connsiteY82" fmla="*/ 522557 h 1016771"/>
                    <a:gd name="connsiteX83" fmla="*/ 722722 w 761692"/>
                    <a:gd name="connsiteY83" fmla="*/ 540271 h 1016771"/>
                    <a:gd name="connsiteX84" fmla="*/ 735121 w 761692"/>
                    <a:gd name="connsiteY84" fmla="*/ 552670 h 1016771"/>
                    <a:gd name="connsiteX85" fmla="*/ 735121 w 761692"/>
                    <a:gd name="connsiteY85" fmla="*/ 570384 h 1016771"/>
                    <a:gd name="connsiteX86" fmla="*/ 751064 w 761692"/>
                    <a:gd name="connsiteY86" fmla="*/ 581012 h 1016771"/>
                    <a:gd name="connsiteX87" fmla="*/ 761692 w 761692"/>
                    <a:gd name="connsiteY87" fmla="*/ 604040 h 1016771"/>
                    <a:gd name="connsiteX88" fmla="*/ 747521 w 761692"/>
                    <a:gd name="connsiteY88" fmla="*/ 616440 h 1016771"/>
                    <a:gd name="connsiteX89" fmla="*/ 728036 w 761692"/>
                    <a:gd name="connsiteY89" fmla="*/ 627068 h 1016771"/>
                    <a:gd name="connsiteX90" fmla="*/ 726264 w 761692"/>
                    <a:gd name="connsiteY90" fmla="*/ 650096 h 1016771"/>
                    <a:gd name="connsiteX91" fmla="*/ 728036 w 761692"/>
                    <a:gd name="connsiteY91" fmla="*/ 673124 h 1016771"/>
                    <a:gd name="connsiteX92" fmla="*/ 742207 w 761692"/>
                    <a:gd name="connsiteY92" fmla="*/ 689066 h 1016771"/>
                    <a:gd name="connsiteX93" fmla="*/ 742207 w 761692"/>
                    <a:gd name="connsiteY93" fmla="*/ 712094 h 1016771"/>
                    <a:gd name="connsiteX94" fmla="*/ 740435 w 761692"/>
                    <a:gd name="connsiteY94" fmla="*/ 735122 h 1016771"/>
                    <a:gd name="connsiteX95" fmla="*/ 742207 w 761692"/>
                    <a:gd name="connsiteY95" fmla="*/ 751065 h 1016771"/>
                    <a:gd name="connsiteX96" fmla="*/ 747521 w 761692"/>
                    <a:gd name="connsiteY96" fmla="*/ 768778 h 1016771"/>
                    <a:gd name="connsiteX97" fmla="*/ 759921 w 761692"/>
                    <a:gd name="connsiteY97" fmla="*/ 777635 h 1016771"/>
                    <a:gd name="connsiteX98" fmla="*/ 758149 w 761692"/>
                    <a:gd name="connsiteY98" fmla="*/ 802434 h 1016771"/>
                    <a:gd name="connsiteX99" fmla="*/ 752835 w 761692"/>
                    <a:gd name="connsiteY99" fmla="*/ 814834 h 1016771"/>
                    <a:gd name="connsiteX100" fmla="*/ 743978 w 761692"/>
                    <a:gd name="connsiteY100" fmla="*/ 827234 h 1016771"/>
                    <a:gd name="connsiteX101" fmla="*/ 743978 w 761692"/>
                    <a:gd name="connsiteY101" fmla="*/ 837862 h 1016771"/>
                    <a:gd name="connsiteX102" fmla="*/ 747521 w 761692"/>
                    <a:gd name="connsiteY102" fmla="*/ 853804 h 1016771"/>
                    <a:gd name="connsiteX103" fmla="*/ 733350 w 761692"/>
                    <a:gd name="connsiteY103" fmla="*/ 867975 h 1016771"/>
                    <a:gd name="connsiteX104" fmla="*/ 724493 w 761692"/>
                    <a:gd name="connsiteY104" fmla="*/ 880375 h 1016771"/>
                    <a:gd name="connsiteX105" fmla="*/ 722722 w 761692"/>
                    <a:gd name="connsiteY105" fmla="*/ 899860 h 1016771"/>
                    <a:gd name="connsiteX106" fmla="*/ 722722 w 761692"/>
                    <a:gd name="connsiteY106" fmla="*/ 919345 h 1016771"/>
                    <a:gd name="connsiteX107" fmla="*/ 715636 w 761692"/>
                    <a:gd name="connsiteY107" fmla="*/ 940602 h 1016771"/>
                    <a:gd name="connsiteX108" fmla="*/ 708551 w 761692"/>
                    <a:gd name="connsiteY108" fmla="*/ 954773 h 1016771"/>
                    <a:gd name="connsiteX109" fmla="*/ 699694 w 761692"/>
                    <a:gd name="connsiteY109" fmla="*/ 965401 h 1016771"/>
                    <a:gd name="connsiteX110" fmla="*/ 692608 w 761692"/>
                    <a:gd name="connsiteY110" fmla="*/ 984886 h 1016771"/>
                    <a:gd name="connsiteX111" fmla="*/ 683751 w 761692"/>
                    <a:gd name="connsiteY111" fmla="*/ 997286 h 1016771"/>
                    <a:gd name="connsiteX112" fmla="*/ 673123 w 761692"/>
                    <a:gd name="connsiteY112" fmla="*/ 1002600 h 1016771"/>
                    <a:gd name="connsiteX113" fmla="*/ 662495 w 761692"/>
                    <a:gd name="connsiteY113" fmla="*/ 1013228 h 1016771"/>
                    <a:gd name="connsiteX114" fmla="*/ 644781 w 761692"/>
                    <a:gd name="connsiteY114" fmla="*/ 1016771 h 1016771"/>
                    <a:gd name="connsiteX115" fmla="*/ 635924 w 761692"/>
                    <a:gd name="connsiteY115" fmla="*/ 1004372 h 1016771"/>
                    <a:gd name="connsiteX116" fmla="*/ 623525 w 761692"/>
                    <a:gd name="connsiteY116" fmla="*/ 997286 h 1016771"/>
                    <a:gd name="connsiteX117" fmla="*/ 614668 w 761692"/>
                    <a:gd name="connsiteY117" fmla="*/ 986658 h 1016771"/>
                    <a:gd name="connsiteX118" fmla="*/ 593411 w 761692"/>
                    <a:gd name="connsiteY118" fmla="*/ 970715 h 1016771"/>
                    <a:gd name="connsiteX119" fmla="*/ 582783 w 761692"/>
                    <a:gd name="connsiteY119" fmla="*/ 965401 h 1016771"/>
                    <a:gd name="connsiteX120" fmla="*/ 531413 w 761692"/>
                    <a:gd name="connsiteY120" fmla="*/ 965401 h 1016771"/>
                    <a:gd name="connsiteX121" fmla="*/ 511928 w 761692"/>
                    <a:gd name="connsiteY121" fmla="*/ 965401 h 1016771"/>
                    <a:gd name="connsiteX122" fmla="*/ 492443 w 761692"/>
                    <a:gd name="connsiteY122" fmla="*/ 963630 h 1016771"/>
                    <a:gd name="connsiteX123" fmla="*/ 483586 w 761692"/>
                    <a:gd name="connsiteY123" fmla="*/ 958316 h 1016771"/>
                    <a:gd name="connsiteX124" fmla="*/ 469415 w 761692"/>
                    <a:gd name="connsiteY124" fmla="*/ 954773 h 1016771"/>
                    <a:gd name="connsiteX125" fmla="*/ 460558 w 761692"/>
                    <a:gd name="connsiteY125" fmla="*/ 942373 h 1016771"/>
                    <a:gd name="connsiteX126" fmla="*/ 446387 w 761692"/>
                    <a:gd name="connsiteY126" fmla="*/ 935288 h 1016771"/>
                    <a:gd name="connsiteX127" fmla="*/ 428673 w 761692"/>
                    <a:gd name="connsiteY127" fmla="*/ 928202 h 1016771"/>
                    <a:gd name="connsiteX128" fmla="*/ 418045 w 761692"/>
                    <a:gd name="connsiteY128" fmla="*/ 917574 h 1016771"/>
                    <a:gd name="connsiteX129" fmla="*/ 421588 w 761692"/>
                    <a:gd name="connsiteY129" fmla="*/ 903403 h 1016771"/>
                    <a:gd name="connsiteX130" fmla="*/ 418045 w 761692"/>
                    <a:gd name="connsiteY130" fmla="*/ 898089 h 1016771"/>
                    <a:gd name="connsiteX131" fmla="*/ 396788 w 761692"/>
                    <a:gd name="connsiteY131" fmla="*/ 898089 h 1016771"/>
                    <a:gd name="connsiteX132" fmla="*/ 382617 w 761692"/>
                    <a:gd name="connsiteY132" fmla="*/ 896318 h 1016771"/>
                    <a:gd name="connsiteX133" fmla="*/ 380846 w 761692"/>
                    <a:gd name="connsiteY133" fmla="*/ 906946 h 1016771"/>
                    <a:gd name="connsiteX134" fmla="*/ 373601 w 761692"/>
                    <a:gd name="connsiteY134" fmla="*/ 894832 h 1016771"/>
                    <a:gd name="connsiteX135" fmla="*/ 387164 w 761692"/>
                    <a:gd name="connsiteY135" fmla="*/ 896527 h 1016771"/>
                    <a:gd name="connsiteX136" fmla="*/ 383773 w 761692"/>
                    <a:gd name="connsiteY136" fmla="*/ 886355 h 1016771"/>
                    <a:gd name="connsiteX137" fmla="*/ 387164 w 761692"/>
                    <a:gd name="connsiteY137" fmla="*/ 876183 h 1016771"/>
                    <a:gd name="connsiteX138" fmla="*/ 388859 w 761692"/>
                    <a:gd name="connsiteY138" fmla="*/ 867707 h 1016771"/>
                    <a:gd name="connsiteX139" fmla="*/ 380382 w 761692"/>
                    <a:gd name="connsiteY139" fmla="*/ 859230 h 1016771"/>
                    <a:gd name="connsiteX140" fmla="*/ 373601 w 761692"/>
                    <a:gd name="connsiteY140" fmla="*/ 849058 h 1016771"/>
                    <a:gd name="connsiteX141" fmla="*/ 380382 w 761692"/>
                    <a:gd name="connsiteY141" fmla="*/ 838886 h 1016771"/>
                    <a:gd name="connsiteX142" fmla="*/ 383773 w 761692"/>
                    <a:gd name="connsiteY142" fmla="*/ 833800 h 1016771"/>
                    <a:gd name="connsiteX143" fmla="*/ 388859 w 761692"/>
                    <a:gd name="connsiteY143" fmla="*/ 825324 h 1016771"/>
                    <a:gd name="connsiteX144" fmla="*/ 387164 w 761692"/>
                    <a:gd name="connsiteY144" fmla="*/ 810066 h 1016771"/>
                    <a:gd name="connsiteX145" fmla="*/ 387164 w 761692"/>
                    <a:gd name="connsiteY145" fmla="*/ 796503 h 1016771"/>
                    <a:gd name="connsiteX146" fmla="*/ 378687 w 761692"/>
                    <a:gd name="connsiteY146" fmla="*/ 789722 h 1016771"/>
                    <a:gd name="connsiteX147" fmla="*/ 366820 w 761692"/>
                    <a:gd name="connsiteY147" fmla="*/ 782940 h 1016771"/>
                    <a:gd name="connsiteX148" fmla="*/ 356648 w 761692"/>
                    <a:gd name="connsiteY148" fmla="*/ 781245 h 1016771"/>
                    <a:gd name="connsiteX149" fmla="*/ 349866 w 761692"/>
                    <a:gd name="connsiteY149" fmla="*/ 771073 h 1016771"/>
                    <a:gd name="connsiteX150" fmla="*/ 349866 w 761692"/>
                    <a:gd name="connsiteY150" fmla="*/ 752425 h 1016771"/>
                    <a:gd name="connsiteX151" fmla="*/ 353257 w 761692"/>
                    <a:gd name="connsiteY151" fmla="*/ 743948 h 1016771"/>
                    <a:gd name="connsiteX152" fmla="*/ 354952 w 761692"/>
                    <a:gd name="connsiteY152" fmla="*/ 730385 h 1016771"/>
                    <a:gd name="connsiteX153" fmla="*/ 353257 w 761692"/>
                    <a:gd name="connsiteY153" fmla="*/ 713432 h 1016771"/>
                    <a:gd name="connsiteX154" fmla="*/ 346476 w 761692"/>
                    <a:gd name="connsiteY154" fmla="*/ 701565 h 1016771"/>
                    <a:gd name="connsiteX155" fmla="*/ 332913 w 761692"/>
                    <a:gd name="connsiteY155" fmla="*/ 689697 h 1016771"/>
                    <a:gd name="connsiteX156" fmla="*/ 324436 w 761692"/>
                    <a:gd name="connsiteY156" fmla="*/ 681221 h 1016771"/>
                    <a:gd name="connsiteX157" fmla="*/ 314264 w 761692"/>
                    <a:gd name="connsiteY157" fmla="*/ 676135 h 1016771"/>
                    <a:gd name="connsiteX158" fmla="*/ 293920 w 761692"/>
                    <a:gd name="connsiteY158" fmla="*/ 669354 h 1016771"/>
                    <a:gd name="connsiteX159" fmla="*/ 282053 w 761692"/>
                    <a:gd name="connsiteY159" fmla="*/ 667658 h 1016771"/>
                    <a:gd name="connsiteX160" fmla="*/ 266795 w 761692"/>
                    <a:gd name="connsiteY160" fmla="*/ 672744 h 1016771"/>
                    <a:gd name="connsiteX161" fmla="*/ 265100 w 761692"/>
                    <a:gd name="connsiteY161" fmla="*/ 672744 h 1016771"/>
                    <a:gd name="connsiteX162" fmla="*/ 263404 w 761692"/>
                    <a:gd name="connsiteY162" fmla="*/ 671049 h 1016771"/>
                    <a:gd name="connsiteX163" fmla="*/ 260014 w 761692"/>
                    <a:gd name="connsiteY163" fmla="*/ 671049 h 1016771"/>
                    <a:gd name="connsiteX164" fmla="*/ 258318 w 761692"/>
                    <a:gd name="connsiteY164" fmla="*/ 671049 h 1016771"/>
                    <a:gd name="connsiteX165" fmla="*/ 253232 w 761692"/>
                    <a:gd name="connsiteY165" fmla="*/ 671049 h 1016771"/>
                    <a:gd name="connsiteX166" fmla="*/ 248146 w 761692"/>
                    <a:gd name="connsiteY166" fmla="*/ 672744 h 1016771"/>
                    <a:gd name="connsiteX167" fmla="*/ 248146 w 761692"/>
                    <a:gd name="connsiteY167" fmla="*/ 674440 h 1016771"/>
                    <a:gd name="connsiteX168" fmla="*/ 246451 w 761692"/>
                    <a:gd name="connsiteY168" fmla="*/ 674440 h 1016771"/>
                    <a:gd name="connsiteX169" fmla="*/ 236279 w 761692"/>
                    <a:gd name="connsiteY169" fmla="*/ 679526 h 1016771"/>
                    <a:gd name="connsiteX170" fmla="*/ 226107 w 761692"/>
                    <a:gd name="connsiteY170" fmla="*/ 684612 h 1016771"/>
                    <a:gd name="connsiteX171" fmla="*/ 217630 w 761692"/>
                    <a:gd name="connsiteY171" fmla="*/ 684612 h 1016771"/>
                    <a:gd name="connsiteX172" fmla="*/ 207458 w 761692"/>
                    <a:gd name="connsiteY172" fmla="*/ 693088 h 1016771"/>
                    <a:gd name="connsiteX173" fmla="*/ 198982 w 761692"/>
                    <a:gd name="connsiteY173" fmla="*/ 694783 h 1016771"/>
                    <a:gd name="connsiteX174" fmla="*/ 192200 w 761692"/>
                    <a:gd name="connsiteY174" fmla="*/ 699869 h 1016771"/>
                    <a:gd name="connsiteX175" fmla="*/ 178638 w 761692"/>
                    <a:gd name="connsiteY175" fmla="*/ 706651 h 1016771"/>
                    <a:gd name="connsiteX176" fmla="*/ 163380 w 761692"/>
                    <a:gd name="connsiteY176" fmla="*/ 710041 h 1016771"/>
                    <a:gd name="connsiteX177" fmla="*/ 141340 w 761692"/>
                    <a:gd name="connsiteY177" fmla="*/ 710041 h 1016771"/>
                    <a:gd name="connsiteX178" fmla="*/ 134559 w 761692"/>
                    <a:gd name="connsiteY178" fmla="*/ 716823 h 1016771"/>
                    <a:gd name="connsiteX179" fmla="*/ 127778 w 761692"/>
                    <a:gd name="connsiteY179" fmla="*/ 718518 h 1016771"/>
                    <a:gd name="connsiteX180" fmla="*/ 120996 w 761692"/>
                    <a:gd name="connsiteY180" fmla="*/ 725299 h 1016771"/>
                    <a:gd name="connsiteX181" fmla="*/ 111172 w 761692"/>
                    <a:gd name="connsiteY181" fmla="*/ 733720 h 1016771"/>
                    <a:gd name="connsiteX182" fmla="*/ 106283 w 761692"/>
                    <a:gd name="connsiteY182" fmla="*/ 729808 h 1016771"/>
                    <a:gd name="connsiteX183" fmla="*/ 92112 w 761692"/>
                    <a:gd name="connsiteY183" fmla="*/ 724494 h 1016771"/>
                    <a:gd name="connsiteX184" fmla="*/ 77941 w 761692"/>
                    <a:gd name="connsiteY184" fmla="*/ 726265 h 1016771"/>
                    <a:gd name="connsiteX185" fmla="*/ 70855 w 761692"/>
                    <a:gd name="connsiteY185" fmla="*/ 719180 h 1016771"/>
                    <a:gd name="connsiteX186" fmla="*/ 70855 w 761692"/>
                    <a:gd name="connsiteY186" fmla="*/ 699695 h 1016771"/>
                    <a:gd name="connsiteX187" fmla="*/ 81483 w 761692"/>
                    <a:gd name="connsiteY187" fmla="*/ 685524 h 1016771"/>
                    <a:gd name="connsiteX188" fmla="*/ 85026 w 761692"/>
                    <a:gd name="connsiteY188" fmla="*/ 673124 h 1016771"/>
                    <a:gd name="connsiteX189" fmla="*/ 86797 w 761692"/>
                    <a:gd name="connsiteY189" fmla="*/ 660724 h 1016771"/>
                    <a:gd name="connsiteX190" fmla="*/ 97426 w 761692"/>
                    <a:gd name="connsiteY190" fmla="*/ 650096 h 1016771"/>
                    <a:gd name="connsiteX191" fmla="*/ 102740 w 761692"/>
                    <a:gd name="connsiteY191" fmla="*/ 635925 h 1016771"/>
                    <a:gd name="connsiteX192" fmla="*/ 113368 w 761692"/>
                    <a:gd name="connsiteY192" fmla="*/ 625297 h 1016771"/>
                    <a:gd name="connsiteX193" fmla="*/ 115139 w 761692"/>
                    <a:gd name="connsiteY193" fmla="*/ 612897 h 1016771"/>
                    <a:gd name="connsiteX194" fmla="*/ 127539 w 761692"/>
                    <a:gd name="connsiteY194" fmla="*/ 609354 h 1016771"/>
                    <a:gd name="connsiteX195" fmla="*/ 136396 w 761692"/>
                    <a:gd name="connsiteY195" fmla="*/ 604040 h 1016771"/>
                    <a:gd name="connsiteX196" fmla="*/ 132853 w 761692"/>
                    <a:gd name="connsiteY196" fmla="*/ 593412 h 1016771"/>
                    <a:gd name="connsiteX197" fmla="*/ 134625 w 761692"/>
                    <a:gd name="connsiteY197" fmla="*/ 584555 h 1016771"/>
                    <a:gd name="connsiteX198" fmla="*/ 131082 w 761692"/>
                    <a:gd name="connsiteY198" fmla="*/ 575698 h 1016771"/>
                    <a:gd name="connsiteX199" fmla="*/ 120454 w 761692"/>
                    <a:gd name="connsiteY199" fmla="*/ 568613 h 1016771"/>
                    <a:gd name="connsiteX200" fmla="*/ 125768 w 761692"/>
                    <a:gd name="connsiteY200" fmla="*/ 552670 h 1016771"/>
                    <a:gd name="connsiteX201" fmla="*/ 118682 w 761692"/>
                    <a:gd name="connsiteY201" fmla="*/ 543813 h 1016771"/>
                    <a:gd name="connsiteX202" fmla="*/ 90340 w 761692"/>
                    <a:gd name="connsiteY202" fmla="*/ 543813 h 1016771"/>
                    <a:gd name="connsiteX203" fmla="*/ 86797 w 761692"/>
                    <a:gd name="connsiteY203" fmla="*/ 542042 h 1016771"/>
                    <a:gd name="connsiteX204" fmla="*/ 83255 w 761692"/>
                    <a:gd name="connsiteY204" fmla="*/ 542042 h 1016771"/>
                    <a:gd name="connsiteX205" fmla="*/ 81483 w 761692"/>
                    <a:gd name="connsiteY205" fmla="*/ 540271 h 1016771"/>
                    <a:gd name="connsiteX206" fmla="*/ 81483 w 761692"/>
                    <a:gd name="connsiteY206" fmla="*/ 536728 h 1016771"/>
                    <a:gd name="connsiteX207" fmla="*/ 79712 w 761692"/>
                    <a:gd name="connsiteY207" fmla="*/ 531414 h 1016771"/>
                    <a:gd name="connsiteX208" fmla="*/ 77941 w 761692"/>
                    <a:gd name="connsiteY208" fmla="*/ 529642 h 1016771"/>
                    <a:gd name="connsiteX209" fmla="*/ 70855 w 761692"/>
                    <a:gd name="connsiteY209" fmla="*/ 527871 h 1016771"/>
                    <a:gd name="connsiteX210" fmla="*/ 60227 w 761692"/>
                    <a:gd name="connsiteY210" fmla="*/ 536728 h 1016771"/>
                    <a:gd name="connsiteX211" fmla="*/ 47827 w 761692"/>
                    <a:gd name="connsiteY211" fmla="*/ 526100 h 1016771"/>
                    <a:gd name="connsiteX212" fmla="*/ 42513 w 761692"/>
                    <a:gd name="connsiteY212" fmla="*/ 515471 h 1016771"/>
                    <a:gd name="connsiteX213" fmla="*/ 33656 w 761692"/>
                    <a:gd name="connsiteY213" fmla="*/ 506614 h 1016771"/>
                    <a:gd name="connsiteX214" fmla="*/ 31885 w 761692"/>
                    <a:gd name="connsiteY214" fmla="*/ 490672 h 1016771"/>
                    <a:gd name="connsiteX215" fmla="*/ 26571 w 761692"/>
                    <a:gd name="connsiteY215" fmla="*/ 476501 h 1016771"/>
                    <a:gd name="connsiteX216" fmla="*/ 24799 w 761692"/>
                    <a:gd name="connsiteY216" fmla="*/ 471187 h 1016771"/>
                    <a:gd name="connsiteX217" fmla="*/ 12400 w 761692"/>
                    <a:gd name="connsiteY217" fmla="*/ 472958 h 1016771"/>
                    <a:gd name="connsiteX218" fmla="*/ 7086 w 761692"/>
                    <a:gd name="connsiteY218" fmla="*/ 464101 h 1016771"/>
                    <a:gd name="connsiteX219" fmla="*/ 8857 w 761692"/>
                    <a:gd name="connsiteY219" fmla="*/ 446388 h 1016771"/>
                    <a:gd name="connsiteX220" fmla="*/ 3543 w 761692"/>
                    <a:gd name="connsiteY220" fmla="*/ 435759 h 1016771"/>
                    <a:gd name="connsiteX221" fmla="*/ 5314 w 761692"/>
                    <a:gd name="connsiteY221" fmla="*/ 412731 h 1016771"/>
                    <a:gd name="connsiteX222" fmla="*/ 0 w 761692"/>
                    <a:gd name="connsiteY222" fmla="*/ 396789 h 1016771"/>
                    <a:gd name="connsiteX223" fmla="*/ 3543 w 761692"/>
                    <a:gd name="connsiteY223" fmla="*/ 384389 h 1016771"/>
                    <a:gd name="connsiteX224" fmla="*/ 14171 w 761692"/>
                    <a:gd name="connsiteY224" fmla="*/ 380846 h 1016771"/>
                    <a:gd name="connsiteX225" fmla="*/ 24799 w 761692"/>
                    <a:gd name="connsiteY225" fmla="*/ 364904 h 1016771"/>
                    <a:gd name="connsiteX226" fmla="*/ 30113 w 761692"/>
                    <a:gd name="connsiteY226" fmla="*/ 350733 h 1016771"/>
                    <a:gd name="connsiteX227" fmla="*/ 35428 w 761692"/>
                    <a:gd name="connsiteY227" fmla="*/ 341876 h 1016771"/>
                    <a:gd name="connsiteX228" fmla="*/ 42513 w 761692"/>
                    <a:gd name="connsiteY228" fmla="*/ 327705 h 1016771"/>
                    <a:gd name="connsiteX229" fmla="*/ 42513 w 761692"/>
                    <a:gd name="connsiteY229" fmla="*/ 315305 h 1016771"/>
                    <a:gd name="connsiteX230" fmla="*/ 56684 w 761692"/>
                    <a:gd name="connsiteY230" fmla="*/ 309991 h 1016771"/>
                    <a:gd name="connsiteX231" fmla="*/ 60227 w 761692"/>
                    <a:gd name="connsiteY231" fmla="*/ 309991 h 1016771"/>
                    <a:gd name="connsiteX232" fmla="*/ 61998 w 761692"/>
                    <a:gd name="connsiteY232" fmla="*/ 311763 h 1016771"/>
                    <a:gd name="connsiteX233" fmla="*/ 67312 w 761692"/>
                    <a:gd name="connsiteY233" fmla="*/ 311763 h 1016771"/>
                    <a:gd name="connsiteX234" fmla="*/ 67312 w 761692"/>
                    <a:gd name="connsiteY234" fmla="*/ 309991 h 1016771"/>
                    <a:gd name="connsiteX235" fmla="*/ 67312 w 761692"/>
                    <a:gd name="connsiteY235" fmla="*/ 308220 h 1016771"/>
                    <a:gd name="connsiteX236" fmla="*/ 69084 w 761692"/>
                    <a:gd name="connsiteY236" fmla="*/ 302906 h 1016771"/>
                    <a:gd name="connsiteX237" fmla="*/ 70855 w 761692"/>
                    <a:gd name="connsiteY237" fmla="*/ 301134 h 1016771"/>
                    <a:gd name="connsiteX238" fmla="*/ 70855 w 761692"/>
                    <a:gd name="connsiteY238" fmla="*/ 299363 h 1016771"/>
                    <a:gd name="connsiteX239" fmla="*/ 77941 w 761692"/>
                    <a:gd name="connsiteY239" fmla="*/ 295820 h 1016771"/>
                    <a:gd name="connsiteX240" fmla="*/ 85026 w 761692"/>
                    <a:gd name="connsiteY240" fmla="*/ 295820 h 1016771"/>
                    <a:gd name="connsiteX241" fmla="*/ 93883 w 761692"/>
                    <a:gd name="connsiteY241" fmla="*/ 297592 h 1016771"/>
                    <a:gd name="connsiteX242" fmla="*/ 100968 w 761692"/>
                    <a:gd name="connsiteY242" fmla="*/ 288735 h 1016771"/>
                    <a:gd name="connsiteX243" fmla="*/ 97426 w 761692"/>
                    <a:gd name="connsiteY243" fmla="*/ 279878 h 1016771"/>
                    <a:gd name="connsiteX244" fmla="*/ 85026 w 761692"/>
                    <a:gd name="connsiteY244" fmla="*/ 276335 h 1016771"/>
                    <a:gd name="connsiteX245" fmla="*/ 76169 w 761692"/>
                    <a:gd name="connsiteY245" fmla="*/ 271021 h 1016771"/>
                    <a:gd name="connsiteX246" fmla="*/ 76169 w 761692"/>
                    <a:gd name="connsiteY246" fmla="*/ 262164 h 1016771"/>
                    <a:gd name="connsiteX247" fmla="*/ 81483 w 761692"/>
                    <a:gd name="connsiteY247" fmla="*/ 251536 h 1016771"/>
                    <a:gd name="connsiteX248" fmla="*/ 86797 w 761692"/>
                    <a:gd name="connsiteY248" fmla="*/ 255079 h 1016771"/>
                    <a:gd name="connsiteX249" fmla="*/ 104511 w 761692"/>
                    <a:gd name="connsiteY249" fmla="*/ 262164 h 1016771"/>
                    <a:gd name="connsiteX250" fmla="*/ 116911 w 761692"/>
                    <a:gd name="connsiteY250" fmla="*/ 265707 h 1016771"/>
                    <a:gd name="connsiteX251" fmla="*/ 132853 w 761692"/>
                    <a:gd name="connsiteY251" fmla="*/ 269250 h 1016771"/>
                    <a:gd name="connsiteX252" fmla="*/ 138167 w 761692"/>
                    <a:gd name="connsiteY252" fmla="*/ 265707 h 1016771"/>
                    <a:gd name="connsiteX253" fmla="*/ 150567 w 761692"/>
                    <a:gd name="connsiteY253" fmla="*/ 255079 h 1016771"/>
                    <a:gd name="connsiteX254" fmla="*/ 166509 w 761692"/>
                    <a:gd name="connsiteY254" fmla="*/ 255079 h 1016771"/>
                    <a:gd name="connsiteX255" fmla="*/ 166509 w 761692"/>
                    <a:gd name="connsiteY255" fmla="*/ 265707 h 1016771"/>
                    <a:gd name="connsiteX256" fmla="*/ 177138 w 761692"/>
                    <a:gd name="connsiteY256" fmla="*/ 272792 h 1016771"/>
                    <a:gd name="connsiteX257" fmla="*/ 194851 w 761692"/>
                    <a:gd name="connsiteY257" fmla="*/ 276335 h 1016771"/>
                    <a:gd name="connsiteX258" fmla="*/ 209022 w 761692"/>
                    <a:gd name="connsiteY258" fmla="*/ 279878 h 1016771"/>
                    <a:gd name="connsiteX259" fmla="*/ 221422 w 761692"/>
                    <a:gd name="connsiteY259" fmla="*/ 276335 h 1016771"/>
                    <a:gd name="connsiteX260" fmla="*/ 226736 w 761692"/>
                    <a:gd name="connsiteY260" fmla="*/ 269250 h 1016771"/>
                    <a:gd name="connsiteX261" fmla="*/ 226736 w 761692"/>
                    <a:gd name="connsiteY261" fmla="*/ 251536 h 1016771"/>
                    <a:gd name="connsiteX262" fmla="*/ 224965 w 761692"/>
                    <a:gd name="connsiteY262" fmla="*/ 239136 h 1016771"/>
                    <a:gd name="connsiteX263" fmla="*/ 214337 w 761692"/>
                    <a:gd name="connsiteY263" fmla="*/ 230279 h 1016771"/>
                    <a:gd name="connsiteX264" fmla="*/ 210794 w 761692"/>
                    <a:gd name="connsiteY264" fmla="*/ 217880 h 1016771"/>
                    <a:gd name="connsiteX265" fmla="*/ 221422 w 761692"/>
                    <a:gd name="connsiteY265" fmla="*/ 207251 h 1016771"/>
                    <a:gd name="connsiteX266" fmla="*/ 235593 w 761692"/>
                    <a:gd name="connsiteY266" fmla="*/ 214337 h 1016771"/>
                    <a:gd name="connsiteX267" fmla="*/ 246221 w 761692"/>
                    <a:gd name="connsiteY267" fmla="*/ 219651 h 1016771"/>
                    <a:gd name="connsiteX268" fmla="*/ 253307 w 761692"/>
                    <a:gd name="connsiteY268" fmla="*/ 221422 h 1016771"/>
                    <a:gd name="connsiteX269" fmla="*/ 262164 w 761692"/>
                    <a:gd name="connsiteY269" fmla="*/ 210794 h 1016771"/>
                    <a:gd name="connsiteX270" fmla="*/ 263935 w 761692"/>
                    <a:gd name="connsiteY270" fmla="*/ 201937 h 1016771"/>
                    <a:gd name="connsiteX271" fmla="*/ 274563 w 761692"/>
                    <a:gd name="connsiteY271" fmla="*/ 189538 h 1016771"/>
                    <a:gd name="connsiteX272" fmla="*/ 283420 w 761692"/>
                    <a:gd name="connsiteY272" fmla="*/ 178909 h 1016771"/>
                    <a:gd name="connsiteX273" fmla="*/ 286963 w 761692"/>
                    <a:gd name="connsiteY273" fmla="*/ 173595 h 1016771"/>
                    <a:gd name="connsiteX274" fmla="*/ 311762 w 761692"/>
                    <a:gd name="connsiteY274" fmla="*/ 168281 h 1016771"/>
                    <a:gd name="connsiteX275" fmla="*/ 325933 w 761692"/>
                    <a:gd name="connsiteY275" fmla="*/ 164738 h 1016771"/>
                    <a:gd name="connsiteX276" fmla="*/ 336562 w 761692"/>
                    <a:gd name="connsiteY276" fmla="*/ 159424 h 1016771"/>
                    <a:gd name="connsiteX277" fmla="*/ 348961 w 761692"/>
                    <a:gd name="connsiteY277" fmla="*/ 145253 h 1016771"/>
                    <a:gd name="connsiteX278" fmla="*/ 359589 w 761692"/>
                    <a:gd name="connsiteY278" fmla="*/ 143482 h 1016771"/>
                    <a:gd name="connsiteX279" fmla="*/ 371989 w 761692"/>
                    <a:gd name="connsiteY279" fmla="*/ 143482 h 1016771"/>
                    <a:gd name="connsiteX280" fmla="*/ 391474 w 761692"/>
                    <a:gd name="connsiteY280" fmla="*/ 143482 h 1016771"/>
                    <a:gd name="connsiteX281" fmla="*/ 396788 w 761692"/>
                    <a:gd name="connsiteY281" fmla="*/ 141710 h 1016771"/>
                    <a:gd name="connsiteX282" fmla="*/ 403874 w 761692"/>
                    <a:gd name="connsiteY282" fmla="*/ 134625 h 1016771"/>
                    <a:gd name="connsiteX283" fmla="*/ 409188 w 761692"/>
                    <a:gd name="connsiteY283" fmla="*/ 129311 h 1016771"/>
                    <a:gd name="connsiteX284" fmla="*/ 409188 w 761692"/>
                    <a:gd name="connsiteY284" fmla="*/ 123997 h 1016771"/>
                    <a:gd name="connsiteX285" fmla="*/ 414502 w 761692"/>
                    <a:gd name="connsiteY285" fmla="*/ 115140 h 1016771"/>
                    <a:gd name="connsiteX286" fmla="*/ 428673 w 761692"/>
                    <a:gd name="connsiteY286" fmla="*/ 115140 h 1016771"/>
                    <a:gd name="connsiteX287" fmla="*/ 432216 w 761692"/>
                    <a:gd name="connsiteY287" fmla="*/ 109826 h 1016771"/>
                    <a:gd name="connsiteX288" fmla="*/ 437530 w 761692"/>
                    <a:gd name="connsiteY288" fmla="*/ 100969 h 1016771"/>
                    <a:gd name="connsiteX289" fmla="*/ 448158 w 761692"/>
                    <a:gd name="connsiteY289" fmla="*/ 99197 h 1016771"/>
                    <a:gd name="connsiteX290" fmla="*/ 460558 w 761692"/>
                    <a:gd name="connsiteY290" fmla="*/ 97426 h 1016771"/>
                    <a:gd name="connsiteX291" fmla="*/ 472958 w 761692"/>
                    <a:gd name="connsiteY291" fmla="*/ 93883 h 1016771"/>
                    <a:gd name="connsiteX292" fmla="*/ 492443 w 761692"/>
                    <a:gd name="connsiteY292" fmla="*/ 93883 h 1016771"/>
                    <a:gd name="connsiteX293" fmla="*/ 501300 w 761692"/>
                    <a:gd name="connsiteY293" fmla="*/ 83255 h 1016771"/>
                    <a:gd name="connsiteX294" fmla="*/ 517242 w 761692"/>
                    <a:gd name="connsiteY294" fmla="*/ 81484 h 1016771"/>
                    <a:gd name="connsiteX295" fmla="*/ 522556 w 761692"/>
                    <a:gd name="connsiteY295" fmla="*/ 81484 h 1016771"/>
                    <a:gd name="connsiteX296" fmla="*/ 522556 w 761692"/>
                    <a:gd name="connsiteY296" fmla="*/ 60227 h 1016771"/>
                    <a:gd name="connsiteX297" fmla="*/ 526099 w 761692"/>
                    <a:gd name="connsiteY297" fmla="*/ 54913 h 1016771"/>
                    <a:gd name="connsiteX298" fmla="*/ 529642 w 761692"/>
                    <a:gd name="connsiteY298" fmla="*/ 46056 h 1016771"/>
                    <a:gd name="connsiteX299" fmla="*/ 538499 w 761692"/>
                    <a:gd name="connsiteY299" fmla="*/ 40742 h 1016771"/>
                    <a:gd name="connsiteX300" fmla="*/ 540270 w 761692"/>
                    <a:gd name="connsiteY300" fmla="*/ 30114 h 1016771"/>
                    <a:gd name="connsiteX301" fmla="*/ 536727 w 761692"/>
                    <a:gd name="connsiteY301" fmla="*/ 19485 h 1016771"/>
                    <a:gd name="connsiteX302" fmla="*/ 543813 w 761692"/>
                    <a:gd name="connsiteY302" fmla="*/ 5314 h 1016771"/>
                    <a:gd name="connsiteX303" fmla="*/ 554441 w 761692"/>
                    <a:gd name="connsiteY303" fmla="*/ 0 h 1016771"/>
                    <a:gd name="connsiteX0" fmla="*/ 147024 w 761692"/>
                    <a:gd name="connsiteY0" fmla="*/ 841405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8167 w 761692"/>
                    <a:gd name="connsiteY9" fmla="*/ 852033 h 1016771"/>
                    <a:gd name="connsiteX10" fmla="*/ 139939 w 761692"/>
                    <a:gd name="connsiteY10" fmla="*/ 850262 h 1016771"/>
                    <a:gd name="connsiteX11" fmla="*/ 145253 w 761692"/>
                    <a:gd name="connsiteY11" fmla="*/ 843176 h 1016771"/>
                    <a:gd name="connsiteX12" fmla="*/ 147024 w 761692"/>
                    <a:gd name="connsiteY12" fmla="*/ 841405 h 1016771"/>
                    <a:gd name="connsiteX13" fmla="*/ 116476 w 761692"/>
                    <a:gd name="connsiteY13" fmla="*/ 741349 h 1016771"/>
                    <a:gd name="connsiteX14" fmla="*/ 117606 w 761692"/>
                    <a:gd name="connsiteY14" fmla="*/ 742253 h 1016771"/>
                    <a:gd name="connsiteX15" fmla="*/ 122692 w 761692"/>
                    <a:gd name="connsiteY15" fmla="*/ 759206 h 1016771"/>
                    <a:gd name="connsiteX16" fmla="*/ 126082 w 761692"/>
                    <a:gd name="connsiteY16" fmla="*/ 771073 h 1016771"/>
                    <a:gd name="connsiteX17" fmla="*/ 129473 w 761692"/>
                    <a:gd name="connsiteY17" fmla="*/ 782940 h 1016771"/>
                    <a:gd name="connsiteX18" fmla="*/ 132864 w 761692"/>
                    <a:gd name="connsiteY18" fmla="*/ 793112 h 1016771"/>
                    <a:gd name="connsiteX19" fmla="*/ 136254 w 761692"/>
                    <a:gd name="connsiteY19" fmla="*/ 810066 h 1016771"/>
                    <a:gd name="connsiteX20" fmla="*/ 139058 w 761692"/>
                    <a:gd name="connsiteY20" fmla="*/ 818476 h 1016771"/>
                    <a:gd name="connsiteX21" fmla="*/ 138167 w 761692"/>
                    <a:gd name="connsiteY21" fmla="*/ 818377 h 1016771"/>
                    <a:gd name="connsiteX22" fmla="*/ 134625 w 761692"/>
                    <a:gd name="connsiteY22" fmla="*/ 807749 h 1016771"/>
                    <a:gd name="connsiteX23" fmla="*/ 131082 w 761692"/>
                    <a:gd name="connsiteY23" fmla="*/ 790035 h 1016771"/>
                    <a:gd name="connsiteX24" fmla="*/ 127539 w 761692"/>
                    <a:gd name="connsiteY24" fmla="*/ 779407 h 1016771"/>
                    <a:gd name="connsiteX25" fmla="*/ 123996 w 761692"/>
                    <a:gd name="connsiteY25" fmla="*/ 767007 h 1016771"/>
                    <a:gd name="connsiteX26" fmla="*/ 120454 w 761692"/>
                    <a:gd name="connsiteY26" fmla="*/ 754607 h 1016771"/>
                    <a:gd name="connsiteX27" fmla="*/ 116476 w 761692"/>
                    <a:gd name="connsiteY27" fmla="*/ 741349 h 1016771"/>
                    <a:gd name="connsiteX28" fmla="*/ 554441 w 761692"/>
                    <a:gd name="connsiteY28" fmla="*/ 0 h 1016771"/>
                    <a:gd name="connsiteX29" fmla="*/ 570383 w 761692"/>
                    <a:gd name="connsiteY29" fmla="*/ 3543 h 1016771"/>
                    <a:gd name="connsiteX30" fmla="*/ 577469 w 761692"/>
                    <a:gd name="connsiteY30" fmla="*/ 8857 h 1016771"/>
                    <a:gd name="connsiteX31" fmla="*/ 582783 w 761692"/>
                    <a:gd name="connsiteY31" fmla="*/ 17714 h 1016771"/>
                    <a:gd name="connsiteX32" fmla="*/ 582783 w 761692"/>
                    <a:gd name="connsiteY32" fmla="*/ 24799 h 1016771"/>
                    <a:gd name="connsiteX33" fmla="*/ 588097 w 761692"/>
                    <a:gd name="connsiteY33" fmla="*/ 33656 h 1016771"/>
                    <a:gd name="connsiteX34" fmla="*/ 598725 w 761692"/>
                    <a:gd name="connsiteY34" fmla="*/ 31885 h 1016771"/>
                    <a:gd name="connsiteX35" fmla="*/ 612896 w 761692"/>
                    <a:gd name="connsiteY35" fmla="*/ 37199 h 1016771"/>
                    <a:gd name="connsiteX36" fmla="*/ 618211 w 761692"/>
                    <a:gd name="connsiteY36" fmla="*/ 46056 h 1016771"/>
                    <a:gd name="connsiteX37" fmla="*/ 619982 w 761692"/>
                    <a:gd name="connsiteY37" fmla="*/ 54913 h 1016771"/>
                    <a:gd name="connsiteX38" fmla="*/ 618211 w 761692"/>
                    <a:gd name="connsiteY38" fmla="*/ 74398 h 1016771"/>
                    <a:gd name="connsiteX39" fmla="*/ 616439 w 761692"/>
                    <a:gd name="connsiteY39" fmla="*/ 85026 h 1016771"/>
                    <a:gd name="connsiteX40" fmla="*/ 621753 w 761692"/>
                    <a:gd name="connsiteY40" fmla="*/ 97426 h 1016771"/>
                    <a:gd name="connsiteX41" fmla="*/ 637696 w 761692"/>
                    <a:gd name="connsiteY41" fmla="*/ 113368 h 1016771"/>
                    <a:gd name="connsiteX42" fmla="*/ 644781 w 761692"/>
                    <a:gd name="connsiteY42" fmla="*/ 120454 h 1016771"/>
                    <a:gd name="connsiteX43" fmla="*/ 650095 w 761692"/>
                    <a:gd name="connsiteY43" fmla="*/ 136396 h 1016771"/>
                    <a:gd name="connsiteX44" fmla="*/ 655409 w 761692"/>
                    <a:gd name="connsiteY44" fmla="*/ 155881 h 1016771"/>
                    <a:gd name="connsiteX45" fmla="*/ 662495 w 761692"/>
                    <a:gd name="connsiteY45" fmla="*/ 171824 h 1016771"/>
                    <a:gd name="connsiteX46" fmla="*/ 660724 w 761692"/>
                    <a:gd name="connsiteY46" fmla="*/ 185995 h 1016771"/>
                    <a:gd name="connsiteX47" fmla="*/ 635924 w 761692"/>
                    <a:gd name="connsiteY47" fmla="*/ 194852 h 1016771"/>
                    <a:gd name="connsiteX48" fmla="*/ 619982 w 761692"/>
                    <a:gd name="connsiteY48" fmla="*/ 207251 h 1016771"/>
                    <a:gd name="connsiteX49" fmla="*/ 614668 w 761692"/>
                    <a:gd name="connsiteY49" fmla="*/ 223194 h 1016771"/>
                    <a:gd name="connsiteX50" fmla="*/ 618211 w 761692"/>
                    <a:gd name="connsiteY50" fmla="*/ 242679 h 1016771"/>
                    <a:gd name="connsiteX51" fmla="*/ 612896 w 761692"/>
                    <a:gd name="connsiteY51" fmla="*/ 256850 h 1016771"/>
                    <a:gd name="connsiteX52" fmla="*/ 625296 w 761692"/>
                    <a:gd name="connsiteY52" fmla="*/ 267478 h 1016771"/>
                    <a:gd name="connsiteX53" fmla="*/ 641238 w 761692"/>
                    <a:gd name="connsiteY53" fmla="*/ 269250 h 1016771"/>
                    <a:gd name="connsiteX54" fmla="*/ 658952 w 761692"/>
                    <a:gd name="connsiteY54" fmla="*/ 286963 h 1016771"/>
                    <a:gd name="connsiteX55" fmla="*/ 653638 w 761692"/>
                    <a:gd name="connsiteY55" fmla="*/ 309991 h 1016771"/>
                    <a:gd name="connsiteX56" fmla="*/ 653638 w 761692"/>
                    <a:gd name="connsiteY56" fmla="*/ 329476 h 1016771"/>
                    <a:gd name="connsiteX57" fmla="*/ 643010 w 761692"/>
                    <a:gd name="connsiteY57" fmla="*/ 338333 h 1016771"/>
                    <a:gd name="connsiteX58" fmla="*/ 632382 w 761692"/>
                    <a:gd name="connsiteY58" fmla="*/ 338333 h 1016771"/>
                    <a:gd name="connsiteX59" fmla="*/ 618211 w 761692"/>
                    <a:gd name="connsiteY59" fmla="*/ 357819 h 1016771"/>
                    <a:gd name="connsiteX60" fmla="*/ 609354 w 761692"/>
                    <a:gd name="connsiteY60" fmla="*/ 361361 h 1016771"/>
                    <a:gd name="connsiteX61" fmla="*/ 596954 w 761692"/>
                    <a:gd name="connsiteY61" fmla="*/ 363133 h 1016771"/>
                    <a:gd name="connsiteX62" fmla="*/ 581012 w 761692"/>
                    <a:gd name="connsiteY62" fmla="*/ 379075 h 1016771"/>
                    <a:gd name="connsiteX63" fmla="*/ 589868 w 761692"/>
                    <a:gd name="connsiteY63" fmla="*/ 393246 h 1016771"/>
                    <a:gd name="connsiteX64" fmla="*/ 586326 w 761692"/>
                    <a:gd name="connsiteY64" fmla="*/ 409189 h 1016771"/>
                    <a:gd name="connsiteX65" fmla="*/ 570383 w 761692"/>
                    <a:gd name="connsiteY65" fmla="*/ 398560 h 1016771"/>
                    <a:gd name="connsiteX66" fmla="*/ 550898 w 761692"/>
                    <a:gd name="connsiteY66" fmla="*/ 405646 h 1016771"/>
                    <a:gd name="connsiteX67" fmla="*/ 531413 w 761692"/>
                    <a:gd name="connsiteY67" fmla="*/ 425131 h 1016771"/>
                    <a:gd name="connsiteX68" fmla="*/ 543813 w 761692"/>
                    <a:gd name="connsiteY68" fmla="*/ 444616 h 1016771"/>
                    <a:gd name="connsiteX69" fmla="*/ 557984 w 761692"/>
                    <a:gd name="connsiteY69" fmla="*/ 462330 h 1016771"/>
                    <a:gd name="connsiteX70" fmla="*/ 570383 w 761692"/>
                    <a:gd name="connsiteY70" fmla="*/ 478272 h 1016771"/>
                    <a:gd name="connsiteX71" fmla="*/ 579240 w 761692"/>
                    <a:gd name="connsiteY71" fmla="*/ 485358 h 1016771"/>
                    <a:gd name="connsiteX72" fmla="*/ 602268 w 761692"/>
                    <a:gd name="connsiteY72" fmla="*/ 483586 h 1016771"/>
                    <a:gd name="connsiteX73" fmla="*/ 623525 w 761692"/>
                    <a:gd name="connsiteY73" fmla="*/ 474730 h 1016771"/>
                    <a:gd name="connsiteX74" fmla="*/ 639467 w 761692"/>
                    <a:gd name="connsiteY74" fmla="*/ 464101 h 1016771"/>
                    <a:gd name="connsiteX75" fmla="*/ 662495 w 761692"/>
                    <a:gd name="connsiteY75" fmla="*/ 464101 h 1016771"/>
                    <a:gd name="connsiteX76" fmla="*/ 673123 w 761692"/>
                    <a:gd name="connsiteY76" fmla="*/ 464101 h 1016771"/>
                    <a:gd name="connsiteX77" fmla="*/ 681980 w 761692"/>
                    <a:gd name="connsiteY77" fmla="*/ 467644 h 1016771"/>
                    <a:gd name="connsiteX78" fmla="*/ 703237 w 761692"/>
                    <a:gd name="connsiteY78" fmla="*/ 471187 h 1016771"/>
                    <a:gd name="connsiteX79" fmla="*/ 708551 w 761692"/>
                    <a:gd name="connsiteY79" fmla="*/ 474730 h 1016771"/>
                    <a:gd name="connsiteX80" fmla="*/ 722722 w 761692"/>
                    <a:gd name="connsiteY80" fmla="*/ 501300 h 1016771"/>
                    <a:gd name="connsiteX81" fmla="*/ 724493 w 761692"/>
                    <a:gd name="connsiteY81" fmla="*/ 522557 h 1016771"/>
                    <a:gd name="connsiteX82" fmla="*/ 722722 w 761692"/>
                    <a:gd name="connsiteY82" fmla="*/ 540271 h 1016771"/>
                    <a:gd name="connsiteX83" fmla="*/ 735121 w 761692"/>
                    <a:gd name="connsiteY83" fmla="*/ 552670 h 1016771"/>
                    <a:gd name="connsiteX84" fmla="*/ 735121 w 761692"/>
                    <a:gd name="connsiteY84" fmla="*/ 570384 h 1016771"/>
                    <a:gd name="connsiteX85" fmla="*/ 751064 w 761692"/>
                    <a:gd name="connsiteY85" fmla="*/ 581012 h 1016771"/>
                    <a:gd name="connsiteX86" fmla="*/ 761692 w 761692"/>
                    <a:gd name="connsiteY86" fmla="*/ 604040 h 1016771"/>
                    <a:gd name="connsiteX87" fmla="*/ 747521 w 761692"/>
                    <a:gd name="connsiteY87" fmla="*/ 616440 h 1016771"/>
                    <a:gd name="connsiteX88" fmla="*/ 728036 w 761692"/>
                    <a:gd name="connsiteY88" fmla="*/ 627068 h 1016771"/>
                    <a:gd name="connsiteX89" fmla="*/ 726264 w 761692"/>
                    <a:gd name="connsiteY89" fmla="*/ 650096 h 1016771"/>
                    <a:gd name="connsiteX90" fmla="*/ 728036 w 761692"/>
                    <a:gd name="connsiteY90" fmla="*/ 673124 h 1016771"/>
                    <a:gd name="connsiteX91" fmla="*/ 742207 w 761692"/>
                    <a:gd name="connsiteY91" fmla="*/ 689066 h 1016771"/>
                    <a:gd name="connsiteX92" fmla="*/ 742207 w 761692"/>
                    <a:gd name="connsiteY92" fmla="*/ 712094 h 1016771"/>
                    <a:gd name="connsiteX93" fmla="*/ 740435 w 761692"/>
                    <a:gd name="connsiteY93" fmla="*/ 735122 h 1016771"/>
                    <a:gd name="connsiteX94" fmla="*/ 742207 w 761692"/>
                    <a:gd name="connsiteY94" fmla="*/ 751065 h 1016771"/>
                    <a:gd name="connsiteX95" fmla="*/ 747521 w 761692"/>
                    <a:gd name="connsiteY95" fmla="*/ 768778 h 1016771"/>
                    <a:gd name="connsiteX96" fmla="*/ 759921 w 761692"/>
                    <a:gd name="connsiteY96" fmla="*/ 777635 h 1016771"/>
                    <a:gd name="connsiteX97" fmla="*/ 758149 w 761692"/>
                    <a:gd name="connsiteY97" fmla="*/ 802434 h 1016771"/>
                    <a:gd name="connsiteX98" fmla="*/ 752835 w 761692"/>
                    <a:gd name="connsiteY98" fmla="*/ 814834 h 1016771"/>
                    <a:gd name="connsiteX99" fmla="*/ 743978 w 761692"/>
                    <a:gd name="connsiteY99" fmla="*/ 827234 h 1016771"/>
                    <a:gd name="connsiteX100" fmla="*/ 743978 w 761692"/>
                    <a:gd name="connsiteY100" fmla="*/ 837862 h 1016771"/>
                    <a:gd name="connsiteX101" fmla="*/ 747521 w 761692"/>
                    <a:gd name="connsiteY101" fmla="*/ 853804 h 1016771"/>
                    <a:gd name="connsiteX102" fmla="*/ 733350 w 761692"/>
                    <a:gd name="connsiteY102" fmla="*/ 867975 h 1016771"/>
                    <a:gd name="connsiteX103" fmla="*/ 724493 w 761692"/>
                    <a:gd name="connsiteY103" fmla="*/ 880375 h 1016771"/>
                    <a:gd name="connsiteX104" fmla="*/ 722722 w 761692"/>
                    <a:gd name="connsiteY104" fmla="*/ 899860 h 1016771"/>
                    <a:gd name="connsiteX105" fmla="*/ 722722 w 761692"/>
                    <a:gd name="connsiteY105" fmla="*/ 919345 h 1016771"/>
                    <a:gd name="connsiteX106" fmla="*/ 715636 w 761692"/>
                    <a:gd name="connsiteY106" fmla="*/ 940602 h 1016771"/>
                    <a:gd name="connsiteX107" fmla="*/ 708551 w 761692"/>
                    <a:gd name="connsiteY107" fmla="*/ 954773 h 1016771"/>
                    <a:gd name="connsiteX108" fmla="*/ 699694 w 761692"/>
                    <a:gd name="connsiteY108" fmla="*/ 965401 h 1016771"/>
                    <a:gd name="connsiteX109" fmla="*/ 692608 w 761692"/>
                    <a:gd name="connsiteY109" fmla="*/ 984886 h 1016771"/>
                    <a:gd name="connsiteX110" fmla="*/ 683751 w 761692"/>
                    <a:gd name="connsiteY110" fmla="*/ 997286 h 1016771"/>
                    <a:gd name="connsiteX111" fmla="*/ 673123 w 761692"/>
                    <a:gd name="connsiteY111" fmla="*/ 1002600 h 1016771"/>
                    <a:gd name="connsiteX112" fmla="*/ 662495 w 761692"/>
                    <a:gd name="connsiteY112" fmla="*/ 1013228 h 1016771"/>
                    <a:gd name="connsiteX113" fmla="*/ 644781 w 761692"/>
                    <a:gd name="connsiteY113" fmla="*/ 1016771 h 1016771"/>
                    <a:gd name="connsiteX114" fmla="*/ 635924 w 761692"/>
                    <a:gd name="connsiteY114" fmla="*/ 1004372 h 1016771"/>
                    <a:gd name="connsiteX115" fmla="*/ 623525 w 761692"/>
                    <a:gd name="connsiteY115" fmla="*/ 997286 h 1016771"/>
                    <a:gd name="connsiteX116" fmla="*/ 614668 w 761692"/>
                    <a:gd name="connsiteY116" fmla="*/ 986658 h 1016771"/>
                    <a:gd name="connsiteX117" fmla="*/ 593411 w 761692"/>
                    <a:gd name="connsiteY117" fmla="*/ 970715 h 1016771"/>
                    <a:gd name="connsiteX118" fmla="*/ 582783 w 761692"/>
                    <a:gd name="connsiteY118" fmla="*/ 965401 h 1016771"/>
                    <a:gd name="connsiteX119" fmla="*/ 531413 w 761692"/>
                    <a:gd name="connsiteY119" fmla="*/ 965401 h 1016771"/>
                    <a:gd name="connsiteX120" fmla="*/ 511928 w 761692"/>
                    <a:gd name="connsiteY120" fmla="*/ 965401 h 1016771"/>
                    <a:gd name="connsiteX121" fmla="*/ 492443 w 761692"/>
                    <a:gd name="connsiteY121" fmla="*/ 963630 h 1016771"/>
                    <a:gd name="connsiteX122" fmla="*/ 483586 w 761692"/>
                    <a:gd name="connsiteY122" fmla="*/ 958316 h 1016771"/>
                    <a:gd name="connsiteX123" fmla="*/ 469415 w 761692"/>
                    <a:gd name="connsiteY123" fmla="*/ 954773 h 1016771"/>
                    <a:gd name="connsiteX124" fmla="*/ 460558 w 761692"/>
                    <a:gd name="connsiteY124" fmla="*/ 942373 h 1016771"/>
                    <a:gd name="connsiteX125" fmla="*/ 446387 w 761692"/>
                    <a:gd name="connsiteY125" fmla="*/ 935288 h 1016771"/>
                    <a:gd name="connsiteX126" fmla="*/ 428673 w 761692"/>
                    <a:gd name="connsiteY126" fmla="*/ 928202 h 1016771"/>
                    <a:gd name="connsiteX127" fmla="*/ 418045 w 761692"/>
                    <a:gd name="connsiteY127" fmla="*/ 917574 h 1016771"/>
                    <a:gd name="connsiteX128" fmla="*/ 421588 w 761692"/>
                    <a:gd name="connsiteY128" fmla="*/ 903403 h 1016771"/>
                    <a:gd name="connsiteX129" fmla="*/ 418045 w 761692"/>
                    <a:gd name="connsiteY129" fmla="*/ 898089 h 1016771"/>
                    <a:gd name="connsiteX130" fmla="*/ 396788 w 761692"/>
                    <a:gd name="connsiteY130" fmla="*/ 898089 h 1016771"/>
                    <a:gd name="connsiteX131" fmla="*/ 382617 w 761692"/>
                    <a:gd name="connsiteY131" fmla="*/ 896318 h 1016771"/>
                    <a:gd name="connsiteX132" fmla="*/ 380846 w 761692"/>
                    <a:gd name="connsiteY132" fmla="*/ 906946 h 1016771"/>
                    <a:gd name="connsiteX133" fmla="*/ 373601 w 761692"/>
                    <a:gd name="connsiteY133" fmla="*/ 894832 h 1016771"/>
                    <a:gd name="connsiteX134" fmla="*/ 387164 w 761692"/>
                    <a:gd name="connsiteY134" fmla="*/ 896527 h 1016771"/>
                    <a:gd name="connsiteX135" fmla="*/ 383773 w 761692"/>
                    <a:gd name="connsiteY135" fmla="*/ 886355 h 1016771"/>
                    <a:gd name="connsiteX136" fmla="*/ 387164 w 761692"/>
                    <a:gd name="connsiteY136" fmla="*/ 876183 h 1016771"/>
                    <a:gd name="connsiteX137" fmla="*/ 388859 w 761692"/>
                    <a:gd name="connsiteY137" fmla="*/ 867707 h 1016771"/>
                    <a:gd name="connsiteX138" fmla="*/ 380382 w 761692"/>
                    <a:gd name="connsiteY138" fmla="*/ 859230 h 1016771"/>
                    <a:gd name="connsiteX139" fmla="*/ 373601 w 761692"/>
                    <a:gd name="connsiteY139" fmla="*/ 849058 h 1016771"/>
                    <a:gd name="connsiteX140" fmla="*/ 380382 w 761692"/>
                    <a:gd name="connsiteY140" fmla="*/ 838886 h 1016771"/>
                    <a:gd name="connsiteX141" fmla="*/ 383773 w 761692"/>
                    <a:gd name="connsiteY141" fmla="*/ 833800 h 1016771"/>
                    <a:gd name="connsiteX142" fmla="*/ 388859 w 761692"/>
                    <a:gd name="connsiteY142" fmla="*/ 825324 h 1016771"/>
                    <a:gd name="connsiteX143" fmla="*/ 387164 w 761692"/>
                    <a:gd name="connsiteY143" fmla="*/ 810066 h 1016771"/>
                    <a:gd name="connsiteX144" fmla="*/ 387164 w 761692"/>
                    <a:gd name="connsiteY144" fmla="*/ 796503 h 1016771"/>
                    <a:gd name="connsiteX145" fmla="*/ 378687 w 761692"/>
                    <a:gd name="connsiteY145" fmla="*/ 789722 h 1016771"/>
                    <a:gd name="connsiteX146" fmla="*/ 366820 w 761692"/>
                    <a:gd name="connsiteY146" fmla="*/ 782940 h 1016771"/>
                    <a:gd name="connsiteX147" fmla="*/ 356648 w 761692"/>
                    <a:gd name="connsiteY147" fmla="*/ 781245 h 1016771"/>
                    <a:gd name="connsiteX148" fmla="*/ 349866 w 761692"/>
                    <a:gd name="connsiteY148" fmla="*/ 771073 h 1016771"/>
                    <a:gd name="connsiteX149" fmla="*/ 349866 w 761692"/>
                    <a:gd name="connsiteY149" fmla="*/ 752425 h 1016771"/>
                    <a:gd name="connsiteX150" fmla="*/ 353257 w 761692"/>
                    <a:gd name="connsiteY150" fmla="*/ 743948 h 1016771"/>
                    <a:gd name="connsiteX151" fmla="*/ 354952 w 761692"/>
                    <a:gd name="connsiteY151" fmla="*/ 730385 h 1016771"/>
                    <a:gd name="connsiteX152" fmla="*/ 353257 w 761692"/>
                    <a:gd name="connsiteY152" fmla="*/ 713432 h 1016771"/>
                    <a:gd name="connsiteX153" fmla="*/ 346476 w 761692"/>
                    <a:gd name="connsiteY153" fmla="*/ 701565 h 1016771"/>
                    <a:gd name="connsiteX154" fmla="*/ 332913 w 761692"/>
                    <a:gd name="connsiteY154" fmla="*/ 689697 h 1016771"/>
                    <a:gd name="connsiteX155" fmla="*/ 324436 w 761692"/>
                    <a:gd name="connsiteY155" fmla="*/ 681221 h 1016771"/>
                    <a:gd name="connsiteX156" fmla="*/ 314264 w 761692"/>
                    <a:gd name="connsiteY156" fmla="*/ 676135 h 1016771"/>
                    <a:gd name="connsiteX157" fmla="*/ 293920 w 761692"/>
                    <a:gd name="connsiteY157" fmla="*/ 669354 h 1016771"/>
                    <a:gd name="connsiteX158" fmla="*/ 282053 w 761692"/>
                    <a:gd name="connsiteY158" fmla="*/ 667658 h 1016771"/>
                    <a:gd name="connsiteX159" fmla="*/ 266795 w 761692"/>
                    <a:gd name="connsiteY159" fmla="*/ 672744 h 1016771"/>
                    <a:gd name="connsiteX160" fmla="*/ 265100 w 761692"/>
                    <a:gd name="connsiteY160" fmla="*/ 672744 h 1016771"/>
                    <a:gd name="connsiteX161" fmla="*/ 263404 w 761692"/>
                    <a:gd name="connsiteY161" fmla="*/ 671049 h 1016771"/>
                    <a:gd name="connsiteX162" fmla="*/ 260014 w 761692"/>
                    <a:gd name="connsiteY162" fmla="*/ 671049 h 1016771"/>
                    <a:gd name="connsiteX163" fmla="*/ 258318 w 761692"/>
                    <a:gd name="connsiteY163" fmla="*/ 671049 h 1016771"/>
                    <a:gd name="connsiteX164" fmla="*/ 253232 w 761692"/>
                    <a:gd name="connsiteY164" fmla="*/ 671049 h 1016771"/>
                    <a:gd name="connsiteX165" fmla="*/ 248146 w 761692"/>
                    <a:gd name="connsiteY165" fmla="*/ 672744 h 1016771"/>
                    <a:gd name="connsiteX166" fmla="*/ 248146 w 761692"/>
                    <a:gd name="connsiteY166" fmla="*/ 674440 h 1016771"/>
                    <a:gd name="connsiteX167" fmla="*/ 246451 w 761692"/>
                    <a:gd name="connsiteY167" fmla="*/ 674440 h 1016771"/>
                    <a:gd name="connsiteX168" fmla="*/ 236279 w 761692"/>
                    <a:gd name="connsiteY168" fmla="*/ 679526 h 1016771"/>
                    <a:gd name="connsiteX169" fmla="*/ 226107 w 761692"/>
                    <a:gd name="connsiteY169" fmla="*/ 684612 h 1016771"/>
                    <a:gd name="connsiteX170" fmla="*/ 217630 w 761692"/>
                    <a:gd name="connsiteY170" fmla="*/ 684612 h 1016771"/>
                    <a:gd name="connsiteX171" fmla="*/ 207458 w 761692"/>
                    <a:gd name="connsiteY171" fmla="*/ 693088 h 1016771"/>
                    <a:gd name="connsiteX172" fmla="*/ 198982 w 761692"/>
                    <a:gd name="connsiteY172" fmla="*/ 694783 h 1016771"/>
                    <a:gd name="connsiteX173" fmla="*/ 192200 w 761692"/>
                    <a:gd name="connsiteY173" fmla="*/ 699869 h 1016771"/>
                    <a:gd name="connsiteX174" fmla="*/ 178638 w 761692"/>
                    <a:gd name="connsiteY174" fmla="*/ 706651 h 1016771"/>
                    <a:gd name="connsiteX175" fmla="*/ 163380 w 761692"/>
                    <a:gd name="connsiteY175" fmla="*/ 710041 h 1016771"/>
                    <a:gd name="connsiteX176" fmla="*/ 141340 w 761692"/>
                    <a:gd name="connsiteY176" fmla="*/ 710041 h 1016771"/>
                    <a:gd name="connsiteX177" fmla="*/ 134559 w 761692"/>
                    <a:gd name="connsiteY177" fmla="*/ 716823 h 1016771"/>
                    <a:gd name="connsiteX178" fmla="*/ 127778 w 761692"/>
                    <a:gd name="connsiteY178" fmla="*/ 718518 h 1016771"/>
                    <a:gd name="connsiteX179" fmla="*/ 120996 w 761692"/>
                    <a:gd name="connsiteY179" fmla="*/ 725299 h 1016771"/>
                    <a:gd name="connsiteX180" fmla="*/ 111172 w 761692"/>
                    <a:gd name="connsiteY180" fmla="*/ 733720 h 1016771"/>
                    <a:gd name="connsiteX181" fmla="*/ 106283 w 761692"/>
                    <a:gd name="connsiteY181" fmla="*/ 729808 h 1016771"/>
                    <a:gd name="connsiteX182" fmla="*/ 92112 w 761692"/>
                    <a:gd name="connsiteY182" fmla="*/ 724494 h 1016771"/>
                    <a:gd name="connsiteX183" fmla="*/ 77941 w 761692"/>
                    <a:gd name="connsiteY183" fmla="*/ 726265 h 1016771"/>
                    <a:gd name="connsiteX184" fmla="*/ 70855 w 761692"/>
                    <a:gd name="connsiteY184" fmla="*/ 719180 h 1016771"/>
                    <a:gd name="connsiteX185" fmla="*/ 70855 w 761692"/>
                    <a:gd name="connsiteY185" fmla="*/ 699695 h 1016771"/>
                    <a:gd name="connsiteX186" fmla="*/ 81483 w 761692"/>
                    <a:gd name="connsiteY186" fmla="*/ 685524 h 1016771"/>
                    <a:gd name="connsiteX187" fmla="*/ 85026 w 761692"/>
                    <a:gd name="connsiteY187" fmla="*/ 673124 h 1016771"/>
                    <a:gd name="connsiteX188" fmla="*/ 86797 w 761692"/>
                    <a:gd name="connsiteY188" fmla="*/ 660724 h 1016771"/>
                    <a:gd name="connsiteX189" fmla="*/ 97426 w 761692"/>
                    <a:gd name="connsiteY189" fmla="*/ 650096 h 1016771"/>
                    <a:gd name="connsiteX190" fmla="*/ 102740 w 761692"/>
                    <a:gd name="connsiteY190" fmla="*/ 635925 h 1016771"/>
                    <a:gd name="connsiteX191" fmla="*/ 113368 w 761692"/>
                    <a:gd name="connsiteY191" fmla="*/ 625297 h 1016771"/>
                    <a:gd name="connsiteX192" fmla="*/ 115139 w 761692"/>
                    <a:gd name="connsiteY192" fmla="*/ 612897 h 1016771"/>
                    <a:gd name="connsiteX193" fmla="*/ 127539 w 761692"/>
                    <a:gd name="connsiteY193" fmla="*/ 609354 h 1016771"/>
                    <a:gd name="connsiteX194" fmla="*/ 136396 w 761692"/>
                    <a:gd name="connsiteY194" fmla="*/ 604040 h 1016771"/>
                    <a:gd name="connsiteX195" fmla="*/ 132853 w 761692"/>
                    <a:gd name="connsiteY195" fmla="*/ 593412 h 1016771"/>
                    <a:gd name="connsiteX196" fmla="*/ 134625 w 761692"/>
                    <a:gd name="connsiteY196" fmla="*/ 584555 h 1016771"/>
                    <a:gd name="connsiteX197" fmla="*/ 131082 w 761692"/>
                    <a:gd name="connsiteY197" fmla="*/ 575698 h 1016771"/>
                    <a:gd name="connsiteX198" fmla="*/ 120454 w 761692"/>
                    <a:gd name="connsiteY198" fmla="*/ 568613 h 1016771"/>
                    <a:gd name="connsiteX199" fmla="*/ 125768 w 761692"/>
                    <a:gd name="connsiteY199" fmla="*/ 552670 h 1016771"/>
                    <a:gd name="connsiteX200" fmla="*/ 118682 w 761692"/>
                    <a:gd name="connsiteY200" fmla="*/ 543813 h 1016771"/>
                    <a:gd name="connsiteX201" fmla="*/ 90340 w 761692"/>
                    <a:gd name="connsiteY201" fmla="*/ 543813 h 1016771"/>
                    <a:gd name="connsiteX202" fmla="*/ 86797 w 761692"/>
                    <a:gd name="connsiteY202" fmla="*/ 542042 h 1016771"/>
                    <a:gd name="connsiteX203" fmla="*/ 83255 w 761692"/>
                    <a:gd name="connsiteY203" fmla="*/ 542042 h 1016771"/>
                    <a:gd name="connsiteX204" fmla="*/ 81483 w 761692"/>
                    <a:gd name="connsiteY204" fmla="*/ 540271 h 1016771"/>
                    <a:gd name="connsiteX205" fmla="*/ 81483 w 761692"/>
                    <a:gd name="connsiteY205" fmla="*/ 536728 h 1016771"/>
                    <a:gd name="connsiteX206" fmla="*/ 79712 w 761692"/>
                    <a:gd name="connsiteY206" fmla="*/ 531414 h 1016771"/>
                    <a:gd name="connsiteX207" fmla="*/ 77941 w 761692"/>
                    <a:gd name="connsiteY207" fmla="*/ 529642 h 1016771"/>
                    <a:gd name="connsiteX208" fmla="*/ 70855 w 761692"/>
                    <a:gd name="connsiteY208" fmla="*/ 527871 h 1016771"/>
                    <a:gd name="connsiteX209" fmla="*/ 60227 w 761692"/>
                    <a:gd name="connsiteY209" fmla="*/ 536728 h 1016771"/>
                    <a:gd name="connsiteX210" fmla="*/ 47827 w 761692"/>
                    <a:gd name="connsiteY210" fmla="*/ 526100 h 1016771"/>
                    <a:gd name="connsiteX211" fmla="*/ 42513 w 761692"/>
                    <a:gd name="connsiteY211" fmla="*/ 515471 h 1016771"/>
                    <a:gd name="connsiteX212" fmla="*/ 33656 w 761692"/>
                    <a:gd name="connsiteY212" fmla="*/ 506614 h 1016771"/>
                    <a:gd name="connsiteX213" fmla="*/ 31885 w 761692"/>
                    <a:gd name="connsiteY213" fmla="*/ 490672 h 1016771"/>
                    <a:gd name="connsiteX214" fmla="*/ 26571 w 761692"/>
                    <a:gd name="connsiteY214" fmla="*/ 476501 h 1016771"/>
                    <a:gd name="connsiteX215" fmla="*/ 24799 w 761692"/>
                    <a:gd name="connsiteY215" fmla="*/ 471187 h 1016771"/>
                    <a:gd name="connsiteX216" fmla="*/ 12400 w 761692"/>
                    <a:gd name="connsiteY216" fmla="*/ 472958 h 1016771"/>
                    <a:gd name="connsiteX217" fmla="*/ 7086 w 761692"/>
                    <a:gd name="connsiteY217" fmla="*/ 464101 h 1016771"/>
                    <a:gd name="connsiteX218" fmla="*/ 8857 w 761692"/>
                    <a:gd name="connsiteY218" fmla="*/ 446388 h 1016771"/>
                    <a:gd name="connsiteX219" fmla="*/ 3543 w 761692"/>
                    <a:gd name="connsiteY219" fmla="*/ 435759 h 1016771"/>
                    <a:gd name="connsiteX220" fmla="*/ 5314 w 761692"/>
                    <a:gd name="connsiteY220" fmla="*/ 412731 h 1016771"/>
                    <a:gd name="connsiteX221" fmla="*/ 0 w 761692"/>
                    <a:gd name="connsiteY221" fmla="*/ 396789 h 1016771"/>
                    <a:gd name="connsiteX222" fmla="*/ 3543 w 761692"/>
                    <a:gd name="connsiteY222" fmla="*/ 384389 h 1016771"/>
                    <a:gd name="connsiteX223" fmla="*/ 14171 w 761692"/>
                    <a:gd name="connsiteY223" fmla="*/ 380846 h 1016771"/>
                    <a:gd name="connsiteX224" fmla="*/ 24799 w 761692"/>
                    <a:gd name="connsiteY224" fmla="*/ 364904 h 1016771"/>
                    <a:gd name="connsiteX225" fmla="*/ 30113 w 761692"/>
                    <a:gd name="connsiteY225" fmla="*/ 350733 h 1016771"/>
                    <a:gd name="connsiteX226" fmla="*/ 35428 w 761692"/>
                    <a:gd name="connsiteY226" fmla="*/ 341876 h 1016771"/>
                    <a:gd name="connsiteX227" fmla="*/ 42513 w 761692"/>
                    <a:gd name="connsiteY227" fmla="*/ 327705 h 1016771"/>
                    <a:gd name="connsiteX228" fmla="*/ 42513 w 761692"/>
                    <a:gd name="connsiteY228" fmla="*/ 315305 h 1016771"/>
                    <a:gd name="connsiteX229" fmla="*/ 56684 w 761692"/>
                    <a:gd name="connsiteY229" fmla="*/ 309991 h 1016771"/>
                    <a:gd name="connsiteX230" fmla="*/ 60227 w 761692"/>
                    <a:gd name="connsiteY230" fmla="*/ 309991 h 1016771"/>
                    <a:gd name="connsiteX231" fmla="*/ 61998 w 761692"/>
                    <a:gd name="connsiteY231" fmla="*/ 311763 h 1016771"/>
                    <a:gd name="connsiteX232" fmla="*/ 67312 w 761692"/>
                    <a:gd name="connsiteY232" fmla="*/ 311763 h 1016771"/>
                    <a:gd name="connsiteX233" fmla="*/ 67312 w 761692"/>
                    <a:gd name="connsiteY233" fmla="*/ 309991 h 1016771"/>
                    <a:gd name="connsiteX234" fmla="*/ 67312 w 761692"/>
                    <a:gd name="connsiteY234" fmla="*/ 308220 h 1016771"/>
                    <a:gd name="connsiteX235" fmla="*/ 69084 w 761692"/>
                    <a:gd name="connsiteY235" fmla="*/ 302906 h 1016771"/>
                    <a:gd name="connsiteX236" fmla="*/ 70855 w 761692"/>
                    <a:gd name="connsiteY236" fmla="*/ 301134 h 1016771"/>
                    <a:gd name="connsiteX237" fmla="*/ 70855 w 761692"/>
                    <a:gd name="connsiteY237" fmla="*/ 299363 h 1016771"/>
                    <a:gd name="connsiteX238" fmla="*/ 77941 w 761692"/>
                    <a:gd name="connsiteY238" fmla="*/ 295820 h 1016771"/>
                    <a:gd name="connsiteX239" fmla="*/ 85026 w 761692"/>
                    <a:gd name="connsiteY239" fmla="*/ 295820 h 1016771"/>
                    <a:gd name="connsiteX240" fmla="*/ 93883 w 761692"/>
                    <a:gd name="connsiteY240" fmla="*/ 297592 h 1016771"/>
                    <a:gd name="connsiteX241" fmla="*/ 100968 w 761692"/>
                    <a:gd name="connsiteY241" fmla="*/ 288735 h 1016771"/>
                    <a:gd name="connsiteX242" fmla="*/ 97426 w 761692"/>
                    <a:gd name="connsiteY242" fmla="*/ 279878 h 1016771"/>
                    <a:gd name="connsiteX243" fmla="*/ 85026 w 761692"/>
                    <a:gd name="connsiteY243" fmla="*/ 276335 h 1016771"/>
                    <a:gd name="connsiteX244" fmla="*/ 76169 w 761692"/>
                    <a:gd name="connsiteY244" fmla="*/ 271021 h 1016771"/>
                    <a:gd name="connsiteX245" fmla="*/ 76169 w 761692"/>
                    <a:gd name="connsiteY245" fmla="*/ 262164 h 1016771"/>
                    <a:gd name="connsiteX246" fmla="*/ 81483 w 761692"/>
                    <a:gd name="connsiteY246" fmla="*/ 251536 h 1016771"/>
                    <a:gd name="connsiteX247" fmla="*/ 86797 w 761692"/>
                    <a:gd name="connsiteY247" fmla="*/ 255079 h 1016771"/>
                    <a:gd name="connsiteX248" fmla="*/ 104511 w 761692"/>
                    <a:gd name="connsiteY248" fmla="*/ 262164 h 1016771"/>
                    <a:gd name="connsiteX249" fmla="*/ 116911 w 761692"/>
                    <a:gd name="connsiteY249" fmla="*/ 265707 h 1016771"/>
                    <a:gd name="connsiteX250" fmla="*/ 132853 w 761692"/>
                    <a:gd name="connsiteY250" fmla="*/ 269250 h 1016771"/>
                    <a:gd name="connsiteX251" fmla="*/ 138167 w 761692"/>
                    <a:gd name="connsiteY251" fmla="*/ 265707 h 1016771"/>
                    <a:gd name="connsiteX252" fmla="*/ 150567 w 761692"/>
                    <a:gd name="connsiteY252" fmla="*/ 255079 h 1016771"/>
                    <a:gd name="connsiteX253" fmla="*/ 166509 w 761692"/>
                    <a:gd name="connsiteY253" fmla="*/ 255079 h 1016771"/>
                    <a:gd name="connsiteX254" fmla="*/ 166509 w 761692"/>
                    <a:gd name="connsiteY254" fmla="*/ 265707 h 1016771"/>
                    <a:gd name="connsiteX255" fmla="*/ 177138 w 761692"/>
                    <a:gd name="connsiteY255" fmla="*/ 272792 h 1016771"/>
                    <a:gd name="connsiteX256" fmla="*/ 194851 w 761692"/>
                    <a:gd name="connsiteY256" fmla="*/ 276335 h 1016771"/>
                    <a:gd name="connsiteX257" fmla="*/ 209022 w 761692"/>
                    <a:gd name="connsiteY257" fmla="*/ 279878 h 1016771"/>
                    <a:gd name="connsiteX258" fmla="*/ 221422 w 761692"/>
                    <a:gd name="connsiteY258" fmla="*/ 276335 h 1016771"/>
                    <a:gd name="connsiteX259" fmla="*/ 226736 w 761692"/>
                    <a:gd name="connsiteY259" fmla="*/ 269250 h 1016771"/>
                    <a:gd name="connsiteX260" fmla="*/ 226736 w 761692"/>
                    <a:gd name="connsiteY260" fmla="*/ 251536 h 1016771"/>
                    <a:gd name="connsiteX261" fmla="*/ 224965 w 761692"/>
                    <a:gd name="connsiteY261" fmla="*/ 239136 h 1016771"/>
                    <a:gd name="connsiteX262" fmla="*/ 214337 w 761692"/>
                    <a:gd name="connsiteY262" fmla="*/ 230279 h 1016771"/>
                    <a:gd name="connsiteX263" fmla="*/ 210794 w 761692"/>
                    <a:gd name="connsiteY263" fmla="*/ 217880 h 1016771"/>
                    <a:gd name="connsiteX264" fmla="*/ 221422 w 761692"/>
                    <a:gd name="connsiteY264" fmla="*/ 207251 h 1016771"/>
                    <a:gd name="connsiteX265" fmla="*/ 235593 w 761692"/>
                    <a:gd name="connsiteY265" fmla="*/ 214337 h 1016771"/>
                    <a:gd name="connsiteX266" fmla="*/ 246221 w 761692"/>
                    <a:gd name="connsiteY266" fmla="*/ 219651 h 1016771"/>
                    <a:gd name="connsiteX267" fmla="*/ 253307 w 761692"/>
                    <a:gd name="connsiteY267" fmla="*/ 221422 h 1016771"/>
                    <a:gd name="connsiteX268" fmla="*/ 262164 w 761692"/>
                    <a:gd name="connsiteY268" fmla="*/ 210794 h 1016771"/>
                    <a:gd name="connsiteX269" fmla="*/ 263935 w 761692"/>
                    <a:gd name="connsiteY269" fmla="*/ 201937 h 1016771"/>
                    <a:gd name="connsiteX270" fmla="*/ 274563 w 761692"/>
                    <a:gd name="connsiteY270" fmla="*/ 189538 h 1016771"/>
                    <a:gd name="connsiteX271" fmla="*/ 283420 w 761692"/>
                    <a:gd name="connsiteY271" fmla="*/ 178909 h 1016771"/>
                    <a:gd name="connsiteX272" fmla="*/ 286963 w 761692"/>
                    <a:gd name="connsiteY272" fmla="*/ 173595 h 1016771"/>
                    <a:gd name="connsiteX273" fmla="*/ 311762 w 761692"/>
                    <a:gd name="connsiteY273" fmla="*/ 168281 h 1016771"/>
                    <a:gd name="connsiteX274" fmla="*/ 325933 w 761692"/>
                    <a:gd name="connsiteY274" fmla="*/ 164738 h 1016771"/>
                    <a:gd name="connsiteX275" fmla="*/ 336562 w 761692"/>
                    <a:gd name="connsiteY275" fmla="*/ 159424 h 1016771"/>
                    <a:gd name="connsiteX276" fmla="*/ 348961 w 761692"/>
                    <a:gd name="connsiteY276" fmla="*/ 145253 h 1016771"/>
                    <a:gd name="connsiteX277" fmla="*/ 359589 w 761692"/>
                    <a:gd name="connsiteY277" fmla="*/ 143482 h 1016771"/>
                    <a:gd name="connsiteX278" fmla="*/ 371989 w 761692"/>
                    <a:gd name="connsiteY278" fmla="*/ 143482 h 1016771"/>
                    <a:gd name="connsiteX279" fmla="*/ 391474 w 761692"/>
                    <a:gd name="connsiteY279" fmla="*/ 143482 h 1016771"/>
                    <a:gd name="connsiteX280" fmla="*/ 396788 w 761692"/>
                    <a:gd name="connsiteY280" fmla="*/ 141710 h 1016771"/>
                    <a:gd name="connsiteX281" fmla="*/ 403874 w 761692"/>
                    <a:gd name="connsiteY281" fmla="*/ 134625 h 1016771"/>
                    <a:gd name="connsiteX282" fmla="*/ 409188 w 761692"/>
                    <a:gd name="connsiteY282" fmla="*/ 129311 h 1016771"/>
                    <a:gd name="connsiteX283" fmla="*/ 409188 w 761692"/>
                    <a:gd name="connsiteY283" fmla="*/ 123997 h 1016771"/>
                    <a:gd name="connsiteX284" fmla="*/ 414502 w 761692"/>
                    <a:gd name="connsiteY284" fmla="*/ 115140 h 1016771"/>
                    <a:gd name="connsiteX285" fmla="*/ 428673 w 761692"/>
                    <a:gd name="connsiteY285" fmla="*/ 115140 h 1016771"/>
                    <a:gd name="connsiteX286" fmla="*/ 432216 w 761692"/>
                    <a:gd name="connsiteY286" fmla="*/ 109826 h 1016771"/>
                    <a:gd name="connsiteX287" fmla="*/ 437530 w 761692"/>
                    <a:gd name="connsiteY287" fmla="*/ 100969 h 1016771"/>
                    <a:gd name="connsiteX288" fmla="*/ 448158 w 761692"/>
                    <a:gd name="connsiteY288" fmla="*/ 99197 h 1016771"/>
                    <a:gd name="connsiteX289" fmla="*/ 460558 w 761692"/>
                    <a:gd name="connsiteY289" fmla="*/ 97426 h 1016771"/>
                    <a:gd name="connsiteX290" fmla="*/ 472958 w 761692"/>
                    <a:gd name="connsiteY290" fmla="*/ 93883 h 1016771"/>
                    <a:gd name="connsiteX291" fmla="*/ 492443 w 761692"/>
                    <a:gd name="connsiteY291" fmla="*/ 93883 h 1016771"/>
                    <a:gd name="connsiteX292" fmla="*/ 501300 w 761692"/>
                    <a:gd name="connsiteY292" fmla="*/ 83255 h 1016771"/>
                    <a:gd name="connsiteX293" fmla="*/ 517242 w 761692"/>
                    <a:gd name="connsiteY293" fmla="*/ 81484 h 1016771"/>
                    <a:gd name="connsiteX294" fmla="*/ 522556 w 761692"/>
                    <a:gd name="connsiteY294" fmla="*/ 81484 h 1016771"/>
                    <a:gd name="connsiteX295" fmla="*/ 522556 w 761692"/>
                    <a:gd name="connsiteY295" fmla="*/ 60227 h 1016771"/>
                    <a:gd name="connsiteX296" fmla="*/ 526099 w 761692"/>
                    <a:gd name="connsiteY296" fmla="*/ 54913 h 1016771"/>
                    <a:gd name="connsiteX297" fmla="*/ 529642 w 761692"/>
                    <a:gd name="connsiteY297" fmla="*/ 46056 h 1016771"/>
                    <a:gd name="connsiteX298" fmla="*/ 538499 w 761692"/>
                    <a:gd name="connsiteY298" fmla="*/ 40742 h 1016771"/>
                    <a:gd name="connsiteX299" fmla="*/ 540270 w 761692"/>
                    <a:gd name="connsiteY299" fmla="*/ 30114 h 1016771"/>
                    <a:gd name="connsiteX300" fmla="*/ 536727 w 761692"/>
                    <a:gd name="connsiteY300" fmla="*/ 19485 h 1016771"/>
                    <a:gd name="connsiteX301" fmla="*/ 543813 w 761692"/>
                    <a:gd name="connsiteY301" fmla="*/ 5314 h 1016771"/>
                    <a:gd name="connsiteX302" fmla="*/ 554441 w 761692"/>
                    <a:gd name="connsiteY302" fmla="*/ 0 h 1016771"/>
                    <a:gd name="connsiteX0" fmla="*/ 145253 w 761692"/>
                    <a:gd name="connsiteY0" fmla="*/ 843176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8167 w 761692"/>
                    <a:gd name="connsiteY9" fmla="*/ 852033 h 1016771"/>
                    <a:gd name="connsiteX10" fmla="*/ 139939 w 761692"/>
                    <a:gd name="connsiteY10" fmla="*/ 850262 h 1016771"/>
                    <a:gd name="connsiteX11" fmla="*/ 145253 w 761692"/>
                    <a:gd name="connsiteY11" fmla="*/ 843176 h 1016771"/>
                    <a:gd name="connsiteX12" fmla="*/ 116476 w 761692"/>
                    <a:gd name="connsiteY12" fmla="*/ 741349 h 1016771"/>
                    <a:gd name="connsiteX13" fmla="*/ 117606 w 761692"/>
                    <a:gd name="connsiteY13" fmla="*/ 742253 h 1016771"/>
                    <a:gd name="connsiteX14" fmla="*/ 122692 w 761692"/>
                    <a:gd name="connsiteY14" fmla="*/ 759206 h 1016771"/>
                    <a:gd name="connsiteX15" fmla="*/ 126082 w 761692"/>
                    <a:gd name="connsiteY15" fmla="*/ 771073 h 1016771"/>
                    <a:gd name="connsiteX16" fmla="*/ 129473 w 761692"/>
                    <a:gd name="connsiteY16" fmla="*/ 782940 h 1016771"/>
                    <a:gd name="connsiteX17" fmla="*/ 132864 w 761692"/>
                    <a:gd name="connsiteY17" fmla="*/ 793112 h 1016771"/>
                    <a:gd name="connsiteX18" fmla="*/ 136254 w 761692"/>
                    <a:gd name="connsiteY18" fmla="*/ 810066 h 1016771"/>
                    <a:gd name="connsiteX19" fmla="*/ 139058 w 761692"/>
                    <a:gd name="connsiteY19" fmla="*/ 818476 h 1016771"/>
                    <a:gd name="connsiteX20" fmla="*/ 138167 w 761692"/>
                    <a:gd name="connsiteY20" fmla="*/ 818377 h 1016771"/>
                    <a:gd name="connsiteX21" fmla="*/ 134625 w 761692"/>
                    <a:gd name="connsiteY21" fmla="*/ 807749 h 1016771"/>
                    <a:gd name="connsiteX22" fmla="*/ 131082 w 761692"/>
                    <a:gd name="connsiteY22" fmla="*/ 790035 h 1016771"/>
                    <a:gd name="connsiteX23" fmla="*/ 127539 w 761692"/>
                    <a:gd name="connsiteY23" fmla="*/ 779407 h 1016771"/>
                    <a:gd name="connsiteX24" fmla="*/ 123996 w 761692"/>
                    <a:gd name="connsiteY24" fmla="*/ 767007 h 1016771"/>
                    <a:gd name="connsiteX25" fmla="*/ 120454 w 761692"/>
                    <a:gd name="connsiteY25" fmla="*/ 754607 h 1016771"/>
                    <a:gd name="connsiteX26" fmla="*/ 116476 w 761692"/>
                    <a:gd name="connsiteY26" fmla="*/ 741349 h 1016771"/>
                    <a:gd name="connsiteX27" fmla="*/ 554441 w 761692"/>
                    <a:gd name="connsiteY27" fmla="*/ 0 h 1016771"/>
                    <a:gd name="connsiteX28" fmla="*/ 570383 w 761692"/>
                    <a:gd name="connsiteY28" fmla="*/ 3543 h 1016771"/>
                    <a:gd name="connsiteX29" fmla="*/ 577469 w 761692"/>
                    <a:gd name="connsiteY29" fmla="*/ 8857 h 1016771"/>
                    <a:gd name="connsiteX30" fmla="*/ 582783 w 761692"/>
                    <a:gd name="connsiteY30" fmla="*/ 17714 h 1016771"/>
                    <a:gd name="connsiteX31" fmla="*/ 582783 w 761692"/>
                    <a:gd name="connsiteY31" fmla="*/ 24799 h 1016771"/>
                    <a:gd name="connsiteX32" fmla="*/ 588097 w 761692"/>
                    <a:gd name="connsiteY32" fmla="*/ 33656 h 1016771"/>
                    <a:gd name="connsiteX33" fmla="*/ 598725 w 761692"/>
                    <a:gd name="connsiteY33" fmla="*/ 31885 h 1016771"/>
                    <a:gd name="connsiteX34" fmla="*/ 612896 w 761692"/>
                    <a:gd name="connsiteY34" fmla="*/ 37199 h 1016771"/>
                    <a:gd name="connsiteX35" fmla="*/ 618211 w 761692"/>
                    <a:gd name="connsiteY35" fmla="*/ 46056 h 1016771"/>
                    <a:gd name="connsiteX36" fmla="*/ 619982 w 761692"/>
                    <a:gd name="connsiteY36" fmla="*/ 54913 h 1016771"/>
                    <a:gd name="connsiteX37" fmla="*/ 618211 w 761692"/>
                    <a:gd name="connsiteY37" fmla="*/ 74398 h 1016771"/>
                    <a:gd name="connsiteX38" fmla="*/ 616439 w 761692"/>
                    <a:gd name="connsiteY38" fmla="*/ 85026 h 1016771"/>
                    <a:gd name="connsiteX39" fmla="*/ 621753 w 761692"/>
                    <a:gd name="connsiteY39" fmla="*/ 97426 h 1016771"/>
                    <a:gd name="connsiteX40" fmla="*/ 637696 w 761692"/>
                    <a:gd name="connsiteY40" fmla="*/ 113368 h 1016771"/>
                    <a:gd name="connsiteX41" fmla="*/ 644781 w 761692"/>
                    <a:gd name="connsiteY41" fmla="*/ 120454 h 1016771"/>
                    <a:gd name="connsiteX42" fmla="*/ 650095 w 761692"/>
                    <a:gd name="connsiteY42" fmla="*/ 136396 h 1016771"/>
                    <a:gd name="connsiteX43" fmla="*/ 655409 w 761692"/>
                    <a:gd name="connsiteY43" fmla="*/ 155881 h 1016771"/>
                    <a:gd name="connsiteX44" fmla="*/ 662495 w 761692"/>
                    <a:gd name="connsiteY44" fmla="*/ 171824 h 1016771"/>
                    <a:gd name="connsiteX45" fmla="*/ 660724 w 761692"/>
                    <a:gd name="connsiteY45" fmla="*/ 185995 h 1016771"/>
                    <a:gd name="connsiteX46" fmla="*/ 635924 w 761692"/>
                    <a:gd name="connsiteY46" fmla="*/ 194852 h 1016771"/>
                    <a:gd name="connsiteX47" fmla="*/ 619982 w 761692"/>
                    <a:gd name="connsiteY47" fmla="*/ 207251 h 1016771"/>
                    <a:gd name="connsiteX48" fmla="*/ 614668 w 761692"/>
                    <a:gd name="connsiteY48" fmla="*/ 223194 h 1016771"/>
                    <a:gd name="connsiteX49" fmla="*/ 618211 w 761692"/>
                    <a:gd name="connsiteY49" fmla="*/ 242679 h 1016771"/>
                    <a:gd name="connsiteX50" fmla="*/ 612896 w 761692"/>
                    <a:gd name="connsiteY50" fmla="*/ 256850 h 1016771"/>
                    <a:gd name="connsiteX51" fmla="*/ 625296 w 761692"/>
                    <a:gd name="connsiteY51" fmla="*/ 267478 h 1016771"/>
                    <a:gd name="connsiteX52" fmla="*/ 641238 w 761692"/>
                    <a:gd name="connsiteY52" fmla="*/ 269250 h 1016771"/>
                    <a:gd name="connsiteX53" fmla="*/ 658952 w 761692"/>
                    <a:gd name="connsiteY53" fmla="*/ 286963 h 1016771"/>
                    <a:gd name="connsiteX54" fmla="*/ 653638 w 761692"/>
                    <a:gd name="connsiteY54" fmla="*/ 309991 h 1016771"/>
                    <a:gd name="connsiteX55" fmla="*/ 653638 w 761692"/>
                    <a:gd name="connsiteY55" fmla="*/ 329476 h 1016771"/>
                    <a:gd name="connsiteX56" fmla="*/ 643010 w 761692"/>
                    <a:gd name="connsiteY56" fmla="*/ 338333 h 1016771"/>
                    <a:gd name="connsiteX57" fmla="*/ 632382 w 761692"/>
                    <a:gd name="connsiteY57" fmla="*/ 338333 h 1016771"/>
                    <a:gd name="connsiteX58" fmla="*/ 618211 w 761692"/>
                    <a:gd name="connsiteY58" fmla="*/ 357819 h 1016771"/>
                    <a:gd name="connsiteX59" fmla="*/ 609354 w 761692"/>
                    <a:gd name="connsiteY59" fmla="*/ 361361 h 1016771"/>
                    <a:gd name="connsiteX60" fmla="*/ 596954 w 761692"/>
                    <a:gd name="connsiteY60" fmla="*/ 363133 h 1016771"/>
                    <a:gd name="connsiteX61" fmla="*/ 581012 w 761692"/>
                    <a:gd name="connsiteY61" fmla="*/ 379075 h 1016771"/>
                    <a:gd name="connsiteX62" fmla="*/ 589868 w 761692"/>
                    <a:gd name="connsiteY62" fmla="*/ 393246 h 1016771"/>
                    <a:gd name="connsiteX63" fmla="*/ 586326 w 761692"/>
                    <a:gd name="connsiteY63" fmla="*/ 409189 h 1016771"/>
                    <a:gd name="connsiteX64" fmla="*/ 570383 w 761692"/>
                    <a:gd name="connsiteY64" fmla="*/ 398560 h 1016771"/>
                    <a:gd name="connsiteX65" fmla="*/ 550898 w 761692"/>
                    <a:gd name="connsiteY65" fmla="*/ 405646 h 1016771"/>
                    <a:gd name="connsiteX66" fmla="*/ 531413 w 761692"/>
                    <a:gd name="connsiteY66" fmla="*/ 425131 h 1016771"/>
                    <a:gd name="connsiteX67" fmla="*/ 543813 w 761692"/>
                    <a:gd name="connsiteY67" fmla="*/ 444616 h 1016771"/>
                    <a:gd name="connsiteX68" fmla="*/ 557984 w 761692"/>
                    <a:gd name="connsiteY68" fmla="*/ 462330 h 1016771"/>
                    <a:gd name="connsiteX69" fmla="*/ 570383 w 761692"/>
                    <a:gd name="connsiteY69" fmla="*/ 478272 h 1016771"/>
                    <a:gd name="connsiteX70" fmla="*/ 579240 w 761692"/>
                    <a:gd name="connsiteY70" fmla="*/ 485358 h 1016771"/>
                    <a:gd name="connsiteX71" fmla="*/ 602268 w 761692"/>
                    <a:gd name="connsiteY71" fmla="*/ 483586 h 1016771"/>
                    <a:gd name="connsiteX72" fmla="*/ 623525 w 761692"/>
                    <a:gd name="connsiteY72" fmla="*/ 474730 h 1016771"/>
                    <a:gd name="connsiteX73" fmla="*/ 639467 w 761692"/>
                    <a:gd name="connsiteY73" fmla="*/ 464101 h 1016771"/>
                    <a:gd name="connsiteX74" fmla="*/ 662495 w 761692"/>
                    <a:gd name="connsiteY74" fmla="*/ 464101 h 1016771"/>
                    <a:gd name="connsiteX75" fmla="*/ 673123 w 761692"/>
                    <a:gd name="connsiteY75" fmla="*/ 464101 h 1016771"/>
                    <a:gd name="connsiteX76" fmla="*/ 681980 w 761692"/>
                    <a:gd name="connsiteY76" fmla="*/ 467644 h 1016771"/>
                    <a:gd name="connsiteX77" fmla="*/ 703237 w 761692"/>
                    <a:gd name="connsiteY77" fmla="*/ 471187 h 1016771"/>
                    <a:gd name="connsiteX78" fmla="*/ 708551 w 761692"/>
                    <a:gd name="connsiteY78" fmla="*/ 474730 h 1016771"/>
                    <a:gd name="connsiteX79" fmla="*/ 722722 w 761692"/>
                    <a:gd name="connsiteY79" fmla="*/ 501300 h 1016771"/>
                    <a:gd name="connsiteX80" fmla="*/ 724493 w 761692"/>
                    <a:gd name="connsiteY80" fmla="*/ 522557 h 1016771"/>
                    <a:gd name="connsiteX81" fmla="*/ 722722 w 761692"/>
                    <a:gd name="connsiteY81" fmla="*/ 540271 h 1016771"/>
                    <a:gd name="connsiteX82" fmla="*/ 735121 w 761692"/>
                    <a:gd name="connsiteY82" fmla="*/ 552670 h 1016771"/>
                    <a:gd name="connsiteX83" fmla="*/ 735121 w 761692"/>
                    <a:gd name="connsiteY83" fmla="*/ 570384 h 1016771"/>
                    <a:gd name="connsiteX84" fmla="*/ 751064 w 761692"/>
                    <a:gd name="connsiteY84" fmla="*/ 581012 h 1016771"/>
                    <a:gd name="connsiteX85" fmla="*/ 761692 w 761692"/>
                    <a:gd name="connsiteY85" fmla="*/ 604040 h 1016771"/>
                    <a:gd name="connsiteX86" fmla="*/ 747521 w 761692"/>
                    <a:gd name="connsiteY86" fmla="*/ 616440 h 1016771"/>
                    <a:gd name="connsiteX87" fmla="*/ 728036 w 761692"/>
                    <a:gd name="connsiteY87" fmla="*/ 627068 h 1016771"/>
                    <a:gd name="connsiteX88" fmla="*/ 726264 w 761692"/>
                    <a:gd name="connsiteY88" fmla="*/ 650096 h 1016771"/>
                    <a:gd name="connsiteX89" fmla="*/ 728036 w 761692"/>
                    <a:gd name="connsiteY89" fmla="*/ 673124 h 1016771"/>
                    <a:gd name="connsiteX90" fmla="*/ 742207 w 761692"/>
                    <a:gd name="connsiteY90" fmla="*/ 689066 h 1016771"/>
                    <a:gd name="connsiteX91" fmla="*/ 742207 w 761692"/>
                    <a:gd name="connsiteY91" fmla="*/ 712094 h 1016771"/>
                    <a:gd name="connsiteX92" fmla="*/ 740435 w 761692"/>
                    <a:gd name="connsiteY92" fmla="*/ 735122 h 1016771"/>
                    <a:gd name="connsiteX93" fmla="*/ 742207 w 761692"/>
                    <a:gd name="connsiteY93" fmla="*/ 751065 h 1016771"/>
                    <a:gd name="connsiteX94" fmla="*/ 747521 w 761692"/>
                    <a:gd name="connsiteY94" fmla="*/ 768778 h 1016771"/>
                    <a:gd name="connsiteX95" fmla="*/ 759921 w 761692"/>
                    <a:gd name="connsiteY95" fmla="*/ 777635 h 1016771"/>
                    <a:gd name="connsiteX96" fmla="*/ 758149 w 761692"/>
                    <a:gd name="connsiteY96" fmla="*/ 802434 h 1016771"/>
                    <a:gd name="connsiteX97" fmla="*/ 752835 w 761692"/>
                    <a:gd name="connsiteY97" fmla="*/ 814834 h 1016771"/>
                    <a:gd name="connsiteX98" fmla="*/ 743978 w 761692"/>
                    <a:gd name="connsiteY98" fmla="*/ 827234 h 1016771"/>
                    <a:gd name="connsiteX99" fmla="*/ 743978 w 761692"/>
                    <a:gd name="connsiteY99" fmla="*/ 837862 h 1016771"/>
                    <a:gd name="connsiteX100" fmla="*/ 747521 w 761692"/>
                    <a:gd name="connsiteY100" fmla="*/ 853804 h 1016771"/>
                    <a:gd name="connsiteX101" fmla="*/ 733350 w 761692"/>
                    <a:gd name="connsiteY101" fmla="*/ 867975 h 1016771"/>
                    <a:gd name="connsiteX102" fmla="*/ 724493 w 761692"/>
                    <a:gd name="connsiteY102" fmla="*/ 880375 h 1016771"/>
                    <a:gd name="connsiteX103" fmla="*/ 722722 w 761692"/>
                    <a:gd name="connsiteY103" fmla="*/ 899860 h 1016771"/>
                    <a:gd name="connsiteX104" fmla="*/ 722722 w 761692"/>
                    <a:gd name="connsiteY104" fmla="*/ 919345 h 1016771"/>
                    <a:gd name="connsiteX105" fmla="*/ 715636 w 761692"/>
                    <a:gd name="connsiteY105" fmla="*/ 940602 h 1016771"/>
                    <a:gd name="connsiteX106" fmla="*/ 708551 w 761692"/>
                    <a:gd name="connsiteY106" fmla="*/ 954773 h 1016771"/>
                    <a:gd name="connsiteX107" fmla="*/ 699694 w 761692"/>
                    <a:gd name="connsiteY107" fmla="*/ 965401 h 1016771"/>
                    <a:gd name="connsiteX108" fmla="*/ 692608 w 761692"/>
                    <a:gd name="connsiteY108" fmla="*/ 984886 h 1016771"/>
                    <a:gd name="connsiteX109" fmla="*/ 683751 w 761692"/>
                    <a:gd name="connsiteY109" fmla="*/ 997286 h 1016771"/>
                    <a:gd name="connsiteX110" fmla="*/ 673123 w 761692"/>
                    <a:gd name="connsiteY110" fmla="*/ 1002600 h 1016771"/>
                    <a:gd name="connsiteX111" fmla="*/ 662495 w 761692"/>
                    <a:gd name="connsiteY111" fmla="*/ 1013228 h 1016771"/>
                    <a:gd name="connsiteX112" fmla="*/ 644781 w 761692"/>
                    <a:gd name="connsiteY112" fmla="*/ 1016771 h 1016771"/>
                    <a:gd name="connsiteX113" fmla="*/ 635924 w 761692"/>
                    <a:gd name="connsiteY113" fmla="*/ 1004372 h 1016771"/>
                    <a:gd name="connsiteX114" fmla="*/ 623525 w 761692"/>
                    <a:gd name="connsiteY114" fmla="*/ 997286 h 1016771"/>
                    <a:gd name="connsiteX115" fmla="*/ 614668 w 761692"/>
                    <a:gd name="connsiteY115" fmla="*/ 986658 h 1016771"/>
                    <a:gd name="connsiteX116" fmla="*/ 593411 w 761692"/>
                    <a:gd name="connsiteY116" fmla="*/ 970715 h 1016771"/>
                    <a:gd name="connsiteX117" fmla="*/ 582783 w 761692"/>
                    <a:gd name="connsiteY117" fmla="*/ 965401 h 1016771"/>
                    <a:gd name="connsiteX118" fmla="*/ 531413 w 761692"/>
                    <a:gd name="connsiteY118" fmla="*/ 965401 h 1016771"/>
                    <a:gd name="connsiteX119" fmla="*/ 511928 w 761692"/>
                    <a:gd name="connsiteY119" fmla="*/ 965401 h 1016771"/>
                    <a:gd name="connsiteX120" fmla="*/ 492443 w 761692"/>
                    <a:gd name="connsiteY120" fmla="*/ 963630 h 1016771"/>
                    <a:gd name="connsiteX121" fmla="*/ 483586 w 761692"/>
                    <a:gd name="connsiteY121" fmla="*/ 958316 h 1016771"/>
                    <a:gd name="connsiteX122" fmla="*/ 469415 w 761692"/>
                    <a:gd name="connsiteY122" fmla="*/ 954773 h 1016771"/>
                    <a:gd name="connsiteX123" fmla="*/ 460558 w 761692"/>
                    <a:gd name="connsiteY123" fmla="*/ 942373 h 1016771"/>
                    <a:gd name="connsiteX124" fmla="*/ 446387 w 761692"/>
                    <a:gd name="connsiteY124" fmla="*/ 935288 h 1016771"/>
                    <a:gd name="connsiteX125" fmla="*/ 428673 w 761692"/>
                    <a:gd name="connsiteY125" fmla="*/ 928202 h 1016771"/>
                    <a:gd name="connsiteX126" fmla="*/ 418045 w 761692"/>
                    <a:gd name="connsiteY126" fmla="*/ 917574 h 1016771"/>
                    <a:gd name="connsiteX127" fmla="*/ 421588 w 761692"/>
                    <a:gd name="connsiteY127" fmla="*/ 903403 h 1016771"/>
                    <a:gd name="connsiteX128" fmla="*/ 418045 w 761692"/>
                    <a:gd name="connsiteY128" fmla="*/ 898089 h 1016771"/>
                    <a:gd name="connsiteX129" fmla="*/ 396788 w 761692"/>
                    <a:gd name="connsiteY129" fmla="*/ 898089 h 1016771"/>
                    <a:gd name="connsiteX130" fmla="*/ 382617 w 761692"/>
                    <a:gd name="connsiteY130" fmla="*/ 896318 h 1016771"/>
                    <a:gd name="connsiteX131" fmla="*/ 380846 w 761692"/>
                    <a:gd name="connsiteY131" fmla="*/ 906946 h 1016771"/>
                    <a:gd name="connsiteX132" fmla="*/ 373601 w 761692"/>
                    <a:gd name="connsiteY132" fmla="*/ 894832 h 1016771"/>
                    <a:gd name="connsiteX133" fmla="*/ 387164 w 761692"/>
                    <a:gd name="connsiteY133" fmla="*/ 896527 h 1016771"/>
                    <a:gd name="connsiteX134" fmla="*/ 383773 w 761692"/>
                    <a:gd name="connsiteY134" fmla="*/ 886355 h 1016771"/>
                    <a:gd name="connsiteX135" fmla="*/ 387164 w 761692"/>
                    <a:gd name="connsiteY135" fmla="*/ 876183 h 1016771"/>
                    <a:gd name="connsiteX136" fmla="*/ 388859 w 761692"/>
                    <a:gd name="connsiteY136" fmla="*/ 867707 h 1016771"/>
                    <a:gd name="connsiteX137" fmla="*/ 380382 w 761692"/>
                    <a:gd name="connsiteY137" fmla="*/ 859230 h 1016771"/>
                    <a:gd name="connsiteX138" fmla="*/ 373601 w 761692"/>
                    <a:gd name="connsiteY138" fmla="*/ 849058 h 1016771"/>
                    <a:gd name="connsiteX139" fmla="*/ 380382 w 761692"/>
                    <a:gd name="connsiteY139" fmla="*/ 838886 h 1016771"/>
                    <a:gd name="connsiteX140" fmla="*/ 383773 w 761692"/>
                    <a:gd name="connsiteY140" fmla="*/ 833800 h 1016771"/>
                    <a:gd name="connsiteX141" fmla="*/ 388859 w 761692"/>
                    <a:gd name="connsiteY141" fmla="*/ 825324 h 1016771"/>
                    <a:gd name="connsiteX142" fmla="*/ 387164 w 761692"/>
                    <a:gd name="connsiteY142" fmla="*/ 810066 h 1016771"/>
                    <a:gd name="connsiteX143" fmla="*/ 387164 w 761692"/>
                    <a:gd name="connsiteY143" fmla="*/ 796503 h 1016771"/>
                    <a:gd name="connsiteX144" fmla="*/ 378687 w 761692"/>
                    <a:gd name="connsiteY144" fmla="*/ 789722 h 1016771"/>
                    <a:gd name="connsiteX145" fmla="*/ 366820 w 761692"/>
                    <a:gd name="connsiteY145" fmla="*/ 782940 h 1016771"/>
                    <a:gd name="connsiteX146" fmla="*/ 356648 w 761692"/>
                    <a:gd name="connsiteY146" fmla="*/ 781245 h 1016771"/>
                    <a:gd name="connsiteX147" fmla="*/ 349866 w 761692"/>
                    <a:gd name="connsiteY147" fmla="*/ 771073 h 1016771"/>
                    <a:gd name="connsiteX148" fmla="*/ 349866 w 761692"/>
                    <a:gd name="connsiteY148" fmla="*/ 752425 h 1016771"/>
                    <a:gd name="connsiteX149" fmla="*/ 353257 w 761692"/>
                    <a:gd name="connsiteY149" fmla="*/ 743948 h 1016771"/>
                    <a:gd name="connsiteX150" fmla="*/ 354952 w 761692"/>
                    <a:gd name="connsiteY150" fmla="*/ 730385 h 1016771"/>
                    <a:gd name="connsiteX151" fmla="*/ 353257 w 761692"/>
                    <a:gd name="connsiteY151" fmla="*/ 713432 h 1016771"/>
                    <a:gd name="connsiteX152" fmla="*/ 346476 w 761692"/>
                    <a:gd name="connsiteY152" fmla="*/ 701565 h 1016771"/>
                    <a:gd name="connsiteX153" fmla="*/ 332913 w 761692"/>
                    <a:gd name="connsiteY153" fmla="*/ 689697 h 1016771"/>
                    <a:gd name="connsiteX154" fmla="*/ 324436 w 761692"/>
                    <a:gd name="connsiteY154" fmla="*/ 681221 h 1016771"/>
                    <a:gd name="connsiteX155" fmla="*/ 314264 w 761692"/>
                    <a:gd name="connsiteY155" fmla="*/ 676135 h 1016771"/>
                    <a:gd name="connsiteX156" fmla="*/ 293920 w 761692"/>
                    <a:gd name="connsiteY156" fmla="*/ 669354 h 1016771"/>
                    <a:gd name="connsiteX157" fmla="*/ 282053 w 761692"/>
                    <a:gd name="connsiteY157" fmla="*/ 667658 h 1016771"/>
                    <a:gd name="connsiteX158" fmla="*/ 266795 w 761692"/>
                    <a:gd name="connsiteY158" fmla="*/ 672744 h 1016771"/>
                    <a:gd name="connsiteX159" fmla="*/ 265100 w 761692"/>
                    <a:gd name="connsiteY159" fmla="*/ 672744 h 1016771"/>
                    <a:gd name="connsiteX160" fmla="*/ 263404 w 761692"/>
                    <a:gd name="connsiteY160" fmla="*/ 671049 h 1016771"/>
                    <a:gd name="connsiteX161" fmla="*/ 260014 w 761692"/>
                    <a:gd name="connsiteY161" fmla="*/ 671049 h 1016771"/>
                    <a:gd name="connsiteX162" fmla="*/ 258318 w 761692"/>
                    <a:gd name="connsiteY162" fmla="*/ 671049 h 1016771"/>
                    <a:gd name="connsiteX163" fmla="*/ 253232 w 761692"/>
                    <a:gd name="connsiteY163" fmla="*/ 671049 h 1016771"/>
                    <a:gd name="connsiteX164" fmla="*/ 248146 w 761692"/>
                    <a:gd name="connsiteY164" fmla="*/ 672744 h 1016771"/>
                    <a:gd name="connsiteX165" fmla="*/ 248146 w 761692"/>
                    <a:gd name="connsiteY165" fmla="*/ 674440 h 1016771"/>
                    <a:gd name="connsiteX166" fmla="*/ 246451 w 761692"/>
                    <a:gd name="connsiteY166" fmla="*/ 674440 h 1016771"/>
                    <a:gd name="connsiteX167" fmla="*/ 236279 w 761692"/>
                    <a:gd name="connsiteY167" fmla="*/ 679526 h 1016771"/>
                    <a:gd name="connsiteX168" fmla="*/ 226107 w 761692"/>
                    <a:gd name="connsiteY168" fmla="*/ 684612 h 1016771"/>
                    <a:gd name="connsiteX169" fmla="*/ 217630 w 761692"/>
                    <a:gd name="connsiteY169" fmla="*/ 684612 h 1016771"/>
                    <a:gd name="connsiteX170" fmla="*/ 207458 w 761692"/>
                    <a:gd name="connsiteY170" fmla="*/ 693088 h 1016771"/>
                    <a:gd name="connsiteX171" fmla="*/ 198982 w 761692"/>
                    <a:gd name="connsiteY171" fmla="*/ 694783 h 1016771"/>
                    <a:gd name="connsiteX172" fmla="*/ 192200 w 761692"/>
                    <a:gd name="connsiteY172" fmla="*/ 699869 h 1016771"/>
                    <a:gd name="connsiteX173" fmla="*/ 178638 w 761692"/>
                    <a:gd name="connsiteY173" fmla="*/ 706651 h 1016771"/>
                    <a:gd name="connsiteX174" fmla="*/ 163380 w 761692"/>
                    <a:gd name="connsiteY174" fmla="*/ 710041 h 1016771"/>
                    <a:gd name="connsiteX175" fmla="*/ 141340 w 761692"/>
                    <a:gd name="connsiteY175" fmla="*/ 710041 h 1016771"/>
                    <a:gd name="connsiteX176" fmla="*/ 134559 w 761692"/>
                    <a:gd name="connsiteY176" fmla="*/ 716823 h 1016771"/>
                    <a:gd name="connsiteX177" fmla="*/ 127778 w 761692"/>
                    <a:gd name="connsiteY177" fmla="*/ 718518 h 1016771"/>
                    <a:gd name="connsiteX178" fmla="*/ 120996 w 761692"/>
                    <a:gd name="connsiteY178" fmla="*/ 725299 h 1016771"/>
                    <a:gd name="connsiteX179" fmla="*/ 111172 w 761692"/>
                    <a:gd name="connsiteY179" fmla="*/ 733720 h 1016771"/>
                    <a:gd name="connsiteX180" fmla="*/ 106283 w 761692"/>
                    <a:gd name="connsiteY180" fmla="*/ 729808 h 1016771"/>
                    <a:gd name="connsiteX181" fmla="*/ 92112 w 761692"/>
                    <a:gd name="connsiteY181" fmla="*/ 724494 h 1016771"/>
                    <a:gd name="connsiteX182" fmla="*/ 77941 w 761692"/>
                    <a:gd name="connsiteY182" fmla="*/ 726265 h 1016771"/>
                    <a:gd name="connsiteX183" fmla="*/ 70855 w 761692"/>
                    <a:gd name="connsiteY183" fmla="*/ 719180 h 1016771"/>
                    <a:gd name="connsiteX184" fmla="*/ 70855 w 761692"/>
                    <a:gd name="connsiteY184" fmla="*/ 699695 h 1016771"/>
                    <a:gd name="connsiteX185" fmla="*/ 81483 w 761692"/>
                    <a:gd name="connsiteY185" fmla="*/ 685524 h 1016771"/>
                    <a:gd name="connsiteX186" fmla="*/ 85026 w 761692"/>
                    <a:gd name="connsiteY186" fmla="*/ 673124 h 1016771"/>
                    <a:gd name="connsiteX187" fmla="*/ 86797 w 761692"/>
                    <a:gd name="connsiteY187" fmla="*/ 660724 h 1016771"/>
                    <a:gd name="connsiteX188" fmla="*/ 97426 w 761692"/>
                    <a:gd name="connsiteY188" fmla="*/ 650096 h 1016771"/>
                    <a:gd name="connsiteX189" fmla="*/ 102740 w 761692"/>
                    <a:gd name="connsiteY189" fmla="*/ 635925 h 1016771"/>
                    <a:gd name="connsiteX190" fmla="*/ 113368 w 761692"/>
                    <a:gd name="connsiteY190" fmla="*/ 625297 h 1016771"/>
                    <a:gd name="connsiteX191" fmla="*/ 115139 w 761692"/>
                    <a:gd name="connsiteY191" fmla="*/ 612897 h 1016771"/>
                    <a:gd name="connsiteX192" fmla="*/ 127539 w 761692"/>
                    <a:gd name="connsiteY192" fmla="*/ 609354 h 1016771"/>
                    <a:gd name="connsiteX193" fmla="*/ 136396 w 761692"/>
                    <a:gd name="connsiteY193" fmla="*/ 604040 h 1016771"/>
                    <a:gd name="connsiteX194" fmla="*/ 132853 w 761692"/>
                    <a:gd name="connsiteY194" fmla="*/ 593412 h 1016771"/>
                    <a:gd name="connsiteX195" fmla="*/ 134625 w 761692"/>
                    <a:gd name="connsiteY195" fmla="*/ 584555 h 1016771"/>
                    <a:gd name="connsiteX196" fmla="*/ 131082 w 761692"/>
                    <a:gd name="connsiteY196" fmla="*/ 575698 h 1016771"/>
                    <a:gd name="connsiteX197" fmla="*/ 120454 w 761692"/>
                    <a:gd name="connsiteY197" fmla="*/ 568613 h 1016771"/>
                    <a:gd name="connsiteX198" fmla="*/ 125768 w 761692"/>
                    <a:gd name="connsiteY198" fmla="*/ 552670 h 1016771"/>
                    <a:gd name="connsiteX199" fmla="*/ 118682 w 761692"/>
                    <a:gd name="connsiteY199" fmla="*/ 543813 h 1016771"/>
                    <a:gd name="connsiteX200" fmla="*/ 90340 w 761692"/>
                    <a:gd name="connsiteY200" fmla="*/ 543813 h 1016771"/>
                    <a:gd name="connsiteX201" fmla="*/ 86797 w 761692"/>
                    <a:gd name="connsiteY201" fmla="*/ 542042 h 1016771"/>
                    <a:gd name="connsiteX202" fmla="*/ 83255 w 761692"/>
                    <a:gd name="connsiteY202" fmla="*/ 542042 h 1016771"/>
                    <a:gd name="connsiteX203" fmla="*/ 81483 w 761692"/>
                    <a:gd name="connsiteY203" fmla="*/ 540271 h 1016771"/>
                    <a:gd name="connsiteX204" fmla="*/ 81483 w 761692"/>
                    <a:gd name="connsiteY204" fmla="*/ 536728 h 1016771"/>
                    <a:gd name="connsiteX205" fmla="*/ 79712 w 761692"/>
                    <a:gd name="connsiteY205" fmla="*/ 531414 h 1016771"/>
                    <a:gd name="connsiteX206" fmla="*/ 77941 w 761692"/>
                    <a:gd name="connsiteY206" fmla="*/ 529642 h 1016771"/>
                    <a:gd name="connsiteX207" fmla="*/ 70855 w 761692"/>
                    <a:gd name="connsiteY207" fmla="*/ 527871 h 1016771"/>
                    <a:gd name="connsiteX208" fmla="*/ 60227 w 761692"/>
                    <a:gd name="connsiteY208" fmla="*/ 536728 h 1016771"/>
                    <a:gd name="connsiteX209" fmla="*/ 47827 w 761692"/>
                    <a:gd name="connsiteY209" fmla="*/ 526100 h 1016771"/>
                    <a:gd name="connsiteX210" fmla="*/ 42513 w 761692"/>
                    <a:gd name="connsiteY210" fmla="*/ 515471 h 1016771"/>
                    <a:gd name="connsiteX211" fmla="*/ 33656 w 761692"/>
                    <a:gd name="connsiteY211" fmla="*/ 506614 h 1016771"/>
                    <a:gd name="connsiteX212" fmla="*/ 31885 w 761692"/>
                    <a:gd name="connsiteY212" fmla="*/ 490672 h 1016771"/>
                    <a:gd name="connsiteX213" fmla="*/ 26571 w 761692"/>
                    <a:gd name="connsiteY213" fmla="*/ 476501 h 1016771"/>
                    <a:gd name="connsiteX214" fmla="*/ 24799 w 761692"/>
                    <a:gd name="connsiteY214" fmla="*/ 471187 h 1016771"/>
                    <a:gd name="connsiteX215" fmla="*/ 12400 w 761692"/>
                    <a:gd name="connsiteY215" fmla="*/ 472958 h 1016771"/>
                    <a:gd name="connsiteX216" fmla="*/ 7086 w 761692"/>
                    <a:gd name="connsiteY216" fmla="*/ 464101 h 1016771"/>
                    <a:gd name="connsiteX217" fmla="*/ 8857 w 761692"/>
                    <a:gd name="connsiteY217" fmla="*/ 446388 h 1016771"/>
                    <a:gd name="connsiteX218" fmla="*/ 3543 w 761692"/>
                    <a:gd name="connsiteY218" fmla="*/ 435759 h 1016771"/>
                    <a:gd name="connsiteX219" fmla="*/ 5314 w 761692"/>
                    <a:gd name="connsiteY219" fmla="*/ 412731 h 1016771"/>
                    <a:gd name="connsiteX220" fmla="*/ 0 w 761692"/>
                    <a:gd name="connsiteY220" fmla="*/ 396789 h 1016771"/>
                    <a:gd name="connsiteX221" fmla="*/ 3543 w 761692"/>
                    <a:gd name="connsiteY221" fmla="*/ 384389 h 1016771"/>
                    <a:gd name="connsiteX222" fmla="*/ 14171 w 761692"/>
                    <a:gd name="connsiteY222" fmla="*/ 380846 h 1016771"/>
                    <a:gd name="connsiteX223" fmla="*/ 24799 w 761692"/>
                    <a:gd name="connsiteY223" fmla="*/ 364904 h 1016771"/>
                    <a:gd name="connsiteX224" fmla="*/ 30113 w 761692"/>
                    <a:gd name="connsiteY224" fmla="*/ 350733 h 1016771"/>
                    <a:gd name="connsiteX225" fmla="*/ 35428 w 761692"/>
                    <a:gd name="connsiteY225" fmla="*/ 341876 h 1016771"/>
                    <a:gd name="connsiteX226" fmla="*/ 42513 w 761692"/>
                    <a:gd name="connsiteY226" fmla="*/ 327705 h 1016771"/>
                    <a:gd name="connsiteX227" fmla="*/ 42513 w 761692"/>
                    <a:gd name="connsiteY227" fmla="*/ 315305 h 1016771"/>
                    <a:gd name="connsiteX228" fmla="*/ 56684 w 761692"/>
                    <a:gd name="connsiteY228" fmla="*/ 309991 h 1016771"/>
                    <a:gd name="connsiteX229" fmla="*/ 60227 w 761692"/>
                    <a:gd name="connsiteY229" fmla="*/ 309991 h 1016771"/>
                    <a:gd name="connsiteX230" fmla="*/ 61998 w 761692"/>
                    <a:gd name="connsiteY230" fmla="*/ 311763 h 1016771"/>
                    <a:gd name="connsiteX231" fmla="*/ 67312 w 761692"/>
                    <a:gd name="connsiteY231" fmla="*/ 311763 h 1016771"/>
                    <a:gd name="connsiteX232" fmla="*/ 67312 w 761692"/>
                    <a:gd name="connsiteY232" fmla="*/ 309991 h 1016771"/>
                    <a:gd name="connsiteX233" fmla="*/ 67312 w 761692"/>
                    <a:gd name="connsiteY233" fmla="*/ 308220 h 1016771"/>
                    <a:gd name="connsiteX234" fmla="*/ 69084 w 761692"/>
                    <a:gd name="connsiteY234" fmla="*/ 302906 h 1016771"/>
                    <a:gd name="connsiteX235" fmla="*/ 70855 w 761692"/>
                    <a:gd name="connsiteY235" fmla="*/ 301134 h 1016771"/>
                    <a:gd name="connsiteX236" fmla="*/ 70855 w 761692"/>
                    <a:gd name="connsiteY236" fmla="*/ 299363 h 1016771"/>
                    <a:gd name="connsiteX237" fmla="*/ 77941 w 761692"/>
                    <a:gd name="connsiteY237" fmla="*/ 295820 h 1016771"/>
                    <a:gd name="connsiteX238" fmla="*/ 85026 w 761692"/>
                    <a:gd name="connsiteY238" fmla="*/ 295820 h 1016771"/>
                    <a:gd name="connsiteX239" fmla="*/ 93883 w 761692"/>
                    <a:gd name="connsiteY239" fmla="*/ 297592 h 1016771"/>
                    <a:gd name="connsiteX240" fmla="*/ 100968 w 761692"/>
                    <a:gd name="connsiteY240" fmla="*/ 288735 h 1016771"/>
                    <a:gd name="connsiteX241" fmla="*/ 97426 w 761692"/>
                    <a:gd name="connsiteY241" fmla="*/ 279878 h 1016771"/>
                    <a:gd name="connsiteX242" fmla="*/ 85026 w 761692"/>
                    <a:gd name="connsiteY242" fmla="*/ 276335 h 1016771"/>
                    <a:gd name="connsiteX243" fmla="*/ 76169 w 761692"/>
                    <a:gd name="connsiteY243" fmla="*/ 271021 h 1016771"/>
                    <a:gd name="connsiteX244" fmla="*/ 76169 w 761692"/>
                    <a:gd name="connsiteY244" fmla="*/ 262164 h 1016771"/>
                    <a:gd name="connsiteX245" fmla="*/ 81483 w 761692"/>
                    <a:gd name="connsiteY245" fmla="*/ 251536 h 1016771"/>
                    <a:gd name="connsiteX246" fmla="*/ 86797 w 761692"/>
                    <a:gd name="connsiteY246" fmla="*/ 255079 h 1016771"/>
                    <a:gd name="connsiteX247" fmla="*/ 104511 w 761692"/>
                    <a:gd name="connsiteY247" fmla="*/ 262164 h 1016771"/>
                    <a:gd name="connsiteX248" fmla="*/ 116911 w 761692"/>
                    <a:gd name="connsiteY248" fmla="*/ 265707 h 1016771"/>
                    <a:gd name="connsiteX249" fmla="*/ 132853 w 761692"/>
                    <a:gd name="connsiteY249" fmla="*/ 269250 h 1016771"/>
                    <a:gd name="connsiteX250" fmla="*/ 138167 w 761692"/>
                    <a:gd name="connsiteY250" fmla="*/ 265707 h 1016771"/>
                    <a:gd name="connsiteX251" fmla="*/ 150567 w 761692"/>
                    <a:gd name="connsiteY251" fmla="*/ 255079 h 1016771"/>
                    <a:gd name="connsiteX252" fmla="*/ 166509 w 761692"/>
                    <a:gd name="connsiteY252" fmla="*/ 255079 h 1016771"/>
                    <a:gd name="connsiteX253" fmla="*/ 166509 w 761692"/>
                    <a:gd name="connsiteY253" fmla="*/ 265707 h 1016771"/>
                    <a:gd name="connsiteX254" fmla="*/ 177138 w 761692"/>
                    <a:gd name="connsiteY254" fmla="*/ 272792 h 1016771"/>
                    <a:gd name="connsiteX255" fmla="*/ 194851 w 761692"/>
                    <a:gd name="connsiteY255" fmla="*/ 276335 h 1016771"/>
                    <a:gd name="connsiteX256" fmla="*/ 209022 w 761692"/>
                    <a:gd name="connsiteY256" fmla="*/ 279878 h 1016771"/>
                    <a:gd name="connsiteX257" fmla="*/ 221422 w 761692"/>
                    <a:gd name="connsiteY257" fmla="*/ 276335 h 1016771"/>
                    <a:gd name="connsiteX258" fmla="*/ 226736 w 761692"/>
                    <a:gd name="connsiteY258" fmla="*/ 269250 h 1016771"/>
                    <a:gd name="connsiteX259" fmla="*/ 226736 w 761692"/>
                    <a:gd name="connsiteY259" fmla="*/ 251536 h 1016771"/>
                    <a:gd name="connsiteX260" fmla="*/ 224965 w 761692"/>
                    <a:gd name="connsiteY260" fmla="*/ 239136 h 1016771"/>
                    <a:gd name="connsiteX261" fmla="*/ 214337 w 761692"/>
                    <a:gd name="connsiteY261" fmla="*/ 230279 h 1016771"/>
                    <a:gd name="connsiteX262" fmla="*/ 210794 w 761692"/>
                    <a:gd name="connsiteY262" fmla="*/ 217880 h 1016771"/>
                    <a:gd name="connsiteX263" fmla="*/ 221422 w 761692"/>
                    <a:gd name="connsiteY263" fmla="*/ 207251 h 1016771"/>
                    <a:gd name="connsiteX264" fmla="*/ 235593 w 761692"/>
                    <a:gd name="connsiteY264" fmla="*/ 214337 h 1016771"/>
                    <a:gd name="connsiteX265" fmla="*/ 246221 w 761692"/>
                    <a:gd name="connsiteY265" fmla="*/ 219651 h 1016771"/>
                    <a:gd name="connsiteX266" fmla="*/ 253307 w 761692"/>
                    <a:gd name="connsiteY266" fmla="*/ 221422 h 1016771"/>
                    <a:gd name="connsiteX267" fmla="*/ 262164 w 761692"/>
                    <a:gd name="connsiteY267" fmla="*/ 210794 h 1016771"/>
                    <a:gd name="connsiteX268" fmla="*/ 263935 w 761692"/>
                    <a:gd name="connsiteY268" fmla="*/ 201937 h 1016771"/>
                    <a:gd name="connsiteX269" fmla="*/ 274563 w 761692"/>
                    <a:gd name="connsiteY269" fmla="*/ 189538 h 1016771"/>
                    <a:gd name="connsiteX270" fmla="*/ 283420 w 761692"/>
                    <a:gd name="connsiteY270" fmla="*/ 178909 h 1016771"/>
                    <a:gd name="connsiteX271" fmla="*/ 286963 w 761692"/>
                    <a:gd name="connsiteY271" fmla="*/ 173595 h 1016771"/>
                    <a:gd name="connsiteX272" fmla="*/ 311762 w 761692"/>
                    <a:gd name="connsiteY272" fmla="*/ 168281 h 1016771"/>
                    <a:gd name="connsiteX273" fmla="*/ 325933 w 761692"/>
                    <a:gd name="connsiteY273" fmla="*/ 164738 h 1016771"/>
                    <a:gd name="connsiteX274" fmla="*/ 336562 w 761692"/>
                    <a:gd name="connsiteY274" fmla="*/ 159424 h 1016771"/>
                    <a:gd name="connsiteX275" fmla="*/ 348961 w 761692"/>
                    <a:gd name="connsiteY275" fmla="*/ 145253 h 1016771"/>
                    <a:gd name="connsiteX276" fmla="*/ 359589 w 761692"/>
                    <a:gd name="connsiteY276" fmla="*/ 143482 h 1016771"/>
                    <a:gd name="connsiteX277" fmla="*/ 371989 w 761692"/>
                    <a:gd name="connsiteY277" fmla="*/ 143482 h 1016771"/>
                    <a:gd name="connsiteX278" fmla="*/ 391474 w 761692"/>
                    <a:gd name="connsiteY278" fmla="*/ 143482 h 1016771"/>
                    <a:gd name="connsiteX279" fmla="*/ 396788 w 761692"/>
                    <a:gd name="connsiteY279" fmla="*/ 141710 h 1016771"/>
                    <a:gd name="connsiteX280" fmla="*/ 403874 w 761692"/>
                    <a:gd name="connsiteY280" fmla="*/ 134625 h 1016771"/>
                    <a:gd name="connsiteX281" fmla="*/ 409188 w 761692"/>
                    <a:gd name="connsiteY281" fmla="*/ 129311 h 1016771"/>
                    <a:gd name="connsiteX282" fmla="*/ 409188 w 761692"/>
                    <a:gd name="connsiteY282" fmla="*/ 123997 h 1016771"/>
                    <a:gd name="connsiteX283" fmla="*/ 414502 w 761692"/>
                    <a:gd name="connsiteY283" fmla="*/ 115140 h 1016771"/>
                    <a:gd name="connsiteX284" fmla="*/ 428673 w 761692"/>
                    <a:gd name="connsiteY284" fmla="*/ 115140 h 1016771"/>
                    <a:gd name="connsiteX285" fmla="*/ 432216 w 761692"/>
                    <a:gd name="connsiteY285" fmla="*/ 109826 h 1016771"/>
                    <a:gd name="connsiteX286" fmla="*/ 437530 w 761692"/>
                    <a:gd name="connsiteY286" fmla="*/ 100969 h 1016771"/>
                    <a:gd name="connsiteX287" fmla="*/ 448158 w 761692"/>
                    <a:gd name="connsiteY287" fmla="*/ 99197 h 1016771"/>
                    <a:gd name="connsiteX288" fmla="*/ 460558 w 761692"/>
                    <a:gd name="connsiteY288" fmla="*/ 97426 h 1016771"/>
                    <a:gd name="connsiteX289" fmla="*/ 472958 w 761692"/>
                    <a:gd name="connsiteY289" fmla="*/ 93883 h 1016771"/>
                    <a:gd name="connsiteX290" fmla="*/ 492443 w 761692"/>
                    <a:gd name="connsiteY290" fmla="*/ 93883 h 1016771"/>
                    <a:gd name="connsiteX291" fmla="*/ 501300 w 761692"/>
                    <a:gd name="connsiteY291" fmla="*/ 83255 h 1016771"/>
                    <a:gd name="connsiteX292" fmla="*/ 517242 w 761692"/>
                    <a:gd name="connsiteY292" fmla="*/ 81484 h 1016771"/>
                    <a:gd name="connsiteX293" fmla="*/ 522556 w 761692"/>
                    <a:gd name="connsiteY293" fmla="*/ 81484 h 1016771"/>
                    <a:gd name="connsiteX294" fmla="*/ 522556 w 761692"/>
                    <a:gd name="connsiteY294" fmla="*/ 60227 h 1016771"/>
                    <a:gd name="connsiteX295" fmla="*/ 526099 w 761692"/>
                    <a:gd name="connsiteY295" fmla="*/ 54913 h 1016771"/>
                    <a:gd name="connsiteX296" fmla="*/ 529642 w 761692"/>
                    <a:gd name="connsiteY296" fmla="*/ 46056 h 1016771"/>
                    <a:gd name="connsiteX297" fmla="*/ 538499 w 761692"/>
                    <a:gd name="connsiteY297" fmla="*/ 40742 h 1016771"/>
                    <a:gd name="connsiteX298" fmla="*/ 540270 w 761692"/>
                    <a:gd name="connsiteY298" fmla="*/ 30114 h 1016771"/>
                    <a:gd name="connsiteX299" fmla="*/ 536727 w 761692"/>
                    <a:gd name="connsiteY299" fmla="*/ 19485 h 1016771"/>
                    <a:gd name="connsiteX300" fmla="*/ 543813 w 761692"/>
                    <a:gd name="connsiteY300" fmla="*/ 5314 h 1016771"/>
                    <a:gd name="connsiteX301" fmla="*/ 554441 w 761692"/>
                    <a:gd name="connsiteY301" fmla="*/ 0 h 1016771"/>
                    <a:gd name="connsiteX0" fmla="*/ 139939 w 761692"/>
                    <a:gd name="connsiteY0" fmla="*/ 850262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8167 w 761692"/>
                    <a:gd name="connsiteY9" fmla="*/ 852033 h 1016771"/>
                    <a:gd name="connsiteX10" fmla="*/ 139939 w 761692"/>
                    <a:gd name="connsiteY10" fmla="*/ 850262 h 1016771"/>
                    <a:gd name="connsiteX11" fmla="*/ 116476 w 761692"/>
                    <a:gd name="connsiteY11" fmla="*/ 741349 h 1016771"/>
                    <a:gd name="connsiteX12" fmla="*/ 117606 w 761692"/>
                    <a:gd name="connsiteY12" fmla="*/ 742253 h 1016771"/>
                    <a:gd name="connsiteX13" fmla="*/ 122692 w 761692"/>
                    <a:gd name="connsiteY13" fmla="*/ 759206 h 1016771"/>
                    <a:gd name="connsiteX14" fmla="*/ 126082 w 761692"/>
                    <a:gd name="connsiteY14" fmla="*/ 771073 h 1016771"/>
                    <a:gd name="connsiteX15" fmla="*/ 129473 w 761692"/>
                    <a:gd name="connsiteY15" fmla="*/ 782940 h 1016771"/>
                    <a:gd name="connsiteX16" fmla="*/ 132864 w 761692"/>
                    <a:gd name="connsiteY16" fmla="*/ 793112 h 1016771"/>
                    <a:gd name="connsiteX17" fmla="*/ 136254 w 761692"/>
                    <a:gd name="connsiteY17" fmla="*/ 810066 h 1016771"/>
                    <a:gd name="connsiteX18" fmla="*/ 139058 w 761692"/>
                    <a:gd name="connsiteY18" fmla="*/ 818476 h 1016771"/>
                    <a:gd name="connsiteX19" fmla="*/ 138167 w 761692"/>
                    <a:gd name="connsiteY19" fmla="*/ 818377 h 1016771"/>
                    <a:gd name="connsiteX20" fmla="*/ 134625 w 761692"/>
                    <a:gd name="connsiteY20" fmla="*/ 807749 h 1016771"/>
                    <a:gd name="connsiteX21" fmla="*/ 131082 w 761692"/>
                    <a:gd name="connsiteY21" fmla="*/ 790035 h 1016771"/>
                    <a:gd name="connsiteX22" fmla="*/ 127539 w 761692"/>
                    <a:gd name="connsiteY22" fmla="*/ 779407 h 1016771"/>
                    <a:gd name="connsiteX23" fmla="*/ 123996 w 761692"/>
                    <a:gd name="connsiteY23" fmla="*/ 767007 h 1016771"/>
                    <a:gd name="connsiteX24" fmla="*/ 120454 w 761692"/>
                    <a:gd name="connsiteY24" fmla="*/ 754607 h 1016771"/>
                    <a:gd name="connsiteX25" fmla="*/ 116476 w 761692"/>
                    <a:gd name="connsiteY25" fmla="*/ 741349 h 1016771"/>
                    <a:gd name="connsiteX26" fmla="*/ 554441 w 761692"/>
                    <a:gd name="connsiteY26" fmla="*/ 0 h 1016771"/>
                    <a:gd name="connsiteX27" fmla="*/ 570383 w 761692"/>
                    <a:gd name="connsiteY27" fmla="*/ 3543 h 1016771"/>
                    <a:gd name="connsiteX28" fmla="*/ 577469 w 761692"/>
                    <a:gd name="connsiteY28" fmla="*/ 8857 h 1016771"/>
                    <a:gd name="connsiteX29" fmla="*/ 582783 w 761692"/>
                    <a:gd name="connsiteY29" fmla="*/ 17714 h 1016771"/>
                    <a:gd name="connsiteX30" fmla="*/ 582783 w 761692"/>
                    <a:gd name="connsiteY30" fmla="*/ 24799 h 1016771"/>
                    <a:gd name="connsiteX31" fmla="*/ 588097 w 761692"/>
                    <a:gd name="connsiteY31" fmla="*/ 33656 h 1016771"/>
                    <a:gd name="connsiteX32" fmla="*/ 598725 w 761692"/>
                    <a:gd name="connsiteY32" fmla="*/ 31885 h 1016771"/>
                    <a:gd name="connsiteX33" fmla="*/ 612896 w 761692"/>
                    <a:gd name="connsiteY33" fmla="*/ 37199 h 1016771"/>
                    <a:gd name="connsiteX34" fmla="*/ 618211 w 761692"/>
                    <a:gd name="connsiteY34" fmla="*/ 46056 h 1016771"/>
                    <a:gd name="connsiteX35" fmla="*/ 619982 w 761692"/>
                    <a:gd name="connsiteY35" fmla="*/ 54913 h 1016771"/>
                    <a:gd name="connsiteX36" fmla="*/ 618211 w 761692"/>
                    <a:gd name="connsiteY36" fmla="*/ 74398 h 1016771"/>
                    <a:gd name="connsiteX37" fmla="*/ 616439 w 761692"/>
                    <a:gd name="connsiteY37" fmla="*/ 85026 h 1016771"/>
                    <a:gd name="connsiteX38" fmla="*/ 621753 w 761692"/>
                    <a:gd name="connsiteY38" fmla="*/ 97426 h 1016771"/>
                    <a:gd name="connsiteX39" fmla="*/ 637696 w 761692"/>
                    <a:gd name="connsiteY39" fmla="*/ 113368 h 1016771"/>
                    <a:gd name="connsiteX40" fmla="*/ 644781 w 761692"/>
                    <a:gd name="connsiteY40" fmla="*/ 120454 h 1016771"/>
                    <a:gd name="connsiteX41" fmla="*/ 650095 w 761692"/>
                    <a:gd name="connsiteY41" fmla="*/ 136396 h 1016771"/>
                    <a:gd name="connsiteX42" fmla="*/ 655409 w 761692"/>
                    <a:gd name="connsiteY42" fmla="*/ 155881 h 1016771"/>
                    <a:gd name="connsiteX43" fmla="*/ 662495 w 761692"/>
                    <a:gd name="connsiteY43" fmla="*/ 171824 h 1016771"/>
                    <a:gd name="connsiteX44" fmla="*/ 660724 w 761692"/>
                    <a:gd name="connsiteY44" fmla="*/ 185995 h 1016771"/>
                    <a:gd name="connsiteX45" fmla="*/ 635924 w 761692"/>
                    <a:gd name="connsiteY45" fmla="*/ 194852 h 1016771"/>
                    <a:gd name="connsiteX46" fmla="*/ 619982 w 761692"/>
                    <a:gd name="connsiteY46" fmla="*/ 207251 h 1016771"/>
                    <a:gd name="connsiteX47" fmla="*/ 614668 w 761692"/>
                    <a:gd name="connsiteY47" fmla="*/ 223194 h 1016771"/>
                    <a:gd name="connsiteX48" fmla="*/ 618211 w 761692"/>
                    <a:gd name="connsiteY48" fmla="*/ 242679 h 1016771"/>
                    <a:gd name="connsiteX49" fmla="*/ 612896 w 761692"/>
                    <a:gd name="connsiteY49" fmla="*/ 256850 h 1016771"/>
                    <a:gd name="connsiteX50" fmla="*/ 625296 w 761692"/>
                    <a:gd name="connsiteY50" fmla="*/ 267478 h 1016771"/>
                    <a:gd name="connsiteX51" fmla="*/ 641238 w 761692"/>
                    <a:gd name="connsiteY51" fmla="*/ 269250 h 1016771"/>
                    <a:gd name="connsiteX52" fmla="*/ 658952 w 761692"/>
                    <a:gd name="connsiteY52" fmla="*/ 286963 h 1016771"/>
                    <a:gd name="connsiteX53" fmla="*/ 653638 w 761692"/>
                    <a:gd name="connsiteY53" fmla="*/ 309991 h 1016771"/>
                    <a:gd name="connsiteX54" fmla="*/ 653638 w 761692"/>
                    <a:gd name="connsiteY54" fmla="*/ 329476 h 1016771"/>
                    <a:gd name="connsiteX55" fmla="*/ 643010 w 761692"/>
                    <a:gd name="connsiteY55" fmla="*/ 338333 h 1016771"/>
                    <a:gd name="connsiteX56" fmla="*/ 632382 w 761692"/>
                    <a:gd name="connsiteY56" fmla="*/ 338333 h 1016771"/>
                    <a:gd name="connsiteX57" fmla="*/ 618211 w 761692"/>
                    <a:gd name="connsiteY57" fmla="*/ 357819 h 1016771"/>
                    <a:gd name="connsiteX58" fmla="*/ 609354 w 761692"/>
                    <a:gd name="connsiteY58" fmla="*/ 361361 h 1016771"/>
                    <a:gd name="connsiteX59" fmla="*/ 596954 w 761692"/>
                    <a:gd name="connsiteY59" fmla="*/ 363133 h 1016771"/>
                    <a:gd name="connsiteX60" fmla="*/ 581012 w 761692"/>
                    <a:gd name="connsiteY60" fmla="*/ 379075 h 1016771"/>
                    <a:gd name="connsiteX61" fmla="*/ 589868 w 761692"/>
                    <a:gd name="connsiteY61" fmla="*/ 393246 h 1016771"/>
                    <a:gd name="connsiteX62" fmla="*/ 586326 w 761692"/>
                    <a:gd name="connsiteY62" fmla="*/ 409189 h 1016771"/>
                    <a:gd name="connsiteX63" fmla="*/ 570383 w 761692"/>
                    <a:gd name="connsiteY63" fmla="*/ 398560 h 1016771"/>
                    <a:gd name="connsiteX64" fmla="*/ 550898 w 761692"/>
                    <a:gd name="connsiteY64" fmla="*/ 405646 h 1016771"/>
                    <a:gd name="connsiteX65" fmla="*/ 531413 w 761692"/>
                    <a:gd name="connsiteY65" fmla="*/ 425131 h 1016771"/>
                    <a:gd name="connsiteX66" fmla="*/ 543813 w 761692"/>
                    <a:gd name="connsiteY66" fmla="*/ 444616 h 1016771"/>
                    <a:gd name="connsiteX67" fmla="*/ 557984 w 761692"/>
                    <a:gd name="connsiteY67" fmla="*/ 462330 h 1016771"/>
                    <a:gd name="connsiteX68" fmla="*/ 570383 w 761692"/>
                    <a:gd name="connsiteY68" fmla="*/ 478272 h 1016771"/>
                    <a:gd name="connsiteX69" fmla="*/ 579240 w 761692"/>
                    <a:gd name="connsiteY69" fmla="*/ 485358 h 1016771"/>
                    <a:gd name="connsiteX70" fmla="*/ 602268 w 761692"/>
                    <a:gd name="connsiteY70" fmla="*/ 483586 h 1016771"/>
                    <a:gd name="connsiteX71" fmla="*/ 623525 w 761692"/>
                    <a:gd name="connsiteY71" fmla="*/ 474730 h 1016771"/>
                    <a:gd name="connsiteX72" fmla="*/ 639467 w 761692"/>
                    <a:gd name="connsiteY72" fmla="*/ 464101 h 1016771"/>
                    <a:gd name="connsiteX73" fmla="*/ 662495 w 761692"/>
                    <a:gd name="connsiteY73" fmla="*/ 464101 h 1016771"/>
                    <a:gd name="connsiteX74" fmla="*/ 673123 w 761692"/>
                    <a:gd name="connsiteY74" fmla="*/ 464101 h 1016771"/>
                    <a:gd name="connsiteX75" fmla="*/ 681980 w 761692"/>
                    <a:gd name="connsiteY75" fmla="*/ 467644 h 1016771"/>
                    <a:gd name="connsiteX76" fmla="*/ 703237 w 761692"/>
                    <a:gd name="connsiteY76" fmla="*/ 471187 h 1016771"/>
                    <a:gd name="connsiteX77" fmla="*/ 708551 w 761692"/>
                    <a:gd name="connsiteY77" fmla="*/ 474730 h 1016771"/>
                    <a:gd name="connsiteX78" fmla="*/ 722722 w 761692"/>
                    <a:gd name="connsiteY78" fmla="*/ 501300 h 1016771"/>
                    <a:gd name="connsiteX79" fmla="*/ 724493 w 761692"/>
                    <a:gd name="connsiteY79" fmla="*/ 522557 h 1016771"/>
                    <a:gd name="connsiteX80" fmla="*/ 722722 w 761692"/>
                    <a:gd name="connsiteY80" fmla="*/ 540271 h 1016771"/>
                    <a:gd name="connsiteX81" fmla="*/ 735121 w 761692"/>
                    <a:gd name="connsiteY81" fmla="*/ 552670 h 1016771"/>
                    <a:gd name="connsiteX82" fmla="*/ 735121 w 761692"/>
                    <a:gd name="connsiteY82" fmla="*/ 570384 h 1016771"/>
                    <a:gd name="connsiteX83" fmla="*/ 751064 w 761692"/>
                    <a:gd name="connsiteY83" fmla="*/ 581012 h 1016771"/>
                    <a:gd name="connsiteX84" fmla="*/ 761692 w 761692"/>
                    <a:gd name="connsiteY84" fmla="*/ 604040 h 1016771"/>
                    <a:gd name="connsiteX85" fmla="*/ 747521 w 761692"/>
                    <a:gd name="connsiteY85" fmla="*/ 616440 h 1016771"/>
                    <a:gd name="connsiteX86" fmla="*/ 728036 w 761692"/>
                    <a:gd name="connsiteY86" fmla="*/ 627068 h 1016771"/>
                    <a:gd name="connsiteX87" fmla="*/ 726264 w 761692"/>
                    <a:gd name="connsiteY87" fmla="*/ 650096 h 1016771"/>
                    <a:gd name="connsiteX88" fmla="*/ 728036 w 761692"/>
                    <a:gd name="connsiteY88" fmla="*/ 673124 h 1016771"/>
                    <a:gd name="connsiteX89" fmla="*/ 742207 w 761692"/>
                    <a:gd name="connsiteY89" fmla="*/ 689066 h 1016771"/>
                    <a:gd name="connsiteX90" fmla="*/ 742207 w 761692"/>
                    <a:gd name="connsiteY90" fmla="*/ 712094 h 1016771"/>
                    <a:gd name="connsiteX91" fmla="*/ 740435 w 761692"/>
                    <a:gd name="connsiteY91" fmla="*/ 735122 h 1016771"/>
                    <a:gd name="connsiteX92" fmla="*/ 742207 w 761692"/>
                    <a:gd name="connsiteY92" fmla="*/ 751065 h 1016771"/>
                    <a:gd name="connsiteX93" fmla="*/ 747521 w 761692"/>
                    <a:gd name="connsiteY93" fmla="*/ 768778 h 1016771"/>
                    <a:gd name="connsiteX94" fmla="*/ 759921 w 761692"/>
                    <a:gd name="connsiteY94" fmla="*/ 777635 h 1016771"/>
                    <a:gd name="connsiteX95" fmla="*/ 758149 w 761692"/>
                    <a:gd name="connsiteY95" fmla="*/ 802434 h 1016771"/>
                    <a:gd name="connsiteX96" fmla="*/ 752835 w 761692"/>
                    <a:gd name="connsiteY96" fmla="*/ 814834 h 1016771"/>
                    <a:gd name="connsiteX97" fmla="*/ 743978 w 761692"/>
                    <a:gd name="connsiteY97" fmla="*/ 827234 h 1016771"/>
                    <a:gd name="connsiteX98" fmla="*/ 743978 w 761692"/>
                    <a:gd name="connsiteY98" fmla="*/ 837862 h 1016771"/>
                    <a:gd name="connsiteX99" fmla="*/ 747521 w 761692"/>
                    <a:gd name="connsiteY99" fmla="*/ 853804 h 1016771"/>
                    <a:gd name="connsiteX100" fmla="*/ 733350 w 761692"/>
                    <a:gd name="connsiteY100" fmla="*/ 867975 h 1016771"/>
                    <a:gd name="connsiteX101" fmla="*/ 724493 w 761692"/>
                    <a:gd name="connsiteY101" fmla="*/ 880375 h 1016771"/>
                    <a:gd name="connsiteX102" fmla="*/ 722722 w 761692"/>
                    <a:gd name="connsiteY102" fmla="*/ 899860 h 1016771"/>
                    <a:gd name="connsiteX103" fmla="*/ 722722 w 761692"/>
                    <a:gd name="connsiteY103" fmla="*/ 919345 h 1016771"/>
                    <a:gd name="connsiteX104" fmla="*/ 715636 w 761692"/>
                    <a:gd name="connsiteY104" fmla="*/ 940602 h 1016771"/>
                    <a:gd name="connsiteX105" fmla="*/ 708551 w 761692"/>
                    <a:gd name="connsiteY105" fmla="*/ 954773 h 1016771"/>
                    <a:gd name="connsiteX106" fmla="*/ 699694 w 761692"/>
                    <a:gd name="connsiteY106" fmla="*/ 965401 h 1016771"/>
                    <a:gd name="connsiteX107" fmla="*/ 692608 w 761692"/>
                    <a:gd name="connsiteY107" fmla="*/ 984886 h 1016771"/>
                    <a:gd name="connsiteX108" fmla="*/ 683751 w 761692"/>
                    <a:gd name="connsiteY108" fmla="*/ 997286 h 1016771"/>
                    <a:gd name="connsiteX109" fmla="*/ 673123 w 761692"/>
                    <a:gd name="connsiteY109" fmla="*/ 1002600 h 1016771"/>
                    <a:gd name="connsiteX110" fmla="*/ 662495 w 761692"/>
                    <a:gd name="connsiteY110" fmla="*/ 1013228 h 1016771"/>
                    <a:gd name="connsiteX111" fmla="*/ 644781 w 761692"/>
                    <a:gd name="connsiteY111" fmla="*/ 1016771 h 1016771"/>
                    <a:gd name="connsiteX112" fmla="*/ 635924 w 761692"/>
                    <a:gd name="connsiteY112" fmla="*/ 1004372 h 1016771"/>
                    <a:gd name="connsiteX113" fmla="*/ 623525 w 761692"/>
                    <a:gd name="connsiteY113" fmla="*/ 997286 h 1016771"/>
                    <a:gd name="connsiteX114" fmla="*/ 614668 w 761692"/>
                    <a:gd name="connsiteY114" fmla="*/ 986658 h 1016771"/>
                    <a:gd name="connsiteX115" fmla="*/ 593411 w 761692"/>
                    <a:gd name="connsiteY115" fmla="*/ 970715 h 1016771"/>
                    <a:gd name="connsiteX116" fmla="*/ 582783 w 761692"/>
                    <a:gd name="connsiteY116" fmla="*/ 965401 h 1016771"/>
                    <a:gd name="connsiteX117" fmla="*/ 531413 w 761692"/>
                    <a:gd name="connsiteY117" fmla="*/ 965401 h 1016771"/>
                    <a:gd name="connsiteX118" fmla="*/ 511928 w 761692"/>
                    <a:gd name="connsiteY118" fmla="*/ 965401 h 1016771"/>
                    <a:gd name="connsiteX119" fmla="*/ 492443 w 761692"/>
                    <a:gd name="connsiteY119" fmla="*/ 963630 h 1016771"/>
                    <a:gd name="connsiteX120" fmla="*/ 483586 w 761692"/>
                    <a:gd name="connsiteY120" fmla="*/ 958316 h 1016771"/>
                    <a:gd name="connsiteX121" fmla="*/ 469415 w 761692"/>
                    <a:gd name="connsiteY121" fmla="*/ 954773 h 1016771"/>
                    <a:gd name="connsiteX122" fmla="*/ 460558 w 761692"/>
                    <a:gd name="connsiteY122" fmla="*/ 942373 h 1016771"/>
                    <a:gd name="connsiteX123" fmla="*/ 446387 w 761692"/>
                    <a:gd name="connsiteY123" fmla="*/ 935288 h 1016771"/>
                    <a:gd name="connsiteX124" fmla="*/ 428673 w 761692"/>
                    <a:gd name="connsiteY124" fmla="*/ 928202 h 1016771"/>
                    <a:gd name="connsiteX125" fmla="*/ 418045 w 761692"/>
                    <a:gd name="connsiteY125" fmla="*/ 917574 h 1016771"/>
                    <a:gd name="connsiteX126" fmla="*/ 421588 w 761692"/>
                    <a:gd name="connsiteY126" fmla="*/ 903403 h 1016771"/>
                    <a:gd name="connsiteX127" fmla="*/ 418045 w 761692"/>
                    <a:gd name="connsiteY127" fmla="*/ 898089 h 1016771"/>
                    <a:gd name="connsiteX128" fmla="*/ 396788 w 761692"/>
                    <a:gd name="connsiteY128" fmla="*/ 898089 h 1016771"/>
                    <a:gd name="connsiteX129" fmla="*/ 382617 w 761692"/>
                    <a:gd name="connsiteY129" fmla="*/ 896318 h 1016771"/>
                    <a:gd name="connsiteX130" fmla="*/ 380846 w 761692"/>
                    <a:gd name="connsiteY130" fmla="*/ 906946 h 1016771"/>
                    <a:gd name="connsiteX131" fmla="*/ 373601 w 761692"/>
                    <a:gd name="connsiteY131" fmla="*/ 894832 h 1016771"/>
                    <a:gd name="connsiteX132" fmla="*/ 387164 w 761692"/>
                    <a:gd name="connsiteY132" fmla="*/ 896527 h 1016771"/>
                    <a:gd name="connsiteX133" fmla="*/ 383773 w 761692"/>
                    <a:gd name="connsiteY133" fmla="*/ 886355 h 1016771"/>
                    <a:gd name="connsiteX134" fmla="*/ 387164 w 761692"/>
                    <a:gd name="connsiteY134" fmla="*/ 876183 h 1016771"/>
                    <a:gd name="connsiteX135" fmla="*/ 388859 w 761692"/>
                    <a:gd name="connsiteY135" fmla="*/ 867707 h 1016771"/>
                    <a:gd name="connsiteX136" fmla="*/ 380382 w 761692"/>
                    <a:gd name="connsiteY136" fmla="*/ 859230 h 1016771"/>
                    <a:gd name="connsiteX137" fmla="*/ 373601 w 761692"/>
                    <a:gd name="connsiteY137" fmla="*/ 849058 h 1016771"/>
                    <a:gd name="connsiteX138" fmla="*/ 380382 w 761692"/>
                    <a:gd name="connsiteY138" fmla="*/ 838886 h 1016771"/>
                    <a:gd name="connsiteX139" fmla="*/ 383773 w 761692"/>
                    <a:gd name="connsiteY139" fmla="*/ 833800 h 1016771"/>
                    <a:gd name="connsiteX140" fmla="*/ 388859 w 761692"/>
                    <a:gd name="connsiteY140" fmla="*/ 825324 h 1016771"/>
                    <a:gd name="connsiteX141" fmla="*/ 387164 w 761692"/>
                    <a:gd name="connsiteY141" fmla="*/ 810066 h 1016771"/>
                    <a:gd name="connsiteX142" fmla="*/ 387164 w 761692"/>
                    <a:gd name="connsiteY142" fmla="*/ 796503 h 1016771"/>
                    <a:gd name="connsiteX143" fmla="*/ 378687 w 761692"/>
                    <a:gd name="connsiteY143" fmla="*/ 789722 h 1016771"/>
                    <a:gd name="connsiteX144" fmla="*/ 366820 w 761692"/>
                    <a:gd name="connsiteY144" fmla="*/ 782940 h 1016771"/>
                    <a:gd name="connsiteX145" fmla="*/ 356648 w 761692"/>
                    <a:gd name="connsiteY145" fmla="*/ 781245 h 1016771"/>
                    <a:gd name="connsiteX146" fmla="*/ 349866 w 761692"/>
                    <a:gd name="connsiteY146" fmla="*/ 771073 h 1016771"/>
                    <a:gd name="connsiteX147" fmla="*/ 349866 w 761692"/>
                    <a:gd name="connsiteY147" fmla="*/ 752425 h 1016771"/>
                    <a:gd name="connsiteX148" fmla="*/ 353257 w 761692"/>
                    <a:gd name="connsiteY148" fmla="*/ 743948 h 1016771"/>
                    <a:gd name="connsiteX149" fmla="*/ 354952 w 761692"/>
                    <a:gd name="connsiteY149" fmla="*/ 730385 h 1016771"/>
                    <a:gd name="connsiteX150" fmla="*/ 353257 w 761692"/>
                    <a:gd name="connsiteY150" fmla="*/ 713432 h 1016771"/>
                    <a:gd name="connsiteX151" fmla="*/ 346476 w 761692"/>
                    <a:gd name="connsiteY151" fmla="*/ 701565 h 1016771"/>
                    <a:gd name="connsiteX152" fmla="*/ 332913 w 761692"/>
                    <a:gd name="connsiteY152" fmla="*/ 689697 h 1016771"/>
                    <a:gd name="connsiteX153" fmla="*/ 324436 w 761692"/>
                    <a:gd name="connsiteY153" fmla="*/ 681221 h 1016771"/>
                    <a:gd name="connsiteX154" fmla="*/ 314264 w 761692"/>
                    <a:gd name="connsiteY154" fmla="*/ 676135 h 1016771"/>
                    <a:gd name="connsiteX155" fmla="*/ 293920 w 761692"/>
                    <a:gd name="connsiteY155" fmla="*/ 669354 h 1016771"/>
                    <a:gd name="connsiteX156" fmla="*/ 282053 w 761692"/>
                    <a:gd name="connsiteY156" fmla="*/ 667658 h 1016771"/>
                    <a:gd name="connsiteX157" fmla="*/ 266795 w 761692"/>
                    <a:gd name="connsiteY157" fmla="*/ 672744 h 1016771"/>
                    <a:gd name="connsiteX158" fmla="*/ 265100 w 761692"/>
                    <a:gd name="connsiteY158" fmla="*/ 672744 h 1016771"/>
                    <a:gd name="connsiteX159" fmla="*/ 263404 w 761692"/>
                    <a:gd name="connsiteY159" fmla="*/ 671049 h 1016771"/>
                    <a:gd name="connsiteX160" fmla="*/ 260014 w 761692"/>
                    <a:gd name="connsiteY160" fmla="*/ 671049 h 1016771"/>
                    <a:gd name="connsiteX161" fmla="*/ 258318 w 761692"/>
                    <a:gd name="connsiteY161" fmla="*/ 671049 h 1016771"/>
                    <a:gd name="connsiteX162" fmla="*/ 253232 w 761692"/>
                    <a:gd name="connsiteY162" fmla="*/ 671049 h 1016771"/>
                    <a:gd name="connsiteX163" fmla="*/ 248146 w 761692"/>
                    <a:gd name="connsiteY163" fmla="*/ 672744 h 1016771"/>
                    <a:gd name="connsiteX164" fmla="*/ 248146 w 761692"/>
                    <a:gd name="connsiteY164" fmla="*/ 674440 h 1016771"/>
                    <a:gd name="connsiteX165" fmla="*/ 246451 w 761692"/>
                    <a:gd name="connsiteY165" fmla="*/ 674440 h 1016771"/>
                    <a:gd name="connsiteX166" fmla="*/ 236279 w 761692"/>
                    <a:gd name="connsiteY166" fmla="*/ 679526 h 1016771"/>
                    <a:gd name="connsiteX167" fmla="*/ 226107 w 761692"/>
                    <a:gd name="connsiteY167" fmla="*/ 684612 h 1016771"/>
                    <a:gd name="connsiteX168" fmla="*/ 217630 w 761692"/>
                    <a:gd name="connsiteY168" fmla="*/ 684612 h 1016771"/>
                    <a:gd name="connsiteX169" fmla="*/ 207458 w 761692"/>
                    <a:gd name="connsiteY169" fmla="*/ 693088 h 1016771"/>
                    <a:gd name="connsiteX170" fmla="*/ 198982 w 761692"/>
                    <a:gd name="connsiteY170" fmla="*/ 694783 h 1016771"/>
                    <a:gd name="connsiteX171" fmla="*/ 192200 w 761692"/>
                    <a:gd name="connsiteY171" fmla="*/ 699869 h 1016771"/>
                    <a:gd name="connsiteX172" fmla="*/ 178638 w 761692"/>
                    <a:gd name="connsiteY172" fmla="*/ 706651 h 1016771"/>
                    <a:gd name="connsiteX173" fmla="*/ 163380 w 761692"/>
                    <a:gd name="connsiteY173" fmla="*/ 710041 h 1016771"/>
                    <a:gd name="connsiteX174" fmla="*/ 141340 w 761692"/>
                    <a:gd name="connsiteY174" fmla="*/ 710041 h 1016771"/>
                    <a:gd name="connsiteX175" fmla="*/ 134559 w 761692"/>
                    <a:gd name="connsiteY175" fmla="*/ 716823 h 1016771"/>
                    <a:gd name="connsiteX176" fmla="*/ 127778 w 761692"/>
                    <a:gd name="connsiteY176" fmla="*/ 718518 h 1016771"/>
                    <a:gd name="connsiteX177" fmla="*/ 120996 w 761692"/>
                    <a:gd name="connsiteY177" fmla="*/ 725299 h 1016771"/>
                    <a:gd name="connsiteX178" fmla="*/ 111172 w 761692"/>
                    <a:gd name="connsiteY178" fmla="*/ 733720 h 1016771"/>
                    <a:gd name="connsiteX179" fmla="*/ 106283 w 761692"/>
                    <a:gd name="connsiteY179" fmla="*/ 729808 h 1016771"/>
                    <a:gd name="connsiteX180" fmla="*/ 92112 w 761692"/>
                    <a:gd name="connsiteY180" fmla="*/ 724494 h 1016771"/>
                    <a:gd name="connsiteX181" fmla="*/ 77941 w 761692"/>
                    <a:gd name="connsiteY181" fmla="*/ 726265 h 1016771"/>
                    <a:gd name="connsiteX182" fmla="*/ 70855 w 761692"/>
                    <a:gd name="connsiteY182" fmla="*/ 719180 h 1016771"/>
                    <a:gd name="connsiteX183" fmla="*/ 70855 w 761692"/>
                    <a:gd name="connsiteY183" fmla="*/ 699695 h 1016771"/>
                    <a:gd name="connsiteX184" fmla="*/ 81483 w 761692"/>
                    <a:gd name="connsiteY184" fmla="*/ 685524 h 1016771"/>
                    <a:gd name="connsiteX185" fmla="*/ 85026 w 761692"/>
                    <a:gd name="connsiteY185" fmla="*/ 673124 h 1016771"/>
                    <a:gd name="connsiteX186" fmla="*/ 86797 w 761692"/>
                    <a:gd name="connsiteY186" fmla="*/ 660724 h 1016771"/>
                    <a:gd name="connsiteX187" fmla="*/ 97426 w 761692"/>
                    <a:gd name="connsiteY187" fmla="*/ 650096 h 1016771"/>
                    <a:gd name="connsiteX188" fmla="*/ 102740 w 761692"/>
                    <a:gd name="connsiteY188" fmla="*/ 635925 h 1016771"/>
                    <a:gd name="connsiteX189" fmla="*/ 113368 w 761692"/>
                    <a:gd name="connsiteY189" fmla="*/ 625297 h 1016771"/>
                    <a:gd name="connsiteX190" fmla="*/ 115139 w 761692"/>
                    <a:gd name="connsiteY190" fmla="*/ 612897 h 1016771"/>
                    <a:gd name="connsiteX191" fmla="*/ 127539 w 761692"/>
                    <a:gd name="connsiteY191" fmla="*/ 609354 h 1016771"/>
                    <a:gd name="connsiteX192" fmla="*/ 136396 w 761692"/>
                    <a:gd name="connsiteY192" fmla="*/ 604040 h 1016771"/>
                    <a:gd name="connsiteX193" fmla="*/ 132853 w 761692"/>
                    <a:gd name="connsiteY193" fmla="*/ 593412 h 1016771"/>
                    <a:gd name="connsiteX194" fmla="*/ 134625 w 761692"/>
                    <a:gd name="connsiteY194" fmla="*/ 584555 h 1016771"/>
                    <a:gd name="connsiteX195" fmla="*/ 131082 w 761692"/>
                    <a:gd name="connsiteY195" fmla="*/ 575698 h 1016771"/>
                    <a:gd name="connsiteX196" fmla="*/ 120454 w 761692"/>
                    <a:gd name="connsiteY196" fmla="*/ 568613 h 1016771"/>
                    <a:gd name="connsiteX197" fmla="*/ 125768 w 761692"/>
                    <a:gd name="connsiteY197" fmla="*/ 552670 h 1016771"/>
                    <a:gd name="connsiteX198" fmla="*/ 118682 w 761692"/>
                    <a:gd name="connsiteY198" fmla="*/ 543813 h 1016771"/>
                    <a:gd name="connsiteX199" fmla="*/ 90340 w 761692"/>
                    <a:gd name="connsiteY199" fmla="*/ 543813 h 1016771"/>
                    <a:gd name="connsiteX200" fmla="*/ 86797 w 761692"/>
                    <a:gd name="connsiteY200" fmla="*/ 542042 h 1016771"/>
                    <a:gd name="connsiteX201" fmla="*/ 83255 w 761692"/>
                    <a:gd name="connsiteY201" fmla="*/ 542042 h 1016771"/>
                    <a:gd name="connsiteX202" fmla="*/ 81483 w 761692"/>
                    <a:gd name="connsiteY202" fmla="*/ 540271 h 1016771"/>
                    <a:gd name="connsiteX203" fmla="*/ 81483 w 761692"/>
                    <a:gd name="connsiteY203" fmla="*/ 536728 h 1016771"/>
                    <a:gd name="connsiteX204" fmla="*/ 79712 w 761692"/>
                    <a:gd name="connsiteY204" fmla="*/ 531414 h 1016771"/>
                    <a:gd name="connsiteX205" fmla="*/ 77941 w 761692"/>
                    <a:gd name="connsiteY205" fmla="*/ 529642 h 1016771"/>
                    <a:gd name="connsiteX206" fmla="*/ 70855 w 761692"/>
                    <a:gd name="connsiteY206" fmla="*/ 527871 h 1016771"/>
                    <a:gd name="connsiteX207" fmla="*/ 60227 w 761692"/>
                    <a:gd name="connsiteY207" fmla="*/ 536728 h 1016771"/>
                    <a:gd name="connsiteX208" fmla="*/ 47827 w 761692"/>
                    <a:gd name="connsiteY208" fmla="*/ 526100 h 1016771"/>
                    <a:gd name="connsiteX209" fmla="*/ 42513 w 761692"/>
                    <a:gd name="connsiteY209" fmla="*/ 515471 h 1016771"/>
                    <a:gd name="connsiteX210" fmla="*/ 33656 w 761692"/>
                    <a:gd name="connsiteY210" fmla="*/ 506614 h 1016771"/>
                    <a:gd name="connsiteX211" fmla="*/ 31885 w 761692"/>
                    <a:gd name="connsiteY211" fmla="*/ 490672 h 1016771"/>
                    <a:gd name="connsiteX212" fmla="*/ 26571 w 761692"/>
                    <a:gd name="connsiteY212" fmla="*/ 476501 h 1016771"/>
                    <a:gd name="connsiteX213" fmla="*/ 24799 w 761692"/>
                    <a:gd name="connsiteY213" fmla="*/ 471187 h 1016771"/>
                    <a:gd name="connsiteX214" fmla="*/ 12400 w 761692"/>
                    <a:gd name="connsiteY214" fmla="*/ 472958 h 1016771"/>
                    <a:gd name="connsiteX215" fmla="*/ 7086 w 761692"/>
                    <a:gd name="connsiteY215" fmla="*/ 464101 h 1016771"/>
                    <a:gd name="connsiteX216" fmla="*/ 8857 w 761692"/>
                    <a:gd name="connsiteY216" fmla="*/ 446388 h 1016771"/>
                    <a:gd name="connsiteX217" fmla="*/ 3543 w 761692"/>
                    <a:gd name="connsiteY217" fmla="*/ 435759 h 1016771"/>
                    <a:gd name="connsiteX218" fmla="*/ 5314 w 761692"/>
                    <a:gd name="connsiteY218" fmla="*/ 412731 h 1016771"/>
                    <a:gd name="connsiteX219" fmla="*/ 0 w 761692"/>
                    <a:gd name="connsiteY219" fmla="*/ 396789 h 1016771"/>
                    <a:gd name="connsiteX220" fmla="*/ 3543 w 761692"/>
                    <a:gd name="connsiteY220" fmla="*/ 384389 h 1016771"/>
                    <a:gd name="connsiteX221" fmla="*/ 14171 w 761692"/>
                    <a:gd name="connsiteY221" fmla="*/ 380846 h 1016771"/>
                    <a:gd name="connsiteX222" fmla="*/ 24799 w 761692"/>
                    <a:gd name="connsiteY222" fmla="*/ 364904 h 1016771"/>
                    <a:gd name="connsiteX223" fmla="*/ 30113 w 761692"/>
                    <a:gd name="connsiteY223" fmla="*/ 350733 h 1016771"/>
                    <a:gd name="connsiteX224" fmla="*/ 35428 w 761692"/>
                    <a:gd name="connsiteY224" fmla="*/ 341876 h 1016771"/>
                    <a:gd name="connsiteX225" fmla="*/ 42513 w 761692"/>
                    <a:gd name="connsiteY225" fmla="*/ 327705 h 1016771"/>
                    <a:gd name="connsiteX226" fmla="*/ 42513 w 761692"/>
                    <a:gd name="connsiteY226" fmla="*/ 315305 h 1016771"/>
                    <a:gd name="connsiteX227" fmla="*/ 56684 w 761692"/>
                    <a:gd name="connsiteY227" fmla="*/ 309991 h 1016771"/>
                    <a:gd name="connsiteX228" fmla="*/ 60227 w 761692"/>
                    <a:gd name="connsiteY228" fmla="*/ 309991 h 1016771"/>
                    <a:gd name="connsiteX229" fmla="*/ 61998 w 761692"/>
                    <a:gd name="connsiteY229" fmla="*/ 311763 h 1016771"/>
                    <a:gd name="connsiteX230" fmla="*/ 67312 w 761692"/>
                    <a:gd name="connsiteY230" fmla="*/ 311763 h 1016771"/>
                    <a:gd name="connsiteX231" fmla="*/ 67312 w 761692"/>
                    <a:gd name="connsiteY231" fmla="*/ 309991 h 1016771"/>
                    <a:gd name="connsiteX232" fmla="*/ 67312 w 761692"/>
                    <a:gd name="connsiteY232" fmla="*/ 308220 h 1016771"/>
                    <a:gd name="connsiteX233" fmla="*/ 69084 w 761692"/>
                    <a:gd name="connsiteY233" fmla="*/ 302906 h 1016771"/>
                    <a:gd name="connsiteX234" fmla="*/ 70855 w 761692"/>
                    <a:gd name="connsiteY234" fmla="*/ 301134 h 1016771"/>
                    <a:gd name="connsiteX235" fmla="*/ 70855 w 761692"/>
                    <a:gd name="connsiteY235" fmla="*/ 299363 h 1016771"/>
                    <a:gd name="connsiteX236" fmla="*/ 77941 w 761692"/>
                    <a:gd name="connsiteY236" fmla="*/ 295820 h 1016771"/>
                    <a:gd name="connsiteX237" fmla="*/ 85026 w 761692"/>
                    <a:gd name="connsiteY237" fmla="*/ 295820 h 1016771"/>
                    <a:gd name="connsiteX238" fmla="*/ 93883 w 761692"/>
                    <a:gd name="connsiteY238" fmla="*/ 297592 h 1016771"/>
                    <a:gd name="connsiteX239" fmla="*/ 100968 w 761692"/>
                    <a:gd name="connsiteY239" fmla="*/ 288735 h 1016771"/>
                    <a:gd name="connsiteX240" fmla="*/ 97426 w 761692"/>
                    <a:gd name="connsiteY240" fmla="*/ 279878 h 1016771"/>
                    <a:gd name="connsiteX241" fmla="*/ 85026 w 761692"/>
                    <a:gd name="connsiteY241" fmla="*/ 276335 h 1016771"/>
                    <a:gd name="connsiteX242" fmla="*/ 76169 w 761692"/>
                    <a:gd name="connsiteY242" fmla="*/ 271021 h 1016771"/>
                    <a:gd name="connsiteX243" fmla="*/ 76169 w 761692"/>
                    <a:gd name="connsiteY243" fmla="*/ 262164 h 1016771"/>
                    <a:gd name="connsiteX244" fmla="*/ 81483 w 761692"/>
                    <a:gd name="connsiteY244" fmla="*/ 251536 h 1016771"/>
                    <a:gd name="connsiteX245" fmla="*/ 86797 w 761692"/>
                    <a:gd name="connsiteY245" fmla="*/ 255079 h 1016771"/>
                    <a:gd name="connsiteX246" fmla="*/ 104511 w 761692"/>
                    <a:gd name="connsiteY246" fmla="*/ 262164 h 1016771"/>
                    <a:gd name="connsiteX247" fmla="*/ 116911 w 761692"/>
                    <a:gd name="connsiteY247" fmla="*/ 265707 h 1016771"/>
                    <a:gd name="connsiteX248" fmla="*/ 132853 w 761692"/>
                    <a:gd name="connsiteY248" fmla="*/ 269250 h 1016771"/>
                    <a:gd name="connsiteX249" fmla="*/ 138167 w 761692"/>
                    <a:gd name="connsiteY249" fmla="*/ 265707 h 1016771"/>
                    <a:gd name="connsiteX250" fmla="*/ 150567 w 761692"/>
                    <a:gd name="connsiteY250" fmla="*/ 255079 h 1016771"/>
                    <a:gd name="connsiteX251" fmla="*/ 166509 w 761692"/>
                    <a:gd name="connsiteY251" fmla="*/ 255079 h 1016771"/>
                    <a:gd name="connsiteX252" fmla="*/ 166509 w 761692"/>
                    <a:gd name="connsiteY252" fmla="*/ 265707 h 1016771"/>
                    <a:gd name="connsiteX253" fmla="*/ 177138 w 761692"/>
                    <a:gd name="connsiteY253" fmla="*/ 272792 h 1016771"/>
                    <a:gd name="connsiteX254" fmla="*/ 194851 w 761692"/>
                    <a:gd name="connsiteY254" fmla="*/ 276335 h 1016771"/>
                    <a:gd name="connsiteX255" fmla="*/ 209022 w 761692"/>
                    <a:gd name="connsiteY255" fmla="*/ 279878 h 1016771"/>
                    <a:gd name="connsiteX256" fmla="*/ 221422 w 761692"/>
                    <a:gd name="connsiteY256" fmla="*/ 276335 h 1016771"/>
                    <a:gd name="connsiteX257" fmla="*/ 226736 w 761692"/>
                    <a:gd name="connsiteY257" fmla="*/ 269250 h 1016771"/>
                    <a:gd name="connsiteX258" fmla="*/ 226736 w 761692"/>
                    <a:gd name="connsiteY258" fmla="*/ 251536 h 1016771"/>
                    <a:gd name="connsiteX259" fmla="*/ 224965 w 761692"/>
                    <a:gd name="connsiteY259" fmla="*/ 239136 h 1016771"/>
                    <a:gd name="connsiteX260" fmla="*/ 214337 w 761692"/>
                    <a:gd name="connsiteY260" fmla="*/ 230279 h 1016771"/>
                    <a:gd name="connsiteX261" fmla="*/ 210794 w 761692"/>
                    <a:gd name="connsiteY261" fmla="*/ 217880 h 1016771"/>
                    <a:gd name="connsiteX262" fmla="*/ 221422 w 761692"/>
                    <a:gd name="connsiteY262" fmla="*/ 207251 h 1016771"/>
                    <a:gd name="connsiteX263" fmla="*/ 235593 w 761692"/>
                    <a:gd name="connsiteY263" fmla="*/ 214337 h 1016771"/>
                    <a:gd name="connsiteX264" fmla="*/ 246221 w 761692"/>
                    <a:gd name="connsiteY264" fmla="*/ 219651 h 1016771"/>
                    <a:gd name="connsiteX265" fmla="*/ 253307 w 761692"/>
                    <a:gd name="connsiteY265" fmla="*/ 221422 h 1016771"/>
                    <a:gd name="connsiteX266" fmla="*/ 262164 w 761692"/>
                    <a:gd name="connsiteY266" fmla="*/ 210794 h 1016771"/>
                    <a:gd name="connsiteX267" fmla="*/ 263935 w 761692"/>
                    <a:gd name="connsiteY267" fmla="*/ 201937 h 1016771"/>
                    <a:gd name="connsiteX268" fmla="*/ 274563 w 761692"/>
                    <a:gd name="connsiteY268" fmla="*/ 189538 h 1016771"/>
                    <a:gd name="connsiteX269" fmla="*/ 283420 w 761692"/>
                    <a:gd name="connsiteY269" fmla="*/ 178909 h 1016771"/>
                    <a:gd name="connsiteX270" fmla="*/ 286963 w 761692"/>
                    <a:gd name="connsiteY270" fmla="*/ 173595 h 1016771"/>
                    <a:gd name="connsiteX271" fmla="*/ 311762 w 761692"/>
                    <a:gd name="connsiteY271" fmla="*/ 168281 h 1016771"/>
                    <a:gd name="connsiteX272" fmla="*/ 325933 w 761692"/>
                    <a:gd name="connsiteY272" fmla="*/ 164738 h 1016771"/>
                    <a:gd name="connsiteX273" fmla="*/ 336562 w 761692"/>
                    <a:gd name="connsiteY273" fmla="*/ 159424 h 1016771"/>
                    <a:gd name="connsiteX274" fmla="*/ 348961 w 761692"/>
                    <a:gd name="connsiteY274" fmla="*/ 145253 h 1016771"/>
                    <a:gd name="connsiteX275" fmla="*/ 359589 w 761692"/>
                    <a:gd name="connsiteY275" fmla="*/ 143482 h 1016771"/>
                    <a:gd name="connsiteX276" fmla="*/ 371989 w 761692"/>
                    <a:gd name="connsiteY276" fmla="*/ 143482 h 1016771"/>
                    <a:gd name="connsiteX277" fmla="*/ 391474 w 761692"/>
                    <a:gd name="connsiteY277" fmla="*/ 143482 h 1016771"/>
                    <a:gd name="connsiteX278" fmla="*/ 396788 w 761692"/>
                    <a:gd name="connsiteY278" fmla="*/ 141710 h 1016771"/>
                    <a:gd name="connsiteX279" fmla="*/ 403874 w 761692"/>
                    <a:gd name="connsiteY279" fmla="*/ 134625 h 1016771"/>
                    <a:gd name="connsiteX280" fmla="*/ 409188 w 761692"/>
                    <a:gd name="connsiteY280" fmla="*/ 129311 h 1016771"/>
                    <a:gd name="connsiteX281" fmla="*/ 409188 w 761692"/>
                    <a:gd name="connsiteY281" fmla="*/ 123997 h 1016771"/>
                    <a:gd name="connsiteX282" fmla="*/ 414502 w 761692"/>
                    <a:gd name="connsiteY282" fmla="*/ 115140 h 1016771"/>
                    <a:gd name="connsiteX283" fmla="*/ 428673 w 761692"/>
                    <a:gd name="connsiteY283" fmla="*/ 115140 h 1016771"/>
                    <a:gd name="connsiteX284" fmla="*/ 432216 w 761692"/>
                    <a:gd name="connsiteY284" fmla="*/ 109826 h 1016771"/>
                    <a:gd name="connsiteX285" fmla="*/ 437530 w 761692"/>
                    <a:gd name="connsiteY285" fmla="*/ 100969 h 1016771"/>
                    <a:gd name="connsiteX286" fmla="*/ 448158 w 761692"/>
                    <a:gd name="connsiteY286" fmla="*/ 99197 h 1016771"/>
                    <a:gd name="connsiteX287" fmla="*/ 460558 w 761692"/>
                    <a:gd name="connsiteY287" fmla="*/ 97426 h 1016771"/>
                    <a:gd name="connsiteX288" fmla="*/ 472958 w 761692"/>
                    <a:gd name="connsiteY288" fmla="*/ 93883 h 1016771"/>
                    <a:gd name="connsiteX289" fmla="*/ 492443 w 761692"/>
                    <a:gd name="connsiteY289" fmla="*/ 93883 h 1016771"/>
                    <a:gd name="connsiteX290" fmla="*/ 501300 w 761692"/>
                    <a:gd name="connsiteY290" fmla="*/ 83255 h 1016771"/>
                    <a:gd name="connsiteX291" fmla="*/ 517242 w 761692"/>
                    <a:gd name="connsiteY291" fmla="*/ 81484 h 1016771"/>
                    <a:gd name="connsiteX292" fmla="*/ 522556 w 761692"/>
                    <a:gd name="connsiteY292" fmla="*/ 81484 h 1016771"/>
                    <a:gd name="connsiteX293" fmla="*/ 522556 w 761692"/>
                    <a:gd name="connsiteY293" fmla="*/ 60227 h 1016771"/>
                    <a:gd name="connsiteX294" fmla="*/ 526099 w 761692"/>
                    <a:gd name="connsiteY294" fmla="*/ 54913 h 1016771"/>
                    <a:gd name="connsiteX295" fmla="*/ 529642 w 761692"/>
                    <a:gd name="connsiteY295" fmla="*/ 46056 h 1016771"/>
                    <a:gd name="connsiteX296" fmla="*/ 538499 w 761692"/>
                    <a:gd name="connsiteY296" fmla="*/ 40742 h 1016771"/>
                    <a:gd name="connsiteX297" fmla="*/ 540270 w 761692"/>
                    <a:gd name="connsiteY297" fmla="*/ 30114 h 1016771"/>
                    <a:gd name="connsiteX298" fmla="*/ 536727 w 761692"/>
                    <a:gd name="connsiteY298" fmla="*/ 19485 h 1016771"/>
                    <a:gd name="connsiteX299" fmla="*/ 543813 w 761692"/>
                    <a:gd name="connsiteY299" fmla="*/ 5314 h 1016771"/>
                    <a:gd name="connsiteX300" fmla="*/ 554441 w 761692"/>
                    <a:gd name="connsiteY300" fmla="*/ 0 h 1016771"/>
                    <a:gd name="connsiteX0" fmla="*/ 138167 w 761692"/>
                    <a:gd name="connsiteY0" fmla="*/ 852033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38167 w 761692"/>
                    <a:gd name="connsiteY9" fmla="*/ 852033 h 1016771"/>
                    <a:gd name="connsiteX10" fmla="*/ 116476 w 761692"/>
                    <a:gd name="connsiteY10" fmla="*/ 741349 h 1016771"/>
                    <a:gd name="connsiteX11" fmla="*/ 117606 w 761692"/>
                    <a:gd name="connsiteY11" fmla="*/ 742253 h 1016771"/>
                    <a:gd name="connsiteX12" fmla="*/ 122692 w 761692"/>
                    <a:gd name="connsiteY12" fmla="*/ 759206 h 1016771"/>
                    <a:gd name="connsiteX13" fmla="*/ 126082 w 761692"/>
                    <a:gd name="connsiteY13" fmla="*/ 771073 h 1016771"/>
                    <a:gd name="connsiteX14" fmla="*/ 129473 w 761692"/>
                    <a:gd name="connsiteY14" fmla="*/ 782940 h 1016771"/>
                    <a:gd name="connsiteX15" fmla="*/ 132864 w 761692"/>
                    <a:gd name="connsiteY15" fmla="*/ 793112 h 1016771"/>
                    <a:gd name="connsiteX16" fmla="*/ 136254 w 761692"/>
                    <a:gd name="connsiteY16" fmla="*/ 810066 h 1016771"/>
                    <a:gd name="connsiteX17" fmla="*/ 139058 w 761692"/>
                    <a:gd name="connsiteY17" fmla="*/ 818476 h 1016771"/>
                    <a:gd name="connsiteX18" fmla="*/ 138167 w 761692"/>
                    <a:gd name="connsiteY18" fmla="*/ 818377 h 1016771"/>
                    <a:gd name="connsiteX19" fmla="*/ 134625 w 761692"/>
                    <a:gd name="connsiteY19" fmla="*/ 807749 h 1016771"/>
                    <a:gd name="connsiteX20" fmla="*/ 131082 w 761692"/>
                    <a:gd name="connsiteY20" fmla="*/ 790035 h 1016771"/>
                    <a:gd name="connsiteX21" fmla="*/ 127539 w 761692"/>
                    <a:gd name="connsiteY21" fmla="*/ 779407 h 1016771"/>
                    <a:gd name="connsiteX22" fmla="*/ 123996 w 761692"/>
                    <a:gd name="connsiteY22" fmla="*/ 767007 h 1016771"/>
                    <a:gd name="connsiteX23" fmla="*/ 120454 w 761692"/>
                    <a:gd name="connsiteY23" fmla="*/ 754607 h 1016771"/>
                    <a:gd name="connsiteX24" fmla="*/ 116476 w 761692"/>
                    <a:gd name="connsiteY24" fmla="*/ 741349 h 1016771"/>
                    <a:gd name="connsiteX25" fmla="*/ 554441 w 761692"/>
                    <a:gd name="connsiteY25" fmla="*/ 0 h 1016771"/>
                    <a:gd name="connsiteX26" fmla="*/ 570383 w 761692"/>
                    <a:gd name="connsiteY26" fmla="*/ 3543 h 1016771"/>
                    <a:gd name="connsiteX27" fmla="*/ 577469 w 761692"/>
                    <a:gd name="connsiteY27" fmla="*/ 8857 h 1016771"/>
                    <a:gd name="connsiteX28" fmla="*/ 582783 w 761692"/>
                    <a:gd name="connsiteY28" fmla="*/ 17714 h 1016771"/>
                    <a:gd name="connsiteX29" fmla="*/ 582783 w 761692"/>
                    <a:gd name="connsiteY29" fmla="*/ 24799 h 1016771"/>
                    <a:gd name="connsiteX30" fmla="*/ 588097 w 761692"/>
                    <a:gd name="connsiteY30" fmla="*/ 33656 h 1016771"/>
                    <a:gd name="connsiteX31" fmla="*/ 598725 w 761692"/>
                    <a:gd name="connsiteY31" fmla="*/ 31885 h 1016771"/>
                    <a:gd name="connsiteX32" fmla="*/ 612896 w 761692"/>
                    <a:gd name="connsiteY32" fmla="*/ 37199 h 1016771"/>
                    <a:gd name="connsiteX33" fmla="*/ 618211 w 761692"/>
                    <a:gd name="connsiteY33" fmla="*/ 46056 h 1016771"/>
                    <a:gd name="connsiteX34" fmla="*/ 619982 w 761692"/>
                    <a:gd name="connsiteY34" fmla="*/ 54913 h 1016771"/>
                    <a:gd name="connsiteX35" fmla="*/ 618211 w 761692"/>
                    <a:gd name="connsiteY35" fmla="*/ 74398 h 1016771"/>
                    <a:gd name="connsiteX36" fmla="*/ 616439 w 761692"/>
                    <a:gd name="connsiteY36" fmla="*/ 85026 h 1016771"/>
                    <a:gd name="connsiteX37" fmla="*/ 621753 w 761692"/>
                    <a:gd name="connsiteY37" fmla="*/ 97426 h 1016771"/>
                    <a:gd name="connsiteX38" fmla="*/ 637696 w 761692"/>
                    <a:gd name="connsiteY38" fmla="*/ 113368 h 1016771"/>
                    <a:gd name="connsiteX39" fmla="*/ 644781 w 761692"/>
                    <a:gd name="connsiteY39" fmla="*/ 120454 h 1016771"/>
                    <a:gd name="connsiteX40" fmla="*/ 650095 w 761692"/>
                    <a:gd name="connsiteY40" fmla="*/ 136396 h 1016771"/>
                    <a:gd name="connsiteX41" fmla="*/ 655409 w 761692"/>
                    <a:gd name="connsiteY41" fmla="*/ 155881 h 1016771"/>
                    <a:gd name="connsiteX42" fmla="*/ 662495 w 761692"/>
                    <a:gd name="connsiteY42" fmla="*/ 171824 h 1016771"/>
                    <a:gd name="connsiteX43" fmla="*/ 660724 w 761692"/>
                    <a:gd name="connsiteY43" fmla="*/ 185995 h 1016771"/>
                    <a:gd name="connsiteX44" fmla="*/ 635924 w 761692"/>
                    <a:gd name="connsiteY44" fmla="*/ 194852 h 1016771"/>
                    <a:gd name="connsiteX45" fmla="*/ 619982 w 761692"/>
                    <a:gd name="connsiteY45" fmla="*/ 207251 h 1016771"/>
                    <a:gd name="connsiteX46" fmla="*/ 614668 w 761692"/>
                    <a:gd name="connsiteY46" fmla="*/ 223194 h 1016771"/>
                    <a:gd name="connsiteX47" fmla="*/ 618211 w 761692"/>
                    <a:gd name="connsiteY47" fmla="*/ 242679 h 1016771"/>
                    <a:gd name="connsiteX48" fmla="*/ 612896 w 761692"/>
                    <a:gd name="connsiteY48" fmla="*/ 256850 h 1016771"/>
                    <a:gd name="connsiteX49" fmla="*/ 625296 w 761692"/>
                    <a:gd name="connsiteY49" fmla="*/ 267478 h 1016771"/>
                    <a:gd name="connsiteX50" fmla="*/ 641238 w 761692"/>
                    <a:gd name="connsiteY50" fmla="*/ 269250 h 1016771"/>
                    <a:gd name="connsiteX51" fmla="*/ 658952 w 761692"/>
                    <a:gd name="connsiteY51" fmla="*/ 286963 h 1016771"/>
                    <a:gd name="connsiteX52" fmla="*/ 653638 w 761692"/>
                    <a:gd name="connsiteY52" fmla="*/ 309991 h 1016771"/>
                    <a:gd name="connsiteX53" fmla="*/ 653638 w 761692"/>
                    <a:gd name="connsiteY53" fmla="*/ 329476 h 1016771"/>
                    <a:gd name="connsiteX54" fmla="*/ 643010 w 761692"/>
                    <a:gd name="connsiteY54" fmla="*/ 338333 h 1016771"/>
                    <a:gd name="connsiteX55" fmla="*/ 632382 w 761692"/>
                    <a:gd name="connsiteY55" fmla="*/ 338333 h 1016771"/>
                    <a:gd name="connsiteX56" fmla="*/ 618211 w 761692"/>
                    <a:gd name="connsiteY56" fmla="*/ 357819 h 1016771"/>
                    <a:gd name="connsiteX57" fmla="*/ 609354 w 761692"/>
                    <a:gd name="connsiteY57" fmla="*/ 361361 h 1016771"/>
                    <a:gd name="connsiteX58" fmla="*/ 596954 w 761692"/>
                    <a:gd name="connsiteY58" fmla="*/ 363133 h 1016771"/>
                    <a:gd name="connsiteX59" fmla="*/ 581012 w 761692"/>
                    <a:gd name="connsiteY59" fmla="*/ 379075 h 1016771"/>
                    <a:gd name="connsiteX60" fmla="*/ 589868 w 761692"/>
                    <a:gd name="connsiteY60" fmla="*/ 393246 h 1016771"/>
                    <a:gd name="connsiteX61" fmla="*/ 586326 w 761692"/>
                    <a:gd name="connsiteY61" fmla="*/ 409189 h 1016771"/>
                    <a:gd name="connsiteX62" fmla="*/ 570383 w 761692"/>
                    <a:gd name="connsiteY62" fmla="*/ 398560 h 1016771"/>
                    <a:gd name="connsiteX63" fmla="*/ 550898 w 761692"/>
                    <a:gd name="connsiteY63" fmla="*/ 405646 h 1016771"/>
                    <a:gd name="connsiteX64" fmla="*/ 531413 w 761692"/>
                    <a:gd name="connsiteY64" fmla="*/ 425131 h 1016771"/>
                    <a:gd name="connsiteX65" fmla="*/ 543813 w 761692"/>
                    <a:gd name="connsiteY65" fmla="*/ 444616 h 1016771"/>
                    <a:gd name="connsiteX66" fmla="*/ 557984 w 761692"/>
                    <a:gd name="connsiteY66" fmla="*/ 462330 h 1016771"/>
                    <a:gd name="connsiteX67" fmla="*/ 570383 w 761692"/>
                    <a:gd name="connsiteY67" fmla="*/ 478272 h 1016771"/>
                    <a:gd name="connsiteX68" fmla="*/ 579240 w 761692"/>
                    <a:gd name="connsiteY68" fmla="*/ 485358 h 1016771"/>
                    <a:gd name="connsiteX69" fmla="*/ 602268 w 761692"/>
                    <a:gd name="connsiteY69" fmla="*/ 483586 h 1016771"/>
                    <a:gd name="connsiteX70" fmla="*/ 623525 w 761692"/>
                    <a:gd name="connsiteY70" fmla="*/ 474730 h 1016771"/>
                    <a:gd name="connsiteX71" fmla="*/ 639467 w 761692"/>
                    <a:gd name="connsiteY71" fmla="*/ 464101 h 1016771"/>
                    <a:gd name="connsiteX72" fmla="*/ 662495 w 761692"/>
                    <a:gd name="connsiteY72" fmla="*/ 464101 h 1016771"/>
                    <a:gd name="connsiteX73" fmla="*/ 673123 w 761692"/>
                    <a:gd name="connsiteY73" fmla="*/ 464101 h 1016771"/>
                    <a:gd name="connsiteX74" fmla="*/ 681980 w 761692"/>
                    <a:gd name="connsiteY74" fmla="*/ 467644 h 1016771"/>
                    <a:gd name="connsiteX75" fmla="*/ 703237 w 761692"/>
                    <a:gd name="connsiteY75" fmla="*/ 471187 h 1016771"/>
                    <a:gd name="connsiteX76" fmla="*/ 708551 w 761692"/>
                    <a:gd name="connsiteY76" fmla="*/ 474730 h 1016771"/>
                    <a:gd name="connsiteX77" fmla="*/ 722722 w 761692"/>
                    <a:gd name="connsiteY77" fmla="*/ 501300 h 1016771"/>
                    <a:gd name="connsiteX78" fmla="*/ 724493 w 761692"/>
                    <a:gd name="connsiteY78" fmla="*/ 522557 h 1016771"/>
                    <a:gd name="connsiteX79" fmla="*/ 722722 w 761692"/>
                    <a:gd name="connsiteY79" fmla="*/ 540271 h 1016771"/>
                    <a:gd name="connsiteX80" fmla="*/ 735121 w 761692"/>
                    <a:gd name="connsiteY80" fmla="*/ 552670 h 1016771"/>
                    <a:gd name="connsiteX81" fmla="*/ 735121 w 761692"/>
                    <a:gd name="connsiteY81" fmla="*/ 570384 h 1016771"/>
                    <a:gd name="connsiteX82" fmla="*/ 751064 w 761692"/>
                    <a:gd name="connsiteY82" fmla="*/ 581012 h 1016771"/>
                    <a:gd name="connsiteX83" fmla="*/ 761692 w 761692"/>
                    <a:gd name="connsiteY83" fmla="*/ 604040 h 1016771"/>
                    <a:gd name="connsiteX84" fmla="*/ 747521 w 761692"/>
                    <a:gd name="connsiteY84" fmla="*/ 616440 h 1016771"/>
                    <a:gd name="connsiteX85" fmla="*/ 728036 w 761692"/>
                    <a:gd name="connsiteY85" fmla="*/ 627068 h 1016771"/>
                    <a:gd name="connsiteX86" fmla="*/ 726264 w 761692"/>
                    <a:gd name="connsiteY86" fmla="*/ 650096 h 1016771"/>
                    <a:gd name="connsiteX87" fmla="*/ 728036 w 761692"/>
                    <a:gd name="connsiteY87" fmla="*/ 673124 h 1016771"/>
                    <a:gd name="connsiteX88" fmla="*/ 742207 w 761692"/>
                    <a:gd name="connsiteY88" fmla="*/ 689066 h 1016771"/>
                    <a:gd name="connsiteX89" fmla="*/ 742207 w 761692"/>
                    <a:gd name="connsiteY89" fmla="*/ 712094 h 1016771"/>
                    <a:gd name="connsiteX90" fmla="*/ 740435 w 761692"/>
                    <a:gd name="connsiteY90" fmla="*/ 735122 h 1016771"/>
                    <a:gd name="connsiteX91" fmla="*/ 742207 w 761692"/>
                    <a:gd name="connsiteY91" fmla="*/ 751065 h 1016771"/>
                    <a:gd name="connsiteX92" fmla="*/ 747521 w 761692"/>
                    <a:gd name="connsiteY92" fmla="*/ 768778 h 1016771"/>
                    <a:gd name="connsiteX93" fmla="*/ 759921 w 761692"/>
                    <a:gd name="connsiteY93" fmla="*/ 777635 h 1016771"/>
                    <a:gd name="connsiteX94" fmla="*/ 758149 w 761692"/>
                    <a:gd name="connsiteY94" fmla="*/ 802434 h 1016771"/>
                    <a:gd name="connsiteX95" fmla="*/ 752835 w 761692"/>
                    <a:gd name="connsiteY95" fmla="*/ 814834 h 1016771"/>
                    <a:gd name="connsiteX96" fmla="*/ 743978 w 761692"/>
                    <a:gd name="connsiteY96" fmla="*/ 827234 h 1016771"/>
                    <a:gd name="connsiteX97" fmla="*/ 743978 w 761692"/>
                    <a:gd name="connsiteY97" fmla="*/ 837862 h 1016771"/>
                    <a:gd name="connsiteX98" fmla="*/ 747521 w 761692"/>
                    <a:gd name="connsiteY98" fmla="*/ 853804 h 1016771"/>
                    <a:gd name="connsiteX99" fmla="*/ 733350 w 761692"/>
                    <a:gd name="connsiteY99" fmla="*/ 867975 h 1016771"/>
                    <a:gd name="connsiteX100" fmla="*/ 724493 w 761692"/>
                    <a:gd name="connsiteY100" fmla="*/ 880375 h 1016771"/>
                    <a:gd name="connsiteX101" fmla="*/ 722722 w 761692"/>
                    <a:gd name="connsiteY101" fmla="*/ 899860 h 1016771"/>
                    <a:gd name="connsiteX102" fmla="*/ 722722 w 761692"/>
                    <a:gd name="connsiteY102" fmla="*/ 919345 h 1016771"/>
                    <a:gd name="connsiteX103" fmla="*/ 715636 w 761692"/>
                    <a:gd name="connsiteY103" fmla="*/ 940602 h 1016771"/>
                    <a:gd name="connsiteX104" fmla="*/ 708551 w 761692"/>
                    <a:gd name="connsiteY104" fmla="*/ 954773 h 1016771"/>
                    <a:gd name="connsiteX105" fmla="*/ 699694 w 761692"/>
                    <a:gd name="connsiteY105" fmla="*/ 965401 h 1016771"/>
                    <a:gd name="connsiteX106" fmla="*/ 692608 w 761692"/>
                    <a:gd name="connsiteY106" fmla="*/ 984886 h 1016771"/>
                    <a:gd name="connsiteX107" fmla="*/ 683751 w 761692"/>
                    <a:gd name="connsiteY107" fmla="*/ 997286 h 1016771"/>
                    <a:gd name="connsiteX108" fmla="*/ 673123 w 761692"/>
                    <a:gd name="connsiteY108" fmla="*/ 1002600 h 1016771"/>
                    <a:gd name="connsiteX109" fmla="*/ 662495 w 761692"/>
                    <a:gd name="connsiteY109" fmla="*/ 1013228 h 1016771"/>
                    <a:gd name="connsiteX110" fmla="*/ 644781 w 761692"/>
                    <a:gd name="connsiteY110" fmla="*/ 1016771 h 1016771"/>
                    <a:gd name="connsiteX111" fmla="*/ 635924 w 761692"/>
                    <a:gd name="connsiteY111" fmla="*/ 1004372 h 1016771"/>
                    <a:gd name="connsiteX112" fmla="*/ 623525 w 761692"/>
                    <a:gd name="connsiteY112" fmla="*/ 997286 h 1016771"/>
                    <a:gd name="connsiteX113" fmla="*/ 614668 w 761692"/>
                    <a:gd name="connsiteY113" fmla="*/ 986658 h 1016771"/>
                    <a:gd name="connsiteX114" fmla="*/ 593411 w 761692"/>
                    <a:gd name="connsiteY114" fmla="*/ 970715 h 1016771"/>
                    <a:gd name="connsiteX115" fmla="*/ 582783 w 761692"/>
                    <a:gd name="connsiteY115" fmla="*/ 965401 h 1016771"/>
                    <a:gd name="connsiteX116" fmla="*/ 531413 w 761692"/>
                    <a:gd name="connsiteY116" fmla="*/ 965401 h 1016771"/>
                    <a:gd name="connsiteX117" fmla="*/ 511928 w 761692"/>
                    <a:gd name="connsiteY117" fmla="*/ 965401 h 1016771"/>
                    <a:gd name="connsiteX118" fmla="*/ 492443 w 761692"/>
                    <a:gd name="connsiteY118" fmla="*/ 963630 h 1016771"/>
                    <a:gd name="connsiteX119" fmla="*/ 483586 w 761692"/>
                    <a:gd name="connsiteY119" fmla="*/ 958316 h 1016771"/>
                    <a:gd name="connsiteX120" fmla="*/ 469415 w 761692"/>
                    <a:gd name="connsiteY120" fmla="*/ 954773 h 1016771"/>
                    <a:gd name="connsiteX121" fmla="*/ 460558 w 761692"/>
                    <a:gd name="connsiteY121" fmla="*/ 942373 h 1016771"/>
                    <a:gd name="connsiteX122" fmla="*/ 446387 w 761692"/>
                    <a:gd name="connsiteY122" fmla="*/ 935288 h 1016771"/>
                    <a:gd name="connsiteX123" fmla="*/ 428673 w 761692"/>
                    <a:gd name="connsiteY123" fmla="*/ 928202 h 1016771"/>
                    <a:gd name="connsiteX124" fmla="*/ 418045 w 761692"/>
                    <a:gd name="connsiteY124" fmla="*/ 917574 h 1016771"/>
                    <a:gd name="connsiteX125" fmla="*/ 421588 w 761692"/>
                    <a:gd name="connsiteY125" fmla="*/ 903403 h 1016771"/>
                    <a:gd name="connsiteX126" fmla="*/ 418045 w 761692"/>
                    <a:gd name="connsiteY126" fmla="*/ 898089 h 1016771"/>
                    <a:gd name="connsiteX127" fmla="*/ 396788 w 761692"/>
                    <a:gd name="connsiteY127" fmla="*/ 898089 h 1016771"/>
                    <a:gd name="connsiteX128" fmla="*/ 382617 w 761692"/>
                    <a:gd name="connsiteY128" fmla="*/ 896318 h 1016771"/>
                    <a:gd name="connsiteX129" fmla="*/ 380846 w 761692"/>
                    <a:gd name="connsiteY129" fmla="*/ 906946 h 1016771"/>
                    <a:gd name="connsiteX130" fmla="*/ 373601 w 761692"/>
                    <a:gd name="connsiteY130" fmla="*/ 894832 h 1016771"/>
                    <a:gd name="connsiteX131" fmla="*/ 387164 w 761692"/>
                    <a:gd name="connsiteY131" fmla="*/ 896527 h 1016771"/>
                    <a:gd name="connsiteX132" fmla="*/ 383773 w 761692"/>
                    <a:gd name="connsiteY132" fmla="*/ 886355 h 1016771"/>
                    <a:gd name="connsiteX133" fmla="*/ 387164 w 761692"/>
                    <a:gd name="connsiteY133" fmla="*/ 876183 h 1016771"/>
                    <a:gd name="connsiteX134" fmla="*/ 388859 w 761692"/>
                    <a:gd name="connsiteY134" fmla="*/ 867707 h 1016771"/>
                    <a:gd name="connsiteX135" fmla="*/ 380382 w 761692"/>
                    <a:gd name="connsiteY135" fmla="*/ 859230 h 1016771"/>
                    <a:gd name="connsiteX136" fmla="*/ 373601 w 761692"/>
                    <a:gd name="connsiteY136" fmla="*/ 849058 h 1016771"/>
                    <a:gd name="connsiteX137" fmla="*/ 380382 w 761692"/>
                    <a:gd name="connsiteY137" fmla="*/ 838886 h 1016771"/>
                    <a:gd name="connsiteX138" fmla="*/ 383773 w 761692"/>
                    <a:gd name="connsiteY138" fmla="*/ 833800 h 1016771"/>
                    <a:gd name="connsiteX139" fmla="*/ 388859 w 761692"/>
                    <a:gd name="connsiteY139" fmla="*/ 825324 h 1016771"/>
                    <a:gd name="connsiteX140" fmla="*/ 387164 w 761692"/>
                    <a:gd name="connsiteY140" fmla="*/ 810066 h 1016771"/>
                    <a:gd name="connsiteX141" fmla="*/ 387164 w 761692"/>
                    <a:gd name="connsiteY141" fmla="*/ 796503 h 1016771"/>
                    <a:gd name="connsiteX142" fmla="*/ 378687 w 761692"/>
                    <a:gd name="connsiteY142" fmla="*/ 789722 h 1016771"/>
                    <a:gd name="connsiteX143" fmla="*/ 366820 w 761692"/>
                    <a:gd name="connsiteY143" fmla="*/ 782940 h 1016771"/>
                    <a:gd name="connsiteX144" fmla="*/ 356648 w 761692"/>
                    <a:gd name="connsiteY144" fmla="*/ 781245 h 1016771"/>
                    <a:gd name="connsiteX145" fmla="*/ 349866 w 761692"/>
                    <a:gd name="connsiteY145" fmla="*/ 771073 h 1016771"/>
                    <a:gd name="connsiteX146" fmla="*/ 349866 w 761692"/>
                    <a:gd name="connsiteY146" fmla="*/ 752425 h 1016771"/>
                    <a:gd name="connsiteX147" fmla="*/ 353257 w 761692"/>
                    <a:gd name="connsiteY147" fmla="*/ 743948 h 1016771"/>
                    <a:gd name="connsiteX148" fmla="*/ 354952 w 761692"/>
                    <a:gd name="connsiteY148" fmla="*/ 730385 h 1016771"/>
                    <a:gd name="connsiteX149" fmla="*/ 353257 w 761692"/>
                    <a:gd name="connsiteY149" fmla="*/ 713432 h 1016771"/>
                    <a:gd name="connsiteX150" fmla="*/ 346476 w 761692"/>
                    <a:gd name="connsiteY150" fmla="*/ 701565 h 1016771"/>
                    <a:gd name="connsiteX151" fmla="*/ 332913 w 761692"/>
                    <a:gd name="connsiteY151" fmla="*/ 689697 h 1016771"/>
                    <a:gd name="connsiteX152" fmla="*/ 324436 w 761692"/>
                    <a:gd name="connsiteY152" fmla="*/ 681221 h 1016771"/>
                    <a:gd name="connsiteX153" fmla="*/ 314264 w 761692"/>
                    <a:gd name="connsiteY153" fmla="*/ 676135 h 1016771"/>
                    <a:gd name="connsiteX154" fmla="*/ 293920 w 761692"/>
                    <a:gd name="connsiteY154" fmla="*/ 669354 h 1016771"/>
                    <a:gd name="connsiteX155" fmla="*/ 282053 w 761692"/>
                    <a:gd name="connsiteY155" fmla="*/ 667658 h 1016771"/>
                    <a:gd name="connsiteX156" fmla="*/ 266795 w 761692"/>
                    <a:gd name="connsiteY156" fmla="*/ 672744 h 1016771"/>
                    <a:gd name="connsiteX157" fmla="*/ 265100 w 761692"/>
                    <a:gd name="connsiteY157" fmla="*/ 672744 h 1016771"/>
                    <a:gd name="connsiteX158" fmla="*/ 263404 w 761692"/>
                    <a:gd name="connsiteY158" fmla="*/ 671049 h 1016771"/>
                    <a:gd name="connsiteX159" fmla="*/ 260014 w 761692"/>
                    <a:gd name="connsiteY159" fmla="*/ 671049 h 1016771"/>
                    <a:gd name="connsiteX160" fmla="*/ 258318 w 761692"/>
                    <a:gd name="connsiteY160" fmla="*/ 671049 h 1016771"/>
                    <a:gd name="connsiteX161" fmla="*/ 253232 w 761692"/>
                    <a:gd name="connsiteY161" fmla="*/ 671049 h 1016771"/>
                    <a:gd name="connsiteX162" fmla="*/ 248146 w 761692"/>
                    <a:gd name="connsiteY162" fmla="*/ 672744 h 1016771"/>
                    <a:gd name="connsiteX163" fmla="*/ 248146 w 761692"/>
                    <a:gd name="connsiteY163" fmla="*/ 674440 h 1016771"/>
                    <a:gd name="connsiteX164" fmla="*/ 246451 w 761692"/>
                    <a:gd name="connsiteY164" fmla="*/ 674440 h 1016771"/>
                    <a:gd name="connsiteX165" fmla="*/ 236279 w 761692"/>
                    <a:gd name="connsiteY165" fmla="*/ 679526 h 1016771"/>
                    <a:gd name="connsiteX166" fmla="*/ 226107 w 761692"/>
                    <a:gd name="connsiteY166" fmla="*/ 684612 h 1016771"/>
                    <a:gd name="connsiteX167" fmla="*/ 217630 w 761692"/>
                    <a:gd name="connsiteY167" fmla="*/ 684612 h 1016771"/>
                    <a:gd name="connsiteX168" fmla="*/ 207458 w 761692"/>
                    <a:gd name="connsiteY168" fmla="*/ 693088 h 1016771"/>
                    <a:gd name="connsiteX169" fmla="*/ 198982 w 761692"/>
                    <a:gd name="connsiteY169" fmla="*/ 694783 h 1016771"/>
                    <a:gd name="connsiteX170" fmla="*/ 192200 w 761692"/>
                    <a:gd name="connsiteY170" fmla="*/ 699869 h 1016771"/>
                    <a:gd name="connsiteX171" fmla="*/ 178638 w 761692"/>
                    <a:gd name="connsiteY171" fmla="*/ 706651 h 1016771"/>
                    <a:gd name="connsiteX172" fmla="*/ 163380 w 761692"/>
                    <a:gd name="connsiteY172" fmla="*/ 710041 h 1016771"/>
                    <a:gd name="connsiteX173" fmla="*/ 141340 w 761692"/>
                    <a:gd name="connsiteY173" fmla="*/ 710041 h 1016771"/>
                    <a:gd name="connsiteX174" fmla="*/ 134559 w 761692"/>
                    <a:gd name="connsiteY174" fmla="*/ 716823 h 1016771"/>
                    <a:gd name="connsiteX175" fmla="*/ 127778 w 761692"/>
                    <a:gd name="connsiteY175" fmla="*/ 718518 h 1016771"/>
                    <a:gd name="connsiteX176" fmla="*/ 120996 w 761692"/>
                    <a:gd name="connsiteY176" fmla="*/ 725299 h 1016771"/>
                    <a:gd name="connsiteX177" fmla="*/ 111172 w 761692"/>
                    <a:gd name="connsiteY177" fmla="*/ 733720 h 1016771"/>
                    <a:gd name="connsiteX178" fmla="*/ 106283 w 761692"/>
                    <a:gd name="connsiteY178" fmla="*/ 729808 h 1016771"/>
                    <a:gd name="connsiteX179" fmla="*/ 92112 w 761692"/>
                    <a:gd name="connsiteY179" fmla="*/ 724494 h 1016771"/>
                    <a:gd name="connsiteX180" fmla="*/ 77941 w 761692"/>
                    <a:gd name="connsiteY180" fmla="*/ 726265 h 1016771"/>
                    <a:gd name="connsiteX181" fmla="*/ 70855 w 761692"/>
                    <a:gd name="connsiteY181" fmla="*/ 719180 h 1016771"/>
                    <a:gd name="connsiteX182" fmla="*/ 70855 w 761692"/>
                    <a:gd name="connsiteY182" fmla="*/ 699695 h 1016771"/>
                    <a:gd name="connsiteX183" fmla="*/ 81483 w 761692"/>
                    <a:gd name="connsiteY183" fmla="*/ 685524 h 1016771"/>
                    <a:gd name="connsiteX184" fmla="*/ 85026 w 761692"/>
                    <a:gd name="connsiteY184" fmla="*/ 673124 h 1016771"/>
                    <a:gd name="connsiteX185" fmla="*/ 86797 w 761692"/>
                    <a:gd name="connsiteY185" fmla="*/ 660724 h 1016771"/>
                    <a:gd name="connsiteX186" fmla="*/ 97426 w 761692"/>
                    <a:gd name="connsiteY186" fmla="*/ 650096 h 1016771"/>
                    <a:gd name="connsiteX187" fmla="*/ 102740 w 761692"/>
                    <a:gd name="connsiteY187" fmla="*/ 635925 h 1016771"/>
                    <a:gd name="connsiteX188" fmla="*/ 113368 w 761692"/>
                    <a:gd name="connsiteY188" fmla="*/ 625297 h 1016771"/>
                    <a:gd name="connsiteX189" fmla="*/ 115139 w 761692"/>
                    <a:gd name="connsiteY189" fmla="*/ 612897 h 1016771"/>
                    <a:gd name="connsiteX190" fmla="*/ 127539 w 761692"/>
                    <a:gd name="connsiteY190" fmla="*/ 609354 h 1016771"/>
                    <a:gd name="connsiteX191" fmla="*/ 136396 w 761692"/>
                    <a:gd name="connsiteY191" fmla="*/ 604040 h 1016771"/>
                    <a:gd name="connsiteX192" fmla="*/ 132853 w 761692"/>
                    <a:gd name="connsiteY192" fmla="*/ 593412 h 1016771"/>
                    <a:gd name="connsiteX193" fmla="*/ 134625 w 761692"/>
                    <a:gd name="connsiteY193" fmla="*/ 584555 h 1016771"/>
                    <a:gd name="connsiteX194" fmla="*/ 131082 w 761692"/>
                    <a:gd name="connsiteY194" fmla="*/ 575698 h 1016771"/>
                    <a:gd name="connsiteX195" fmla="*/ 120454 w 761692"/>
                    <a:gd name="connsiteY195" fmla="*/ 568613 h 1016771"/>
                    <a:gd name="connsiteX196" fmla="*/ 125768 w 761692"/>
                    <a:gd name="connsiteY196" fmla="*/ 552670 h 1016771"/>
                    <a:gd name="connsiteX197" fmla="*/ 118682 w 761692"/>
                    <a:gd name="connsiteY197" fmla="*/ 543813 h 1016771"/>
                    <a:gd name="connsiteX198" fmla="*/ 90340 w 761692"/>
                    <a:gd name="connsiteY198" fmla="*/ 543813 h 1016771"/>
                    <a:gd name="connsiteX199" fmla="*/ 86797 w 761692"/>
                    <a:gd name="connsiteY199" fmla="*/ 542042 h 1016771"/>
                    <a:gd name="connsiteX200" fmla="*/ 83255 w 761692"/>
                    <a:gd name="connsiteY200" fmla="*/ 542042 h 1016771"/>
                    <a:gd name="connsiteX201" fmla="*/ 81483 w 761692"/>
                    <a:gd name="connsiteY201" fmla="*/ 540271 h 1016771"/>
                    <a:gd name="connsiteX202" fmla="*/ 81483 w 761692"/>
                    <a:gd name="connsiteY202" fmla="*/ 536728 h 1016771"/>
                    <a:gd name="connsiteX203" fmla="*/ 79712 w 761692"/>
                    <a:gd name="connsiteY203" fmla="*/ 531414 h 1016771"/>
                    <a:gd name="connsiteX204" fmla="*/ 77941 w 761692"/>
                    <a:gd name="connsiteY204" fmla="*/ 529642 h 1016771"/>
                    <a:gd name="connsiteX205" fmla="*/ 70855 w 761692"/>
                    <a:gd name="connsiteY205" fmla="*/ 527871 h 1016771"/>
                    <a:gd name="connsiteX206" fmla="*/ 60227 w 761692"/>
                    <a:gd name="connsiteY206" fmla="*/ 536728 h 1016771"/>
                    <a:gd name="connsiteX207" fmla="*/ 47827 w 761692"/>
                    <a:gd name="connsiteY207" fmla="*/ 526100 h 1016771"/>
                    <a:gd name="connsiteX208" fmla="*/ 42513 w 761692"/>
                    <a:gd name="connsiteY208" fmla="*/ 515471 h 1016771"/>
                    <a:gd name="connsiteX209" fmla="*/ 33656 w 761692"/>
                    <a:gd name="connsiteY209" fmla="*/ 506614 h 1016771"/>
                    <a:gd name="connsiteX210" fmla="*/ 31885 w 761692"/>
                    <a:gd name="connsiteY210" fmla="*/ 490672 h 1016771"/>
                    <a:gd name="connsiteX211" fmla="*/ 26571 w 761692"/>
                    <a:gd name="connsiteY211" fmla="*/ 476501 h 1016771"/>
                    <a:gd name="connsiteX212" fmla="*/ 24799 w 761692"/>
                    <a:gd name="connsiteY212" fmla="*/ 471187 h 1016771"/>
                    <a:gd name="connsiteX213" fmla="*/ 12400 w 761692"/>
                    <a:gd name="connsiteY213" fmla="*/ 472958 h 1016771"/>
                    <a:gd name="connsiteX214" fmla="*/ 7086 w 761692"/>
                    <a:gd name="connsiteY214" fmla="*/ 464101 h 1016771"/>
                    <a:gd name="connsiteX215" fmla="*/ 8857 w 761692"/>
                    <a:gd name="connsiteY215" fmla="*/ 446388 h 1016771"/>
                    <a:gd name="connsiteX216" fmla="*/ 3543 w 761692"/>
                    <a:gd name="connsiteY216" fmla="*/ 435759 h 1016771"/>
                    <a:gd name="connsiteX217" fmla="*/ 5314 w 761692"/>
                    <a:gd name="connsiteY217" fmla="*/ 412731 h 1016771"/>
                    <a:gd name="connsiteX218" fmla="*/ 0 w 761692"/>
                    <a:gd name="connsiteY218" fmla="*/ 396789 h 1016771"/>
                    <a:gd name="connsiteX219" fmla="*/ 3543 w 761692"/>
                    <a:gd name="connsiteY219" fmla="*/ 384389 h 1016771"/>
                    <a:gd name="connsiteX220" fmla="*/ 14171 w 761692"/>
                    <a:gd name="connsiteY220" fmla="*/ 380846 h 1016771"/>
                    <a:gd name="connsiteX221" fmla="*/ 24799 w 761692"/>
                    <a:gd name="connsiteY221" fmla="*/ 364904 h 1016771"/>
                    <a:gd name="connsiteX222" fmla="*/ 30113 w 761692"/>
                    <a:gd name="connsiteY222" fmla="*/ 350733 h 1016771"/>
                    <a:gd name="connsiteX223" fmla="*/ 35428 w 761692"/>
                    <a:gd name="connsiteY223" fmla="*/ 341876 h 1016771"/>
                    <a:gd name="connsiteX224" fmla="*/ 42513 w 761692"/>
                    <a:gd name="connsiteY224" fmla="*/ 327705 h 1016771"/>
                    <a:gd name="connsiteX225" fmla="*/ 42513 w 761692"/>
                    <a:gd name="connsiteY225" fmla="*/ 315305 h 1016771"/>
                    <a:gd name="connsiteX226" fmla="*/ 56684 w 761692"/>
                    <a:gd name="connsiteY226" fmla="*/ 309991 h 1016771"/>
                    <a:gd name="connsiteX227" fmla="*/ 60227 w 761692"/>
                    <a:gd name="connsiteY227" fmla="*/ 309991 h 1016771"/>
                    <a:gd name="connsiteX228" fmla="*/ 61998 w 761692"/>
                    <a:gd name="connsiteY228" fmla="*/ 311763 h 1016771"/>
                    <a:gd name="connsiteX229" fmla="*/ 67312 w 761692"/>
                    <a:gd name="connsiteY229" fmla="*/ 311763 h 1016771"/>
                    <a:gd name="connsiteX230" fmla="*/ 67312 w 761692"/>
                    <a:gd name="connsiteY230" fmla="*/ 309991 h 1016771"/>
                    <a:gd name="connsiteX231" fmla="*/ 67312 w 761692"/>
                    <a:gd name="connsiteY231" fmla="*/ 308220 h 1016771"/>
                    <a:gd name="connsiteX232" fmla="*/ 69084 w 761692"/>
                    <a:gd name="connsiteY232" fmla="*/ 302906 h 1016771"/>
                    <a:gd name="connsiteX233" fmla="*/ 70855 w 761692"/>
                    <a:gd name="connsiteY233" fmla="*/ 301134 h 1016771"/>
                    <a:gd name="connsiteX234" fmla="*/ 70855 w 761692"/>
                    <a:gd name="connsiteY234" fmla="*/ 299363 h 1016771"/>
                    <a:gd name="connsiteX235" fmla="*/ 77941 w 761692"/>
                    <a:gd name="connsiteY235" fmla="*/ 295820 h 1016771"/>
                    <a:gd name="connsiteX236" fmla="*/ 85026 w 761692"/>
                    <a:gd name="connsiteY236" fmla="*/ 295820 h 1016771"/>
                    <a:gd name="connsiteX237" fmla="*/ 93883 w 761692"/>
                    <a:gd name="connsiteY237" fmla="*/ 297592 h 1016771"/>
                    <a:gd name="connsiteX238" fmla="*/ 100968 w 761692"/>
                    <a:gd name="connsiteY238" fmla="*/ 288735 h 1016771"/>
                    <a:gd name="connsiteX239" fmla="*/ 97426 w 761692"/>
                    <a:gd name="connsiteY239" fmla="*/ 279878 h 1016771"/>
                    <a:gd name="connsiteX240" fmla="*/ 85026 w 761692"/>
                    <a:gd name="connsiteY240" fmla="*/ 276335 h 1016771"/>
                    <a:gd name="connsiteX241" fmla="*/ 76169 w 761692"/>
                    <a:gd name="connsiteY241" fmla="*/ 271021 h 1016771"/>
                    <a:gd name="connsiteX242" fmla="*/ 76169 w 761692"/>
                    <a:gd name="connsiteY242" fmla="*/ 262164 h 1016771"/>
                    <a:gd name="connsiteX243" fmla="*/ 81483 w 761692"/>
                    <a:gd name="connsiteY243" fmla="*/ 251536 h 1016771"/>
                    <a:gd name="connsiteX244" fmla="*/ 86797 w 761692"/>
                    <a:gd name="connsiteY244" fmla="*/ 255079 h 1016771"/>
                    <a:gd name="connsiteX245" fmla="*/ 104511 w 761692"/>
                    <a:gd name="connsiteY245" fmla="*/ 262164 h 1016771"/>
                    <a:gd name="connsiteX246" fmla="*/ 116911 w 761692"/>
                    <a:gd name="connsiteY246" fmla="*/ 265707 h 1016771"/>
                    <a:gd name="connsiteX247" fmla="*/ 132853 w 761692"/>
                    <a:gd name="connsiteY247" fmla="*/ 269250 h 1016771"/>
                    <a:gd name="connsiteX248" fmla="*/ 138167 w 761692"/>
                    <a:gd name="connsiteY248" fmla="*/ 265707 h 1016771"/>
                    <a:gd name="connsiteX249" fmla="*/ 150567 w 761692"/>
                    <a:gd name="connsiteY249" fmla="*/ 255079 h 1016771"/>
                    <a:gd name="connsiteX250" fmla="*/ 166509 w 761692"/>
                    <a:gd name="connsiteY250" fmla="*/ 255079 h 1016771"/>
                    <a:gd name="connsiteX251" fmla="*/ 166509 w 761692"/>
                    <a:gd name="connsiteY251" fmla="*/ 265707 h 1016771"/>
                    <a:gd name="connsiteX252" fmla="*/ 177138 w 761692"/>
                    <a:gd name="connsiteY252" fmla="*/ 272792 h 1016771"/>
                    <a:gd name="connsiteX253" fmla="*/ 194851 w 761692"/>
                    <a:gd name="connsiteY253" fmla="*/ 276335 h 1016771"/>
                    <a:gd name="connsiteX254" fmla="*/ 209022 w 761692"/>
                    <a:gd name="connsiteY254" fmla="*/ 279878 h 1016771"/>
                    <a:gd name="connsiteX255" fmla="*/ 221422 w 761692"/>
                    <a:gd name="connsiteY255" fmla="*/ 276335 h 1016771"/>
                    <a:gd name="connsiteX256" fmla="*/ 226736 w 761692"/>
                    <a:gd name="connsiteY256" fmla="*/ 269250 h 1016771"/>
                    <a:gd name="connsiteX257" fmla="*/ 226736 w 761692"/>
                    <a:gd name="connsiteY257" fmla="*/ 251536 h 1016771"/>
                    <a:gd name="connsiteX258" fmla="*/ 224965 w 761692"/>
                    <a:gd name="connsiteY258" fmla="*/ 239136 h 1016771"/>
                    <a:gd name="connsiteX259" fmla="*/ 214337 w 761692"/>
                    <a:gd name="connsiteY259" fmla="*/ 230279 h 1016771"/>
                    <a:gd name="connsiteX260" fmla="*/ 210794 w 761692"/>
                    <a:gd name="connsiteY260" fmla="*/ 217880 h 1016771"/>
                    <a:gd name="connsiteX261" fmla="*/ 221422 w 761692"/>
                    <a:gd name="connsiteY261" fmla="*/ 207251 h 1016771"/>
                    <a:gd name="connsiteX262" fmla="*/ 235593 w 761692"/>
                    <a:gd name="connsiteY262" fmla="*/ 214337 h 1016771"/>
                    <a:gd name="connsiteX263" fmla="*/ 246221 w 761692"/>
                    <a:gd name="connsiteY263" fmla="*/ 219651 h 1016771"/>
                    <a:gd name="connsiteX264" fmla="*/ 253307 w 761692"/>
                    <a:gd name="connsiteY264" fmla="*/ 221422 h 1016771"/>
                    <a:gd name="connsiteX265" fmla="*/ 262164 w 761692"/>
                    <a:gd name="connsiteY265" fmla="*/ 210794 h 1016771"/>
                    <a:gd name="connsiteX266" fmla="*/ 263935 w 761692"/>
                    <a:gd name="connsiteY266" fmla="*/ 201937 h 1016771"/>
                    <a:gd name="connsiteX267" fmla="*/ 274563 w 761692"/>
                    <a:gd name="connsiteY267" fmla="*/ 189538 h 1016771"/>
                    <a:gd name="connsiteX268" fmla="*/ 283420 w 761692"/>
                    <a:gd name="connsiteY268" fmla="*/ 178909 h 1016771"/>
                    <a:gd name="connsiteX269" fmla="*/ 286963 w 761692"/>
                    <a:gd name="connsiteY269" fmla="*/ 173595 h 1016771"/>
                    <a:gd name="connsiteX270" fmla="*/ 311762 w 761692"/>
                    <a:gd name="connsiteY270" fmla="*/ 168281 h 1016771"/>
                    <a:gd name="connsiteX271" fmla="*/ 325933 w 761692"/>
                    <a:gd name="connsiteY271" fmla="*/ 164738 h 1016771"/>
                    <a:gd name="connsiteX272" fmla="*/ 336562 w 761692"/>
                    <a:gd name="connsiteY272" fmla="*/ 159424 h 1016771"/>
                    <a:gd name="connsiteX273" fmla="*/ 348961 w 761692"/>
                    <a:gd name="connsiteY273" fmla="*/ 145253 h 1016771"/>
                    <a:gd name="connsiteX274" fmla="*/ 359589 w 761692"/>
                    <a:gd name="connsiteY274" fmla="*/ 143482 h 1016771"/>
                    <a:gd name="connsiteX275" fmla="*/ 371989 w 761692"/>
                    <a:gd name="connsiteY275" fmla="*/ 143482 h 1016771"/>
                    <a:gd name="connsiteX276" fmla="*/ 391474 w 761692"/>
                    <a:gd name="connsiteY276" fmla="*/ 143482 h 1016771"/>
                    <a:gd name="connsiteX277" fmla="*/ 396788 w 761692"/>
                    <a:gd name="connsiteY277" fmla="*/ 141710 h 1016771"/>
                    <a:gd name="connsiteX278" fmla="*/ 403874 w 761692"/>
                    <a:gd name="connsiteY278" fmla="*/ 134625 h 1016771"/>
                    <a:gd name="connsiteX279" fmla="*/ 409188 w 761692"/>
                    <a:gd name="connsiteY279" fmla="*/ 129311 h 1016771"/>
                    <a:gd name="connsiteX280" fmla="*/ 409188 w 761692"/>
                    <a:gd name="connsiteY280" fmla="*/ 123997 h 1016771"/>
                    <a:gd name="connsiteX281" fmla="*/ 414502 w 761692"/>
                    <a:gd name="connsiteY281" fmla="*/ 115140 h 1016771"/>
                    <a:gd name="connsiteX282" fmla="*/ 428673 w 761692"/>
                    <a:gd name="connsiteY282" fmla="*/ 115140 h 1016771"/>
                    <a:gd name="connsiteX283" fmla="*/ 432216 w 761692"/>
                    <a:gd name="connsiteY283" fmla="*/ 109826 h 1016771"/>
                    <a:gd name="connsiteX284" fmla="*/ 437530 w 761692"/>
                    <a:gd name="connsiteY284" fmla="*/ 100969 h 1016771"/>
                    <a:gd name="connsiteX285" fmla="*/ 448158 w 761692"/>
                    <a:gd name="connsiteY285" fmla="*/ 99197 h 1016771"/>
                    <a:gd name="connsiteX286" fmla="*/ 460558 w 761692"/>
                    <a:gd name="connsiteY286" fmla="*/ 97426 h 1016771"/>
                    <a:gd name="connsiteX287" fmla="*/ 472958 w 761692"/>
                    <a:gd name="connsiteY287" fmla="*/ 93883 h 1016771"/>
                    <a:gd name="connsiteX288" fmla="*/ 492443 w 761692"/>
                    <a:gd name="connsiteY288" fmla="*/ 93883 h 1016771"/>
                    <a:gd name="connsiteX289" fmla="*/ 501300 w 761692"/>
                    <a:gd name="connsiteY289" fmla="*/ 83255 h 1016771"/>
                    <a:gd name="connsiteX290" fmla="*/ 517242 w 761692"/>
                    <a:gd name="connsiteY290" fmla="*/ 81484 h 1016771"/>
                    <a:gd name="connsiteX291" fmla="*/ 522556 w 761692"/>
                    <a:gd name="connsiteY291" fmla="*/ 81484 h 1016771"/>
                    <a:gd name="connsiteX292" fmla="*/ 522556 w 761692"/>
                    <a:gd name="connsiteY292" fmla="*/ 60227 h 1016771"/>
                    <a:gd name="connsiteX293" fmla="*/ 526099 w 761692"/>
                    <a:gd name="connsiteY293" fmla="*/ 54913 h 1016771"/>
                    <a:gd name="connsiteX294" fmla="*/ 529642 w 761692"/>
                    <a:gd name="connsiteY294" fmla="*/ 46056 h 1016771"/>
                    <a:gd name="connsiteX295" fmla="*/ 538499 w 761692"/>
                    <a:gd name="connsiteY295" fmla="*/ 40742 h 1016771"/>
                    <a:gd name="connsiteX296" fmla="*/ 540270 w 761692"/>
                    <a:gd name="connsiteY296" fmla="*/ 30114 h 1016771"/>
                    <a:gd name="connsiteX297" fmla="*/ 536727 w 761692"/>
                    <a:gd name="connsiteY297" fmla="*/ 19485 h 1016771"/>
                    <a:gd name="connsiteX298" fmla="*/ 543813 w 761692"/>
                    <a:gd name="connsiteY298" fmla="*/ 5314 h 1016771"/>
                    <a:gd name="connsiteX299" fmla="*/ 554441 w 761692"/>
                    <a:gd name="connsiteY299" fmla="*/ 0 h 1016771"/>
                    <a:gd name="connsiteX0" fmla="*/ 139645 w 761692"/>
                    <a:gd name="connsiteY0" fmla="*/ 85244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41340 w 761692"/>
                    <a:gd name="connsiteY7" fmla="*/ 850754 h 1016771"/>
                    <a:gd name="connsiteX8" fmla="*/ 139645 w 761692"/>
                    <a:gd name="connsiteY8" fmla="*/ 852449 h 1016771"/>
                    <a:gd name="connsiteX9" fmla="*/ 116476 w 761692"/>
                    <a:gd name="connsiteY9" fmla="*/ 741349 h 1016771"/>
                    <a:gd name="connsiteX10" fmla="*/ 117606 w 761692"/>
                    <a:gd name="connsiteY10" fmla="*/ 742253 h 1016771"/>
                    <a:gd name="connsiteX11" fmla="*/ 122692 w 761692"/>
                    <a:gd name="connsiteY11" fmla="*/ 759206 h 1016771"/>
                    <a:gd name="connsiteX12" fmla="*/ 126082 w 761692"/>
                    <a:gd name="connsiteY12" fmla="*/ 771073 h 1016771"/>
                    <a:gd name="connsiteX13" fmla="*/ 129473 w 761692"/>
                    <a:gd name="connsiteY13" fmla="*/ 782940 h 1016771"/>
                    <a:gd name="connsiteX14" fmla="*/ 132864 w 761692"/>
                    <a:gd name="connsiteY14" fmla="*/ 793112 h 1016771"/>
                    <a:gd name="connsiteX15" fmla="*/ 136254 w 761692"/>
                    <a:gd name="connsiteY15" fmla="*/ 810066 h 1016771"/>
                    <a:gd name="connsiteX16" fmla="*/ 139058 w 761692"/>
                    <a:gd name="connsiteY16" fmla="*/ 818476 h 1016771"/>
                    <a:gd name="connsiteX17" fmla="*/ 138167 w 761692"/>
                    <a:gd name="connsiteY17" fmla="*/ 818377 h 1016771"/>
                    <a:gd name="connsiteX18" fmla="*/ 134625 w 761692"/>
                    <a:gd name="connsiteY18" fmla="*/ 807749 h 1016771"/>
                    <a:gd name="connsiteX19" fmla="*/ 131082 w 761692"/>
                    <a:gd name="connsiteY19" fmla="*/ 790035 h 1016771"/>
                    <a:gd name="connsiteX20" fmla="*/ 127539 w 761692"/>
                    <a:gd name="connsiteY20" fmla="*/ 779407 h 1016771"/>
                    <a:gd name="connsiteX21" fmla="*/ 123996 w 761692"/>
                    <a:gd name="connsiteY21" fmla="*/ 767007 h 1016771"/>
                    <a:gd name="connsiteX22" fmla="*/ 120454 w 761692"/>
                    <a:gd name="connsiteY22" fmla="*/ 754607 h 1016771"/>
                    <a:gd name="connsiteX23" fmla="*/ 116476 w 761692"/>
                    <a:gd name="connsiteY23" fmla="*/ 741349 h 1016771"/>
                    <a:gd name="connsiteX24" fmla="*/ 554441 w 761692"/>
                    <a:gd name="connsiteY24" fmla="*/ 0 h 1016771"/>
                    <a:gd name="connsiteX25" fmla="*/ 570383 w 761692"/>
                    <a:gd name="connsiteY25" fmla="*/ 3543 h 1016771"/>
                    <a:gd name="connsiteX26" fmla="*/ 577469 w 761692"/>
                    <a:gd name="connsiteY26" fmla="*/ 8857 h 1016771"/>
                    <a:gd name="connsiteX27" fmla="*/ 582783 w 761692"/>
                    <a:gd name="connsiteY27" fmla="*/ 17714 h 1016771"/>
                    <a:gd name="connsiteX28" fmla="*/ 582783 w 761692"/>
                    <a:gd name="connsiteY28" fmla="*/ 24799 h 1016771"/>
                    <a:gd name="connsiteX29" fmla="*/ 588097 w 761692"/>
                    <a:gd name="connsiteY29" fmla="*/ 33656 h 1016771"/>
                    <a:gd name="connsiteX30" fmla="*/ 598725 w 761692"/>
                    <a:gd name="connsiteY30" fmla="*/ 31885 h 1016771"/>
                    <a:gd name="connsiteX31" fmla="*/ 612896 w 761692"/>
                    <a:gd name="connsiteY31" fmla="*/ 37199 h 1016771"/>
                    <a:gd name="connsiteX32" fmla="*/ 618211 w 761692"/>
                    <a:gd name="connsiteY32" fmla="*/ 46056 h 1016771"/>
                    <a:gd name="connsiteX33" fmla="*/ 619982 w 761692"/>
                    <a:gd name="connsiteY33" fmla="*/ 54913 h 1016771"/>
                    <a:gd name="connsiteX34" fmla="*/ 618211 w 761692"/>
                    <a:gd name="connsiteY34" fmla="*/ 74398 h 1016771"/>
                    <a:gd name="connsiteX35" fmla="*/ 616439 w 761692"/>
                    <a:gd name="connsiteY35" fmla="*/ 85026 h 1016771"/>
                    <a:gd name="connsiteX36" fmla="*/ 621753 w 761692"/>
                    <a:gd name="connsiteY36" fmla="*/ 97426 h 1016771"/>
                    <a:gd name="connsiteX37" fmla="*/ 637696 w 761692"/>
                    <a:gd name="connsiteY37" fmla="*/ 113368 h 1016771"/>
                    <a:gd name="connsiteX38" fmla="*/ 644781 w 761692"/>
                    <a:gd name="connsiteY38" fmla="*/ 120454 h 1016771"/>
                    <a:gd name="connsiteX39" fmla="*/ 650095 w 761692"/>
                    <a:gd name="connsiteY39" fmla="*/ 136396 h 1016771"/>
                    <a:gd name="connsiteX40" fmla="*/ 655409 w 761692"/>
                    <a:gd name="connsiteY40" fmla="*/ 155881 h 1016771"/>
                    <a:gd name="connsiteX41" fmla="*/ 662495 w 761692"/>
                    <a:gd name="connsiteY41" fmla="*/ 171824 h 1016771"/>
                    <a:gd name="connsiteX42" fmla="*/ 660724 w 761692"/>
                    <a:gd name="connsiteY42" fmla="*/ 185995 h 1016771"/>
                    <a:gd name="connsiteX43" fmla="*/ 635924 w 761692"/>
                    <a:gd name="connsiteY43" fmla="*/ 194852 h 1016771"/>
                    <a:gd name="connsiteX44" fmla="*/ 619982 w 761692"/>
                    <a:gd name="connsiteY44" fmla="*/ 207251 h 1016771"/>
                    <a:gd name="connsiteX45" fmla="*/ 614668 w 761692"/>
                    <a:gd name="connsiteY45" fmla="*/ 223194 h 1016771"/>
                    <a:gd name="connsiteX46" fmla="*/ 618211 w 761692"/>
                    <a:gd name="connsiteY46" fmla="*/ 242679 h 1016771"/>
                    <a:gd name="connsiteX47" fmla="*/ 612896 w 761692"/>
                    <a:gd name="connsiteY47" fmla="*/ 256850 h 1016771"/>
                    <a:gd name="connsiteX48" fmla="*/ 625296 w 761692"/>
                    <a:gd name="connsiteY48" fmla="*/ 267478 h 1016771"/>
                    <a:gd name="connsiteX49" fmla="*/ 641238 w 761692"/>
                    <a:gd name="connsiteY49" fmla="*/ 269250 h 1016771"/>
                    <a:gd name="connsiteX50" fmla="*/ 658952 w 761692"/>
                    <a:gd name="connsiteY50" fmla="*/ 286963 h 1016771"/>
                    <a:gd name="connsiteX51" fmla="*/ 653638 w 761692"/>
                    <a:gd name="connsiteY51" fmla="*/ 309991 h 1016771"/>
                    <a:gd name="connsiteX52" fmla="*/ 653638 w 761692"/>
                    <a:gd name="connsiteY52" fmla="*/ 329476 h 1016771"/>
                    <a:gd name="connsiteX53" fmla="*/ 643010 w 761692"/>
                    <a:gd name="connsiteY53" fmla="*/ 338333 h 1016771"/>
                    <a:gd name="connsiteX54" fmla="*/ 632382 w 761692"/>
                    <a:gd name="connsiteY54" fmla="*/ 338333 h 1016771"/>
                    <a:gd name="connsiteX55" fmla="*/ 618211 w 761692"/>
                    <a:gd name="connsiteY55" fmla="*/ 357819 h 1016771"/>
                    <a:gd name="connsiteX56" fmla="*/ 609354 w 761692"/>
                    <a:gd name="connsiteY56" fmla="*/ 361361 h 1016771"/>
                    <a:gd name="connsiteX57" fmla="*/ 596954 w 761692"/>
                    <a:gd name="connsiteY57" fmla="*/ 363133 h 1016771"/>
                    <a:gd name="connsiteX58" fmla="*/ 581012 w 761692"/>
                    <a:gd name="connsiteY58" fmla="*/ 379075 h 1016771"/>
                    <a:gd name="connsiteX59" fmla="*/ 589868 w 761692"/>
                    <a:gd name="connsiteY59" fmla="*/ 393246 h 1016771"/>
                    <a:gd name="connsiteX60" fmla="*/ 586326 w 761692"/>
                    <a:gd name="connsiteY60" fmla="*/ 409189 h 1016771"/>
                    <a:gd name="connsiteX61" fmla="*/ 570383 w 761692"/>
                    <a:gd name="connsiteY61" fmla="*/ 398560 h 1016771"/>
                    <a:gd name="connsiteX62" fmla="*/ 550898 w 761692"/>
                    <a:gd name="connsiteY62" fmla="*/ 405646 h 1016771"/>
                    <a:gd name="connsiteX63" fmla="*/ 531413 w 761692"/>
                    <a:gd name="connsiteY63" fmla="*/ 425131 h 1016771"/>
                    <a:gd name="connsiteX64" fmla="*/ 543813 w 761692"/>
                    <a:gd name="connsiteY64" fmla="*/ 444616 h 1016771"/>
                    <a:gd name="connsiteX65" fmla="*/ 557984 w 761692"/>
                    <a:gd name="connsiteY65" fmla="*/ 462330 h 1016771"/>
                    <a:gd name="connsiteX66" fmla="*/ 570383 w 761692"/>
                    <a:gd name="connsiteY66" fmla="*/ 478272 h 1016771"/>
                    <a:gd name="connsiteX67" fmla="*/ 579240 w 761692"/>
                    <a:gd name="connsiteY67" fmla="*/ 485358 h 1016771"/>
                    <a:gd name="connsiteX68" fmla="*/ 602268 w 761692"/>
                    <a:gd name="connsiteY68" fmla="*/ 483586 h 1016771"/>
                    <a:gd name="connsiteX69" fmla="*/ 623525 w 761692"/>
                    <a:gd name="connsiteY69" fmla="*/ 474730 h 1016771"/>
                    <a:gd name="connsiteX70" fmla="*/ 639467 w 761692"/>
                    <a:gd name="connsiteY70" fmla="*/ 464101 h 1016771"/>
                    <a:gd name="connsiteX71" fmla="*/ 662495 w 761692"/>
                    <a:gd name="connsiteY71" fmla="*/ 464101 h 1016771"/>
                    <a:gd name="connsiteX72" fmla="*/ 673123 w 761692"/>
                    <a:gd name="connsiteY72" fmla="*/ 464101 h 1016771"/>
                    <a:gd name="connsiteX73" fmla="*/ 681980 w 761692"/>
                    <a:gd name="connsiteY73" fmla="*/ 467644 h 1016771"/>
                    <a:gd name="connsiteX74" fmla="*/ 703237 w 761692"/>
                    <a:gd name="connsiteY74" fmla="*/ 471187 h 1016771"/>
                    <a:gd name="connsiteX75" fmla="*/ 708551 w 761692"/>
                    <a:gd name="connsiteY75" fmla="*/ 474730 h 1016771"/>
                    <a:gd name="connsiteX76" fmla="*/ 722722 w 761692"/>
                    <a:gd name="connsiteY76" fmla="*/ 501300 h 1016771"/>
                    <a:gd name="connsiteX77" fmla="*/ 724493 w 761692"/>
                    <a:gd name="connsiteY77" fmla="*/ 522557 h 1016771"/>
                    <a:gd name="connsiteX78" fmla="*/ 722722 w 761692"/>
                    <a:gd name="connsiteY78" fmla="*/ 540271 h 1016771"/>
                    <a:gd name="connsiteX79" fmla="*/ 735121 w 761692"/>
                    <a:gd name="connsiteY79" fmla="*/ 552670 h 1016771"/>
                    <a:gd name="connsiteX80" fmla="*/ 735121 w 761692"/>
                    <a:gd name="connsiteY80" fmla="*/ 570384 h 1016771"/>
                    <a:gd name="connsiteX81" fmla="*/ 751064 w 761692"/>
                    <a:gd name="connsiteY81" fmla="*/ 581012 h 1016771"/>
                    <a:gd name="connsiteX82" fmla="*/ 761692 w 761692"/>
                    <a:gd name="connsiteY82" fmla="*/ 604040 h 1016771"/>
                    <a:gd name="connsiteX83" fmla="*/ 747521 w 761692"/>
                    <a:gd name="connsiteY83" fmla="*/ 616440 h 1016771"/>
                    <a:gd name="connsiteX84" fmla="*/ 728036 w 761692"/>
                    <a:gd name="connsiteY84" fmla="*/ 627068 h 1016771"/>
                    <a:gd name="connsiteX85" fmla="*/ 726264 w 761692"/>
                    <a:gd name="connsiteY85" fmla="*/ 650096 h 1016771"/>
                    <a:gd name="connsiteX86" fmla="*/ 728036 w 761692"/>
                    <a:gd name="connsiteY86" fmla="*/ 673124 h 1016771"/>
                    <a:gd name="connsiteX87" fmla="*/ 742207 w 761692"/>
                    <a:gd name="connsiteY87" fmla="*/ 689066 h 1016771"/>
                    <a:gd name="connsiteX88" fmla="*/ 742207 w 761692"/>
                    <a:gd name="connsiteY88" fmla="*/ 712094 h 1016771"/>
                    <a:gd name="connsiteX89" fmla="*/ 740435 w 761692"/>
                    <a:gd name="connsiteY89" fmla="*/ 735122 h 1016771"/>
                    <a:gd name="connsiteX90" fmla="*/ 742207 w 761692"/>
                    <a:gd name="connsiteY90" fmla="*/ 751065 h 1016771"/>
                    <a:gd name="connsiteX91" fmla="*/ 747521 w 761692"/>
                    <a:gd name="connsiteY91" fmla="*/ 768778 h 1016771"/>
                    <a:gd name="connsiteX92" fmla="*/ 759921 w 761692"/>
                    <a:gd name="connsiteY92" fmla="*/ 777635 h 1016771"/>
                    <a:gd name="connsiteX93" fmla="*/ 758149 w 761692"/>
                    <a:gd name="connsiteY93" fmla="*/ 802434 h 1016771"/>
                    <a:gd name="connsiteX94" fmla="*/ 752835 w 761692"/>
                    <a:gd name="connsiteY94" fmla="*/ 814834 h 1016771"/>
                    <a:gd name="connsiteX95" fmla="*/ 743978 w 761692"/>
                    <a:gd name="connsiteY95" fmla="*/ 827234 h 1016771"/>
                    <a:gd name="connsiteX96" fmla="*/ 743978 w 761692"/>
                    <a:gd name="connsiteY96" fmla="*/ 837862 h 1016771"/>
                    <a:gd name="connsiteX97" fmla="*/ 747521 w 761692"/>
                    <a:gd name="connsiteY97" fmla="*/ 853804 h 1016771"/>
                    <a:gd name="connsiteX98" fmla="*/ 733350 w 761692"/>
                    <a:gd name="connsiteY98" fmla="*/ 867975 h 1016771"/>
                    <a:gd name="connsiteX99" fmla="*/ 724493 w 761692"/>
                    <a:gd name="connsiteY99" fmla="*/ 880375 h 1016771"/>
                    <a:gd name="connsiteX100" fmla="*/ 722722 w 761692"/>
                    <a:gd name="connsiteY100" fmla="*/ 899860 h 1016771"/>
                    <a:gd name="connsiteX101" fmla="*/ 722722 w 761692"/>
                    <a:gd name="connsiteY101" fmla="*/ 919345 h 1016771"/>
                    <a:gd name="connsiteX102" fmla="*/ 715636 w 761692"/>
                    <a:gd name="connsiteY102" fmla="*/ 940602 h 1016771"/>
                    <a:gd name="connsiteX103" fmla="*/ 708551 w 761692"/>
                    <a:gd name="connsiteY103" fmla="*/ 954773 h 1016771"/>
                    <a:gd name="connsiteX104" fmla="*/ 699694 w 761692"/>
                    <a:gd name="connsiteY104" fmla="*/ 965401 h 1016771"/>
                    <a:gd name="connsiteX105" fmla="*/ 692608 w 761692"/>
                    <a:gd name="connsiteY105" fmla="*/ 984886 h 1016771"/>
                    <a:gd name="connsiteX106" fmla="*/ 683751 w 761692"/>
                    <a:gd name="connsiteY106" fmla="*/ 997286 h 1016771"/>
                    <a:gd name="connsiteX107" fmla="*/ 673123 w 761692"/>
                    <a:gd name="connsiteY107" fmla="*/ 1002600 h 1016771"/>
                    <a:gd name="connsiteX108" fmla="*/ 662495 w 761692"/>
                    <a:gd name="connsiteY108" fmla="*/ 1013228 h 1016771"/>
                    <a:gd name="connsiteX109" fmla="*/ 644781 w 761692"/>
                    <a:gd name="connsiteY109" fmla="*/ 1016771 h 1016771"/>
                    <a:gd name="connsiteX110" fmla="*/ 635924 w 761692"/>
                    <a:gd name="connsiteY110" fmla="*/ 1004372 h 1016771"/>
                    <a:gd name="connsiteX111" fmla="*/ 623525 w 761692"/>
                    <a:gd name="connsiteY111" fmla="*/ 997286 h 1016771"/>
                    <a:gd name="connsiteX112" fmla="*/ 614668 w 761692"/>
                    <a:gd name="connsiteY112" fmla="*/ 986658 h 1016771"/>
                    <a:gd name="connsiteX113" fmla="*/ 593411 w 761692"/>
                    <a:gd name="connsiteY113" fmla="*/ 970715 h 1016771"/>
                    <a:gd name="connsiteX114" fmla="*/ 582783 w 761692"/>
                    <a:gd name="connsiteY114" fmla="*/ 965401 h 1016771"/>
                    <a:gd name="connsiteX115" fmla="*/ 531413 w 761692"/>
                    <a:gd name="connsiteY115" fmla="*/ 965401 h 1016771"/>
                    <a:gd name="connsiteX116" fmla="*/ 511928 w 761692"/>
                    <a:gd name="connsiteY116" fmla="*/ 965401 h 1016771"/>
                    <a:gd name="connsiteX117" fmla="*/ 492443 w 761692"/>
                    <a:gd name="connsiteY117" fmla="*/ 963630 h 1016771"/>
                    <a:gd name="connsiteX118" fmla="*/ 483586 w 761692"/>
                    <a:gd name="connsiteY118" fmla="*/ 958316 h 1016771"/>
                    <a:gd name="connsiteX119" fmla="*/ 469415 w 761692"/>
                    <a:gd name="connsiteY119" fmla="*/ 954773 h 1016771"/>
                    <a:gd name="connsiteX120" fmla="*/ 460558 w 761692"/>
                    <a:gd name="connsiteY120" fmla="*/ 942373 h 1016771"/>
                    <a:gd name="connsiteX121" fmla="*/ 446387 w 761692"/>
                    <a:gd name="connsiteY121" fmla="*/ 935288 h 1016771"/>
                    <a:gd name="connsiteX122" fmla="*/ 428673 w 761692"/>
                    <a:gd name="connsiteY122" fmla="*/ 928202 h 1016771"/>
                    <a:gd name="connsiteX123" fmla="*/ 418045 w 761692"/>
                    <a:gd name="connsiteY123" fmla="*/ 917574 h 1016771"/>
                    <a:gd name="connsiteX124" fmla="*/ 421588 w 761692"/>
                    <a:gd name="connsiteY124" fmla="*/ 903403 h 1016771"/>
                    <a:gd name="connsiteX125" fmla="*/ 418045 w 761692"/>
                    <a:gd name="connsiteY125" fmla="*/ 898089 h 1016771"/>
                    <a:gd name="connsiteX126" fmla="*/ 396788 w 761692"/>
                    <a:gd name="connsiteY126" fmla="*/ 898089 h 1016771"/>
                    <a:gd name="connsiteX127" fmla="*/ 382617 w 761692"/>
                    <a:gd name="connsiteY127" fmla="*/ 896318 h 1016771"/>
                    <a:gd name="connsiteX128" fmla="*/ 380846 w 761692"/>
                    <a:gd name="connsiteY128" fmla="*/ 906946 h 1016771"/>
                    <a:gd name="connsiteX129" fmla="*/ 373601 w 761692"/>
                    <a:gd name="connsiteY129" fmla="*/ 894832 h 1016771"/>
                    <a:gd name="connsiteX130" fmla="*/ 387164 w 761692"/>
                    <a:gd name="connsiteY130" fmla="*/ 896527 h 1016771"/>
                    <a:gd name="connsiteX131" fmla="*/ 383773 w 761692"/>
                    <a:gd name="connsiteY131" fmla="*/ 886355 h 1016771"/>
                    <a:gd name="connsiteX132" fmla="*/ 387164 w 761692"/>
                    <a:gd name="connsiteY132" fmla="*/ 876183 h 1016771"/>
                    <a:gd name="connsiteX133" fmla="*/ 388859 w 761692"/>
                    <a:gd name="connsiteY133" fmla="*/ 867707 h 1016771"/>
                    <a:gd name="connsiteX134" fmla="*/ 380382 w 761692"/>
                    <a:gd name="connsiteY134" fmla="*/ 859230 h 1016771"/>
                    <a:gd name="connsiteX135" fmla="*/ 373601 w 761692"/>
                    <a:gd name="connsiteY135" fmla="*/ 849058 h 1016771"/>
                    <a:gd name="connsiteX136" fmla="*/ 380382 w 761692"/>
                    <a:gd name="connsiteY136" fmla="*/ 838886 h 1016771"/>
                    <a:gd name="connsiteX137" fmla="*/ 383773 w 761692"/>
                    <a:gd name="connsiteY137" fmla="*/ 833800 h 1016771"/>
                    <a:gd name="connsiteX138" fmla="*/ 388859 w 761692"/>
                    <a:gd name="connsiteY138" fmla="*/ 825324 h 1016771"/>
                    <a:gd name="connsiteX139" fmla="*/ 387164 w 761692"/>
                    <a:gd name="connsiteY139" fmla="*/ 810066 h 1016771"/>
                    <a:gd name="connsiteX140" fmla="*/ 387164 w 761692"/>
                    <a:gd name="connsiteY140" fmla="*/ 796503 h 1016771"/>
                    <a:gd name="connsiteX141" fmla="*/ 378687 w 761692"/>
                    <a:gd name="connsiteY141" fmla="*/ 789722 h 1016771"/>
                    <a:gd name="connsiteX142" fmla="*/ 366820 w 761692"/>
                    <a:gd name="connsiteY142" fmla="*/ 782940 h 1016771"/>
                    <a:gd name="connsiteX143" fmla="*/ 356648 w 761692"/>
                    <a:gd name="connsiteY143" fmla="*/ 781245 h 1016771"/>
                    <a:gd name="connsiteX144" fmla="*/ 349866 w 761692"/>
                    <a:gd name="connsiteY144" fmla="*/ 771073 h 1016771"/>
                    <a:gd name="connsiteX145" fmla="*/ 349866 w 761692"/>
                    <a:gd name="connsiteY145" fmla="*/ 752425 h 1016771"/>
                    <a:gd name="connsiteX146" fmla="*/ 353257 w 761692"/>
                    <a:gd name="connsiteY146" fmla="*/ 743948 h 1016771"/>
                    <a:gd name="connsiteX147" fmla="*/ 354952 w 761692"/>
                    <a:gd name="connsiteY147" fmla="*/ 730385 h 1016771"/>
                    <a:gd name="connsiteX148" fmla="*/ 353257 w 761692"/>
                    <a:gd name="connsiteY148" fmla="*/ 713432 h 1016771"/>
                    <a:gd name="connsiteX149" fmla="*/ 346476 w 761692"/>
                    <a:gd name="connsiteY149" fmla="*/ 701565 h 1016771"/>
                    <a:gd name="connsiteX150" fmla="*/ 332913 w 761692"/>
                    <a:gd name="connsiteY150" fmla="*/ 689697 h 1016771"/>
                    <a:gd name="connsiteX151" fmla="*/ 324436 w 761692"/>
                    <a:gd name="connsiteY151" fmla="*/ 681221 h 1016771"/>
                    <a:gd name="connsiteX152" fmla="*/ 314264 w 761692"/>
                    <a:gd name="connsiteY152" fmla="*/ 676135 h 1016771"/>
                    <a:gd name="connsiteX153" fmla="*/ 293920 w 761692"/>
                    <a:gd name="connsiteY153" fmla="*/ 669354 h 1016771"/>
                    <a:gd name="connsiteX154" fmla="*/ 282053 w 761692"/>
                    <a:gd name="connsiteY154" fmla="*/ 667658 h 1016771"/>
                    <a:gd name="connsiteX155" fmla="*/ 266795 w 761692"/>
                    <a:gd name="connsiteY155" fmla="*/ 672744 h 1016771"/>
                    <a:gd name="connsiteX156" fmla="*/ 265100 w 761692"/>
                    <a:gd name="connsiteY156" fmla="*/ 672744 h 1016771"/>
                    <a:gd name="connsiteX157" fmla="*/ 263404 w 761692"/>
                    <a:gd name="connsiteY157" fmla="*/ 671049 h 1016771"/>
                    <a:gd name="connsiteX158" fmla="*/ 260014 w 761692"/>
                    <a:gd name="connsiteY158" fmla="*/ 671049 h 1016771"/>
                    <a:gd name="connsiteX159" fmla="*/ 258318 w 761692"/>
                    <a:gd name="connsiteY159" fmla="*/ 671049 h 1016771"/>
                    <a:gd name="connsiteX160" fmla="*/ 253232 w 761692"/>
                    <a:gd name="connsiteY160" fmla="*/ 671049 h 1016771"/>
                    <a:gd name="connsiteX161" fmla="*/ 248146 w 761692"/>
                    <a:gd name="connsiteY161" fmla="*/ 672744 h 1016771"/>
                    <a:gd name="connsiteX162" fmla="*/ 248146 w 761692"/>
                    <a:gd name="connsiteY162" fmla="*/ 674440 h 1016771"/>
                    <a:gd name="connsiteX163" fmla="*/ 246451 w 761692"/>
                    <a:gd name="connsiteY163" fmla="*/ 674440 h 1016771"/>
                    <a:gd name="connsiteX164" fmla="*/ 236279 w 761692"/>
                    <a:gd name="connsiteY164" fmla="*/ 679526 h 1016771"/>
                    <a:gd name="connsiteX165" fmla="*/ 226107 w 761692"/>
                    <a:gd name="connsiteY165" fmla="*/ 684612 h 1016771"/>
                    <a:gd name="connsiteX166" fmla="*/ 217630 w 761692"/>
                    <a:gd name="connsiteY166" fmla="*/ 684612 h 1016771"/>
                    <a:gd name="connsiteX167" fmla="*/ 207458 w 761692"/>
                    <a:gd name="connsiteY167" fmla="*/ 693088 h 1016771"/>
                    <a:gd name="connsiteX168" fmla="*/ 198982 w 761692"/>
                    <a:gd name="connsiteY168" fmla="*/ 694783 h 1016771"/>
                    <a:gd name="connsiteX169" fmla="*/ 192200 w 761692"/>
                    <a:gd name="connsiteY169" fmla="*/ 699869 h 1016771"/>
                    <a:gd name="connsiteX170" fmla="*/ 178638 w 761692"/>
                    <a:gd name="connsiteY170" fmla="*/ 706651 h 1016771"/>
                    <a:gd name="connsiteX171" fmla="*/ 163380 w 761692"/>
                    <a:gd name="connsiteY171" fmla="*/ 710041 h 1016771"/>
                    <a:gd name="connsiteX172" fmla="*/ 141340 w 761692"/>
                    <a:gd name="connsiteY172" fmla="*/ 710041 h 1016771"/>
                    <a:gd name="connsiteX173" fmla="*/ 134559 w 761692"/>
                    <a:gd name="connsiteY173" fmla="*/ 716823 h 1016771"/>
                    <a:gd name="connsiteX174" fmla="*/ 127778 w 761692"/>
                    <a:gd name="connsiteY174" fmla="*/ 718518 h 1016771"/>
                    <a:gd name="connsiteX175" fmla="*/ 120996 w 761692"/>
                    <a:gd name="connsiteY175" fmla="*/ 725299 h 1016771"/>
                    <a:gd name="connsiteX176" fmla="*/ 111172 w 761692"/>
                    <a:gd name="connsiteY176" fmla="*/ 733720 h 1016771"/>
                    <a:gd name="connsiteX177" fmla="*/ 106283 w 761692"/>
                    <a:gd name="connsiteY177" fmla="*/ 729808 h 1016771"/>
                    <a:gd name="connsiteX178" fmla="*/ 92112 w 761692"/>
                    <a:gd name="connsiteY178" fmla="*/ 724494 h 1016771"/>
                    <a:gd name="connsiteX179" fmla="*/ 77941 w 761692"/>
                    <a:gd name="connsiteY179" fmla="*/ 726265 h 1016771"/>
                    <a:gd name="connsiteX180" fmla="*/ 70855 w 761692"/>
                    <a:gd name="connsiteY180" fmla="*/ 719180 h 1016771"/>
                    <a:gd name="connsiteX181" fmla="*/ 70855 w 761692"/>
                    <a:gd name="connsiteY181" fmla="*/ 699695 h 1016771"/>
                    <a:gd name="connsiteX182" fmla="*/ 81483 w 761692"/>
                    <a:gd name="connsiteY182" fmla="*/ 685524 h 1016771"/>
                    <a:gd name="connsiteX183" fmla="*/ 85026 w 761692"/>
                    <a:gd name="connsiteY183" fmla="*/ 673124 h 1016771"/>
                    <a:gd name="connsiteX184" fmla="*/ 86797 w 761692"/>
                    <a:gd name="connsiteY184" fmla="*/ 660724 h 1016771"/>
                    <a:gd name="connsiteX185" fmla="*/ 97426 w 761692"/>
                    <a:gd name="connsiteY185" fmla="*/ 650096 h 1016771"/>
                    <a:gd name="connsiteX186" fmla="*/ 102740 w 761692"/>
                    <a:gd name="connsiteY186" fmla="*/ 635925 h 1016771"/>
                    <a:gd name="connsiteX187" fmla="*/ 113368 w 761692"/>
                    <a:gd name="connsiteY187" fmla="*/ 625297 h 1016771"/>
                    <a:gd name="connsiteX188" fmla="*/ 115139 w 761692"/>
                    <a:gd name="connsiteY188" fmla="*/ 612897 h 1016771"/>
                    <a:gd name="connsiteX189" fmla="*/ 127539 w 761692"/>
                    <a:gd name="connsiteY189" fmla="*/ 609354 h 1016771"/>
                    <a:gd name="connsiteX190" fmla="*/ 136396 w 761692"/>
                    <a:gd name="connsiteY190" fmla="*/ 604040 h 1016771"/>
                    <a:gd name="connsiteX191" fmla="*/ 132853 w 761692"/>
                    <a:gd name="connsiteY191" fmla="*/ 593412 h 1016771"/>
                    <a:gd name="connsiteX192" fmla="*/ 134625 w 761692"/>
                    <a:gd name="connsiteY192" fmla="*/ 584555 h 1016771"/>
                    <a:gd name="connsiteX193" fmla="*/ 131082 w 761692"/>
                    <a:gd name="connsiteY193" fmla="*/ 575698 h 1016771"/>
                    <a:gd name="connsiteX194" fmla="*/ 120454 w 761692"/>
                    <a:gd name="connsiteY194" fmla="*/ 568613 h 1016771"/>
                    <a:gd name="connsiteX195" fmla="*/ 125768 w 761692"/>
                    <a:gd name="connsiteY195" fmla="*/ 552670 h 1016771"/>
                    <a:gd name="connsiteX196" fmla="*/ 118682 w 761692"/>
                    <a:gd name="connsiteY196" fmla="*/ 543813 h 1016771"/>
                    <a:gd name="connsiteX197" fmla="*/ 90340 w 761692"/>
                    <a:gd name="connsiteY197" fmla="*/ 543813 h 1016771"/>
                    <a:gd name="connsiteX198" fmla="*/ 86797 w 761692"/>
                    <a:gd name="connsiteY198" fmla="*/ 542042 h 1016771"/>
                    <a:gd name="connsiteX199" fmla="*/ 83255 w 761692"/>
                    <a:gd name="connsiteY199" fmla="*/ 542042 h 1016771"/>
                    <a:gd name="connsiteX200" fmla="*/ 81483 w 761692"/>
                    <a:gd name="connsiteY200" fmla="*/ 540271 h 1016771"/>
                    <a:gd name="connsiteX201" fmla="*/ 81483 w 761692"/>
                    <a:gd name="connsiteY201" fmla="*/ 536728 h 1016771"/>
                    <a:gd name="connsiteX202" fmla="*/ 79712 w 761692"/>
                    <a:gd name="connsiteY202" fmla="*/ 531414 h 1016771"/>
                    <a:gd name="connsiteX203" fmla="*/ 77941 w 761692"/>
                    <a:gd name="connsiteY203" fmla="*/ 529642 h 1016771"/>
                    <a:gd name="connsiteX204" fmla="*/ 70855 w 761692"/>
                    <a:gd name="connsiteY204" fmla="*/ 527871 h 1016771"/>
                    <a:gd name="connsiteX205" fmla="*/ 60227 w 761692"/>
                    <a:gd name="connsiteY205" fmla="*/ 536728 h 1016771"/>
                    <a:gd name="connsiteX206" fmla="*/ 47827 w 761692"/>
                    <a:gd name="connsiteY206" fmla="*/ 526100 h 1016771"/>
                    <a:gd name="connsiteX207" fmla="*/ 42513 w 761692"/>
                    <a:gd name="connsiteY207" fmla="*/ 515471 h 1016771"/>
                    <a:gd name="connsiteX208" fmla="*/ 33656 w 761692"/>
                    <a:gd name="connsiteY208" fmla="*/ 506614 h 1016771"/>
                    <a:gd name="connsiteX209" fmla="*/ 31885 w 761692"/>
                    <a:gd name="connsiteY209" fmla="*/ 490672 h 1016771"/>
                    <a:gd name="connsiteX210" fmla="*/ 26571 w 761692"/>
                    <a:gd name="connsiteY210" fmla="*/ 476501 h 1016771"/>
                    <a:gd name="connsiteX211" fmla="*/ 24799 w 761692"/>
                    <a:gd name="connsiteY211" fmla="*/ 471187 h 1016771"/>
                    <a:gd name="connsiteX212" fmla="*/ 12400 w 761692"/>
                    <a:gd name="connsiteY212" fmla="*/ 472958 h 1016771"/>
                    <a:gd name="connsiteX213" fmla="*/ 7086 w 761692"/>
                    <a:gd name="connsiteY213" fmla="*/ 464101 h 1016771"/>
                    <a:gd name="connsiteX214" fmla="*/ 8857 w 761692"/>
                    <a:gd name="connsiteY214" fmla="*/ 446388 h 1016771"/>
                    <a:gd name="connsiteX215" fmla="*/ 3543 w 761692"/>
                    <a:gd name="connsiteY215" fmla="*/ 435759 h 1016771"/>
                    <a:gd name="connsiteX216" fmla="*/ 5314 w 761692"/>
                    <a:gd name="connsiteY216" fmla="*/ 412731 h 1016771"/>
                    <a:gd name="connsiteX217" fmla="*/ 0 w 761692"/>
                    <a:gd name="connsiteY217" fmla="*/ 396789 h 1016771"/>
                    <a:gd name="connsiteX218" fmla="*/ 3543 w 761692"/>
                    <a:gd name="connsiteY218" fmla="*/ 384389 h 1016771"/>
                    <a:gd name="connsiteX219" fmla="*/ 14171 w 761692"/>
                    <a:gd name="connsiteY219" fmla="*/ 380846 h 1016771"/>
                    <a:gd name="connsiteX220" fmla="*/ 24799 w 761692"/>
                    <a:gd name="connsiteY220" fmla="*/ 364904 h 1016771"/>
                    <a:gd name="connsiteX221" fmla="*/ 30113 w 761692"/>
                    <a:gd name="connsiteY221" fmla="*/ 350733 h 1016771"/>
                    <a:gd name="connsiteX222" fmla="*/ 35428 w 761692"/>
                    <a:gd name="connsiteY222" fmla="*/ 341876 h 1016771"/>
                    <a:gd name="connsiteX223" fmla="*/ 42513 w 761692"/>
                    <a:gd name="connsiteY223" fmla="*/ 327705 h 1016771"/>
                    <a:gd name="connsiteX224" fmla="*/ 42513 w 761692"/>
                    <a:gd name="connsiteY224" fmla="*/ 315305 h 1016771"/>
                    <a:gd name="connsiteX225" fmla="*/ 56684 w 761692"/>
                    <a:gd name="connsiteY225" fmla="*/ 309991 h 1016771"/>
                    <a:gd name="connsiteX226" fmla="*/ 60227 w 761692"/>
                    <a:gd name="connsiteY226" fmla="*/ 309991 h 1016771"/>
                    <a:gd name="connsiteX227" fmla="*/ 61998 w 761692"/>
                    <a:gd name="connsiteY227" fmla="*/ 311763 h 1016771"/>
                    <a:gd name="connsiteX228" fmla="*/ 67312 w 761692"/>
                    <a:gd name="connsiteY228" fmla="*/ 311763 h 1016771"/>
                    <a:gd name="connsiteX229" fmla="*/ 67312 w 761692"/>
                    <a:gd name="connsiteY229" fmla="*/ 309991 h 1016771"/>
                    <a:gd name="connsiteX230" fmla="*/ 67312 w 761692"/>
                    <a:gd name="connsiteY230" fmla="*/ 308220 h 1016771"/>
                    <a:gd name="connsiteX231" fmla="*/ 69084 w 761692"/>
                    <a:gd name="connsiteY231" fmla="*/ 302906 h 1016771"/>
                    <a:gd name="connsiteX232" fmla="*/ 70855 w 761692"/>
                    <a:gd name="connsiteY232" fmla="*/ 301134 h 1016771"/>
                    <a:gd name="connsiteX233" fmla="*/ 70855 w 761692"/>
                    <a:gd name="connsiteY233" fmla="*/ 299363 h 1016771"/>
                    <a:gd name="connsiteX234" fmla="*/ 77941 w 761692"/>
                    <a:gd name="connsiteY234" fmla="*/ 295820 h 1016771"/>
                    <a:gd name="connsiteX235" fmla="*/ 85026 w 761692"/>
                    <a:gd name="connsiteY235" fmla="*/ 295820 h 1016771"/>
                    <a:gd name="connsiteX236" fmla="*/ 93883 w 761692"/>
                    <a:gd name="connsiteY236" fmla="*/ 297592 h 1016771"/>
                    <a:gd name="connsiteX237" fmla="*/ 100968 w 761692"/>
                    <a:gd name="connsiteY237" fmla="*/ 288735 h 1016771"/>
                    <a:gd name="connsiteX238" fmla="*/ 97426 w 761692"/>
                    <a:gd name="connsiteY238" fmla="*/ 279878 h 1016771"/>
                    <a:gd name="connsiteX239" fmla="*/ 85026 w 761692"/>
                    <a:gd name="connsiteY239" fmla="*/ 276335 h 1016771"/>
                    <a:gd name="connsiteX240" fmla="*/ 76169 w 761692"/>
                    <a:gd name="connsiteY240" fmla="*/ 271021 h 1016771"/>
                    <a:gd name="connsiteX241" fmla="*/ 76169 w 761692"/>
                    <a:gd name="connsiteY241" fmla="*/ 262164 h 1016771"/>
                    <a:gd name="connsiteX242" fmla="*/ 81483 w 761692"/>
                    <a:gd name="connsiteY242" fmla="*/ 251536 h 1016771"/>
                    <a:gd name="connsiteX243" fmla="*/ 86797 w 761692"/>
                    <a:gd name="connsiteY243" fmla="*/ 255079 h 1016771"/>
                    <a:gd name="connsiteX244" fmla="*/ 104511 w 761692"/>
                    <a:gd name="connsiteY244" fmla="*/ 262164 h 1016771"/>
                    <a:gd name="connsiteX245" fmla="*/ 116911 w 761692"/>
                    <a:gd name="connsiteY245" fmla="*/ 265707 h 1016771"/>
                    <a:gd name="connsiteX246" fmla="*/ 132853 w 761692"/>
                    <a:gd name="connsiteY246" fmla="*/ 269250 h 1016771"/>
                    <a:gd name="connsiteX247" fmla="*/ 138167 w 761692"/>
                    <a:gd name="connsiteY247" fmla="*/ 265707 h 1016771"/>
                    <a:gd name="connsiteX248" fmla="*/ 150567 w 761692"/>
                    <a:gd name="connsiteY248" fmla="*/ 255079 h 1016771"/>
                    <a:gd name="connsiteX249" fmla="*/ 166509 w 761692"/>
                    <a:gd name="connsiteY249" fmla="*/ 255079 h 1016771"/>
                    <a:gd name="connsiteX250" fmla="*/ 166509 w 761692"/>
                    <a:gd name="connsiteY250" fmla="*/ 265707 h 1016771"/>
                    <a:gd name="connsiteX251" fmla="*/ 177138 w 761692"/>
                    <a:gd name="connsiteY251" fmla="*/ 272792 h 1016771"/>
                    <a:gd name="connsiteX252" fmla="*/ 194851 w 761692"/>
                    <a:gd name="connsiteY252" fmla="*/ 276335 h 1016771"/>
                    <a:gd name="connsiteX253" fmla="*/ 209022 w 761692"/>
                    <a:gd name="connsiteY253" fmla="*/ 279878 h 1016771"/>
                    <a:gd name="connsiteX254" fmla="*/ 221422 w 761692"/>
                    <a:gd name="connsiteY254" fmla="*/ 276335 h 1016771"/>
                    <a:gd name="connsiteX255" fmla="*/ 226736 w 761692"/>
                    <a:gd name="connsiteY255" fmla="*/ 269250 h 1016771"/>
                    <a:gd name="connsiteX256" fmla="*/ 226736 w 761692"/>
                    <a:gd name="connsiteY256" fmla="*/ 251536 h 1016771"/>
                    <a:gd name="connsiteX257" fmla="*/ 224965 w 761692"/>
                    <a:gd name="connsiteY257" fmla="*/ 239136 h 1016771"/>
                    <a:gd name="connsiteX258" fmla="*/ 214337 w 761692"/>
                    <a:gd name="connsiteY258" fmla="*/ 230279 h 1016771"/>
                    <a:gd name="connsiteX259" fmla="*/ 210794 w 761692"/>
                    <a:gd name="connsiteY259" fmla="*/ 217880 h 1016771"/>
                    <a:gd name="connsiteX260" fmla="*/ 221422 w 761692"/>
                    <a:gd name="connsiteY260" fmla="*/ 207251 h 1016771"/>
                    <a:gd name="connsiteX261" fmla="*/ 235593 w 761692"/>
                    <a:gd name="connsiteY261" fmla="*/ 214337 h 1016771"/>
                    <a:gd name="connsiteX262" fmla="*/ 246221 w 761692"/>
                    <a:gd name="connsiteY262" fmla="*/ 219651 h 1016771"/>
                    <a:gd name="connsiteX263" fmla="*/ 253307 w 761692"/>
                    <a:gd name="connsiteY263" fmla="*/ 221422 h 1016771"/>
                    <a:gd name="connsiteX264" fmla="*/ 262164 w 761692"/>
                    <a:gd name="connsiteY264" fmla="*/ 210794 h 1016771"/>
                    <a:gd name="connsiteX265" fmla="*/ 263935 w 761692"/>
                    <a:gd name="connsiteY265" fmla="*/ 201937 h 1016771"/>
                    <a:gd name="connsiteX266" fmla="*/ 274563 w 761692"/>
                    <a:gd name="connsiteY266" fmla="*/ 189538 h 1016771"/>
                    <a:gd name="connsiteX267" fmla="*/ 283420 w 761692"/>
                    <a:gd name="connsiteY267" fmla="*/ 178909 h 1016771"/>
                    <a:gd name="connsiteX268" fmla="*/ 286963 w 761692"/>
                    <a:gd name="connsiteY268" fmla="*/ 173595 h 1016771"/>
                    <a:gd name="connsiteX269" fmla="*/ 311762 w 761692"/>
                    <a:gd name="connsiteY269" fmla="*/ 168281 h 1016771"/>
                    <a:gd name="connsiteX270" fmla="*/ 325933 w 761692"/>
                    <a:gd name="connsiteY270" fmla="*/ 164738 h 1016771"/>
                    <a:gd name="connsiteX271" fmla="*/ 336562 w 761692"/>
                    <a:gd name="connsiteY271" fmla="*/ 159424 h 1016771"/>
                    <a:gd name="connsiteX272" fmla="*/ 348961 w 761692"/>
                    <a:gd name="connsiteY272" fmla="*/ 145253 h 1016771"/>
                    <a:gd name="connsiteX273" fmla="*/ 359589 w 761692"/>
                    <a:gd name="connsiteY273" fmla="*/ 143482 h 1016771"/>
                    <a:gd name="connsiteX274" fmla="*/ 371989 w 761692"/>
                    <a:gd name="connsiteY274" fmla="*/ 143482 h 1016771"/>
                    <a:gd name="connsiteX275" fmla="*/ 391474 w 761692"/>
                    <a:gd name="connsiteY275" fmla="*/ 143482 h 1016771"/>
                    <a:gd name="connsiteX276" fmla="*/ 396788 w 761692"/>
                    <a:gd name="connsiteY276" fmla="*/ 141710 h 1016771"/>
                    <a:gd name="connsiteX277" fmla="*/ 403874 w 761692"/>
                    <a:gd name="connsiteY277" fmla="*/ 134625 h 1016771"/>
                    <a:gd name="connsiteX278" fmla="*/ 409188 w 761692"/>
                    <a:gd name="connsiteY278" fmla="*/ 129311 h 1016771"/>
                    <a:gd name="connsiteX279" fmla="*/ 409188 w 761692"/>
                    <a:gd name="connsiteY279" fmla="*/ 123997 h 1016771"/>
                    <a:gd name="connsiteX280" fmla="*/ 414502 w 761692"/>
                    <a:gd name="connsiteY280" fmla="*/ 115140 h 1016771"/>
                    <a:gd name="connsiteX281" fmla="*/ 428673 w 761692"/>
                    <a:gd name="connsiteY281" fmla="*/ 115140 h 1016771"/>
                    <a:gd name="connsiteX282" fmla="*/ 432216 w 761692"/>
                    <a:gd name="connsiteY282" fmla="*/ 109826 h 1016771"/>
                    <a:gd name="connsiteX283" fmla="*/ 437530 w 761692"/>
                    <a:gd name="connsiteY283" fmla="*/ 100969 h 1016771"/>
                    <a:gd name="connsiteX284" fmla="*/ 448158 w 761692"/>
                    <a:gd name="connsiteY284" fmla="*/ 99197 h 1016771"/>
                    <a:gd name="connsiteX285" fmla="*/ 460558 w 761692"/>
                    <a:gd name="connsiteY285" fmla="*/ 97426 h 1016771"/>
                    <a:gd name="connsiteX286" fmla="*/ 472958 w 761692"/>
                    <a:gd name="connsiteY286" fmla="*/ 93883 h 1016771"/>
                    <a:gd name="connsiteX287" fmla="*/ 492443 w 761692"/>
                    <a:gd name="connsiteY287" fmla="*/ 93883 h 1016771"/>
                    <a:gd name="connsiteX288" fmla="*/ 501300 w 761692"/>
                    <a:gd name="connsiteY288" fmla="*/ 83255 h 1016771"/>
                    <a:gd name="connsiteX289" fmla="*/ 517242 w 761692"/>
                    <a:gd name="connsiteY289" fmla="*/ 81484 h 1016771"/>
                    <a:gd name="connsiteX290" fmla="*/ 522556 w 761692"/>
                    <a:gd name="connsiteY290" fmla="*/ 81484 h 1016771"/>
                    <a:gd name="connsiteX291" fmla="*/ 522556 w 761692"/>
                    <a:gd name="connsiteY291" fmla="*/ 60227 h 1016771"/>
                    <a:gd name="connsiteX292" fmla="*/ 526099 w 761692"/>
                    <a:gd name="connsiteY292" fmla="*/ 54913 h 1016771"/>
                    <a:gd name="connsiteX293" fmla="*/ 529642 w 761692"/>
                    <a:gd name="connsiteY293" fmla="*/ 46056 h 1016771"/>
                    <a:gd name="connsiteX294" fmla="*/ 538499 w 761692"/>
                    <a:gd name="connsiteY294" fmla="*/ 40742 h 1016771"/>
                    <a:gd name="connsiteX295" fmla="*/ 540270 w 761692"/>
                    <a:gd name="connsiteY295" fmla="*/ 30114 h 1016771"/>
                    <a:gd name="connsiteX296" fmla="*/ 536727 w 761692"/>
                    <a:gd name="connsiteY296" fmla="*/ 19485 h 1016771"/>
                    <a:gd name="connsiteX297" fmla="*/ 543813 w 761692"/>
                    <a:gd name="connsiteY297" fmla="*/ 5314 h 1016771"/>
                    <a:gd name="connsiteX298" fmla="*/ 554441 w 761692"/>
                    <a:gd name="connsiteY298" fmla="*/ 0 h 1016771"/>
                    <a:gd name="connsiteX0" fmla="*/ 139645 w 761692"/>
                    <a:gd name="connsiteY0" fmla="*/ 852449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39645 w 761692"/>
                    <a:gd name="connsiteY7" fmla="*/ 852449 h 1016771"/>
                    <a:gd name="connsiteX8" fmla="*/ 116476 w 761692"/>
                    <a:gd name="connsiteY8" fmla="*/ 741349 h 1016771"/>
                    <a:gd name="connsiteX9" fmla="*/ 117606 w 761692"/>
                    <a:gd name="connsiteY9" fmla="*/ 742253 h 1016771"/>
                    <a:gd name="connsiteX10" fmla="*/ 122692 w 761692"/>
                    <a:gd name="connsiteY10" fmla="*/ 759206 h 1016771"/>
                    <a:gd name="connsiteX11" fmla="*/ 126082 w 761692"/>
                    <a:gd name="connsiteY11" fmla="*/ 771073 h 1016771"/>
                    <a:gd name="connsiteX12" fmla="*/ 129473 w 761692"/>
                    <a:gd name="connsiteY12" fmla="*/ 782940 h 1016771"/>
                    <a:gd name="connsiteX13" fmla="*/ 132864 w 761692"/>
                    <a:gd name="connsiteY13" fmla="*/ 793112 h 1016771"/>
                    <a:gd name="connsiteX14" fmla="*/ 136254 w 761692"/>
                    <a:gd name="connsiteY14" fmla="*/ 810066 h 1016771"/>
                    <a:gd name="connsiteX15" fmla="*/ 139058 w 761692"/>
                    <a:gd name="connsiteY15" fmla="*/ 818476 h 1016771"/>
                    <a:gd name="connsiteX16" fmla="*/ 138167 w 761692"/>
                    <a:gd name="connsiteY16" fmla="*/ 818377 h 1016771"/>
                    <a:gd name="connsiteX17" fmla="*/ 134625 w 761692"/>
                    <a:gd name="connsiteY17" fmla="*/ 807749 h 1016771"/>
                    <a:gd name="connsiteX18" fmla="*/ 131082 w 761692"/>
                    <a:gd name="connsiteY18" fmla="*/ 790035 h 1016771"/>
                    <a:gd name="connsiteX19" fmla="*/ 127539 w 761692"/>
                    <a:gd name="connsiteY19" fmla="*/ 779407 h 1016771"/>
                    <a:gd name="connsiteX20" fmla="*/ 123996 w 761692"/>
                    <a:gd name="connsiteY20" fmla="*/ 767007 h 1016771"/>
                    <a:gd name="connsiteX21" fmla="*/ 120454 w 761692"/>
                    <a:gd name="connsiteY21" fmla="*/ 754607 h 1016771"/>
                    <a:gd name="connsiteX22" fmla="*/ 116476 w 761692"/>
                    <a:gd name="connsiteY22" fmla="*/ 741349 h 1016771"/>
                    <a:gd name="connsiteX23" fmla="*/ 554441 w 761692"/>
                    <a:gd name="connsiteY23" fmla="*/ 0 h 1016771"/>
                    <a:gd name="connsiteX24" fmla="*/ 570383 w 761692"/>
                    <a:gd name="connsiteY24" fmla="*/ 3543 h 1016771"/>
                    <a:gd name="connsiteX25" fmla="*/ 577469 w 761692"/>
                    <a:gd name="connsiteY25" fmla="*/ 8857 h 1016771"/>
                    <a:gd name="connsiteX26" fmla="*/ 582783 w 761692"/>
                    <a:gd name="connsiteY26" fmla="*/ 17714 h 1016771"/>
                    <a:gd name="connsiteX27" fmla="*/ 582783 w 761692"/>
                    <a:gd name="connsiteY27" fmla="*/ 24799 h 1016771"/>
                    <a:gd name="connsiteX28" fmla="*/ 588097 w 761692"/>
                    <a:gd name="connsiteY28" fmla="*/ 33656 h 1016771"/>
                    <a:gd name="connsiteX29" fmla="*/ 598725 w 761692"/>
                    <a:gd name="connsiteY29" fmla="*/ 31885 h 1016771"/>
                    <a:gd name="connsiteX30" fmla="*/ 612896 w 761692"/>
                    <a:gd name="connsiteY30" fmla="*/ 37199 h 1016771"/>
                    <a:gd name="connsiteX31" fmla="*/ 618211 w 761692"/>
                    <a:gd name="connsiteY31" fmla="*/ 46056 h 1016771"/>
                    <a:gd name="connsiteX32" fmla="*/ 619982 w 761692"/>
                    <a:gd name="connsiteY32" fmla="*/ 54913 h 1016771"/>
                    <a:gd name="connsiteX33" fmla="*/ 618211 w 761692"/>
                    <a:gd name="connsiteY33" fmla="*/ 74398 h 1016771"/>
                    <a:gd name="connsiteX34" fmla="*/ 616439 w 761692"/>
                    <a:gd name="connsiteY34" fmla="*/ 85026 h 1016771"/>
                    <a:gd name="connsiteX35" fmla="*/ 621753 w 761692"/>
                    <a:gd name="connsiteY35" fmla="*/ 97426 h 1016771"/>
                    <a:gd name="connsiteX36" fmla="*/ 637696 w 761692"/>
                    <a:gd name="connsiteY36" fmla="*/ 113368 h 1016771"/>
                    <a:gd name="connsiteX37" fmla="*/ 644781 w 761692"/>
                    <a:gd name="connsiteY37" fmla="*/ 120454 h 1016771"/>
                    <a:gd name="connsiteX38" fmla="*/ 650095 w 761692"/>
                    <a:gd name="connsiteY38" fmla="*/ 136396 h 1016771"/>
                    <a:gd name="connsiteX39" fmla="*/ 655409 w 761692"/>
                    <a:gd name="connsiteY39" fmla="*/ 155881 h 1016771"/>
                    <a:gd name="connsiteX40" fmla="*/ 662495 w 761692"/>
                    <a:gd name="connsiteY40" fmla="*/ 171824 h 1016771"/>
                    <a:gd name="connsiteX41" fmla="*/ 660724 w 761692"/>
                    <a:gd name="connsiteY41" fmla="*/ 185995 h 1016771"/>
                    <a:gd name="connsiteX42" fmla="*/ 635924 w 761692"/>
                    <a:gd name="connsiteY42" fmla="*/ 194852 h 1016771"/>
                    <a:gd name="connsiteX43" fmla="*/ 619982 w 761692"/>
                    <a:gd name="connsiteY43" fmla="*/ 207251 h 1016771"/>
                    <a:gd name="connsiteX44" fmla="*/ 614668 w 761692"/>
                    <a:gd name="connsiteY44" fmla="*/ 223194 h 1016771"/>
                    <a:gd name="connsiteX45" fmla="*/ 618211 w 761692"/>
                    <a:gd name="connsiteY45" fmla="*/ 242679 h 1016771"/>
                    <a:gd name="connsiteX46" fmla="*/ 612896 w 761692"/>
                    <a:gd name="connsiteY46" fmla="*/ 256850 h 1016771"/>
                    <a:gd name="connsiteX47" fmla="*/ 625296 w 761692"/>
                    <a:gd name="connsiteY47" fmla="*/ 267478 h 1016771"/>
                    <a:gd name="connsiteX48" fmla="*/ 641238 w 761692"/>
                    <a:gd name="connsiteY48" fmla="*/ 269250 h 1016771"/>
                    <a:gd name="connsiteX49" fmla="*/ 658952 w 761692"/>
                    <a:gd name="connsiteY49" fmla="*/ 286963 h 1016771"/>
                    <a:gd name="connsiteX50" fmla="*/ 653638 w 761692"/>
                    <a:gd name="connsiteY50" fmla="*/ 309991 h 1016771"/>
                    <a:gd name="connsiteX51" fmla="*/ 653638 w 761692"/>
                    <a:gd name="connsiteY51" fmla="*/ 329476 h 1016771"/>
                    <a:gd name="connsiteX52" fmla="*/ 643010 w 761692"/>
                    <a:gd name="connsiteY52" fmla="*/ 338333 h 1016771"/>
                    <a:gd name="connsiteX53" fmla="*/ 632382 w 761692"/>
                    <a:gd name="connsiteY53" fmla="*/ 338333 h 1016771"/>
                    <a:gd name="connsiteX54" fmla="*/ 618211 w 761692"/>
                    <a:gd name="connsiteY54" fmla="*/ 357819 h 1016771"/>
                    <a:gd name="connsiteX55" fmla="*/ 609354 w 761692"/>
                    <a:gd name="connsiteY55" fmla="*/ 361361 h 1016771"/>
                    <a:gd name="connsiteX56" fmla="*/ 596954 w 761692"/>
                    <a:gd name="connsiteY56" fmla="*/ 363133 h 1016771"/>
                    <a:gd name="connsiteX57" fmla="*/ 581012 w 761692"/>
                    <a:gd name="connsiteY57" fmla="*/ 379075 h 1016771"/>
                    <a:gd name="connsiteX58" fmla="*/ 589868 w 761692"/>
                    <a:gd name="connsiteY58" fmla="*/ 393246 h 1016771"/>
                    <a:gd name="connsiteX59" fmla="*/ 586326 w 761692"/>
                    <a:gd name="connsiteY59" fmla="*/ 409189 h 1016771"/>
                    <a:gd name="connsiteX60" fmla="*/ 570383 w 761692"/>
                    <a:gd name="connsiteY60" fmla="*/ 398560 h 1016771"/>
                    <a:gd name="connsiteX61" fmla="*/ 550898 w 761692"/>
                    <a:gd name="connsiteY61" fmla="*/ 405646 h 1016771"/>
                    <a:gd name="connsiteX62" fmla="*/ 531413 w 761692"/>
                    <a:gd name="connsiteY62" fmla="*/ 425131 h 1016771"/>
                    <a:gd name="connsiteX63" fmla="*/ 543813 w 761692"/>
                    <a:gd name="connsiteY63" fmla="*/ 444616 h 1016771"/>
                    <a:gd name="connsiteX64" fmla="*/ 557984 w 761692"/>
                    <a:gd name="connsiteY64" fmla="*/ 462330 h 1016771"/>
                    <a:gd name="connsiteX65" fmla="*/ 570383 w 761692"/>
                    <a:gd name="connsiteY65" fmla="*/ 478272 h 1016771"/>
                    <a:gd name="connsiteX66" fmla="*/ 579240 w 761692"/>
                    <a:gd name="connsiteY66" fmla="*/ 485358 h 1016771"/>
                    <a:gd name="connsiteX67" fmla="*/ 602268 w 761692"/>
                    <a:gd name="connsiteY67" fmla="*/ 483586 h 1016771"/>
                    <a:gd name="connsiteX68" fmla="*/ 623525 w 761692"/>
                    <a:gd name="connsiteY68" fmla="*/ 474730 h 1016771"/>
                    <a:gd name="connsiteX69" fmla="*/ 639467 w 761692"/>
                    <a:gd name="connsiteY69" fmla="*/ 464101 h 1016771"/>
                    <a:gd name="connsiteX70" fmla="*/ 662495 w 761692"/>
                    <a:gd name="connsiteY70" fmla="*/ 464101 h 1016771"/>
                    <a:gd name="connsiteX71" fmla="*/ 673123 w 761692"/>
                    <a:gd name="connsiteY71" fmla="*/ 464101 h 1016771"/>
                    <a:gd name="connsiteX72" fmla="*/ 681980 w 761692"/>
                    <a:gd name="connsiteY72" fmla="*/ 467644 h 1016771"/>
                    <a:gd name="connsiteX73" fmla="*/ 703237 w 761692"/>
                    <a:gd name="connsiteY73" fmla="*/ 471187 h 1016771"/>
                    <a:gd name="connsiteX74" fmla="*/ 708551 w 761692"/>
                    <a:gd name="connsiteY74" fmla="*/ 474730 h 1016771"/>
                    <a:gd name="connsiteX75" fmla="*/ 722722 w 761692"/>
                    <a:gd name="connsiteY75" fmla="*/ 501300 h 1016771"/>
                    <a:gd name="connsiteX76" fmla="*/ 724493 w 761692"/>
                    <a:gd name="connsiteY76" fmla="*/ 522557 h 1016771"/>
                    <a:gd name="connsiteX77" fmla="*/ 722722 w 761692"/>
                    <a:gd name="connsiteY77" fmla="*/ 540271 h 1016771"/>
                    <a:gd name="connsiteX78" fmla="*/ 735121 w 761692"/>
                    <a:gd name="connsiteY78" fmla="*/ 552670 h 1016771"/>
                    <a:gd name="connsiteX79" fmla="*/ 735121 w 761692"/>
                    <a:gd name="connsiteY79" fmla="*/ 570384 h 1016771"/>
                    <a:gd name="connsiteX80" fmla="*/ 751064 w 761692"/>
                    <a:gd name="connsiteY80" fmla="*/ 581012 h 1016771"/>
                    <a:gd name="connsiteX81" fmla="*/ 761692 w 761692"/>
                    <a:gd name="connsiteY81" fmla="*/ 604040 h 1016771"/>
                    <a:gd name="connsiteX82" fmla="*/ 747521 w 761692"/>
                    <a:gd name="connsiteY82" fmla="*/ 616440 h 1016771"/>
                    <a:gd name="connsiteX83" fmla="*/ 728036 w 761692"/>
                    <a:gd name="connsiteY83" fmla="*/ 627068 h 1016771"/>
                    <a:gd name="connsiteX84" fmla="*/ 726264 w 761692"/>
                    <a:gd name="connsiteY84" fmla="*/ 650096 h 1016771"/>
                    <a:gd name="connsiteX85" fmla="*/ 728036 w 761692"/>
                    <a:gd name="connsiteY85" fmla="*/ 673124 h 1016771"/>
                    <a:gd name="connsiteX86" fmla="*/ 742207 w 761692"/>
                    <a:gd name="connsiteY86" fmla="*/ 689066 h 1016771"/>
                    <a:gd name="connsiteX87" fmla="*/ 742207 w 761692"/>
                    <a:gd name="connsiteY87" fmla="*/ 712094 h 1016771"/>
                    <a:gd name="connsiteX88" fmla="*/ 740435 w 761692"/>
                    <a:gd name="connsiteY88" fmla="*/ 735122 h 1016771"/>
                    <a:gd name="connsiteX89" fmla="*/ 742207 w 761692"/>
                    <a:gd name="connsiteY89" fmla="*/ 751065 h 1016771"/>
                    <a:gd name="connsiteX90" fmla="*/ 747521 w 761692"/>
                    <a:gd name="connsiteY90" fmla="*/ 768778 h 1016771"/>
                    <a:gd name="connsiteX91" fmla="*/ 759921 w 761692"/>
                    <a:gd name="connsiteY91" fmla="*/ 777635 h 1016771"/>
                    <a:gd name="connsiteX92" fmla="*/ 758149 w 761692"/>
                    <a:gd name="connsiteY92" fmla="*/ 802434 h 1016771"/>
                    <a:gd name="connsiteX93" fmla="*/ 752835 w 761692"/>
                    <a:gd name="connsiteY93" fmla="*/ 814834 h 1016771"/>
                    <a:gd name="connsiteX94" fmla="*/ 743978 w 761692"/>
                    <a:gd name="connsiteY94" fmla="*/ 827234 h 1016771"/>
                    <a:gd name="connsiteX95" fmla="*/ 743978 w 761692"/>
                    <a:gd name="connsiteY95" fmla="*/ 837862 h 1016771"/>
                    <a:gd name="connsiteX96" fmla="*/ 747521 w 761692"/>
                    <a:gd name="connsiteY96" fmla="*/ 853804 h 1016771"/>
                    <a:gd name="connsiteX97" fmla="*/ 733350 w 761692"/>
                    <a:gd name="connsiteY97" fmla="*/ 867975 h 1016771"/>
                    <a:gd name="connsiteX98" fmla="*/ 724493 w 761692"/>
                    <a:gd name="connsiteY98" fmla="*/ 880375 h 1016771"/>
                    <a:gd name="connsiteX99" fmla="*/ 722722 w 761692"/>
                    <a:gd name="connsiteY99" fmla="*/ 899860 h 1016771"/>
                    <a:gd name="connsiteX100" fmla="*/ 722722 w 761692"/>
                    <a:gd name="connsiteY100" fmla="*/ 919345 h 1016771"/>
                    <a:gd name="connsiteX101" fmla="*/ 715636 w 761692"/>
                    <a:gd name="connsiteY101" fmla="*/ 940602 h 1016771"/>
                    <a:gd name="connsiteX102" fmla="*/ 708551 w 761692"/>
                    <a:gd name="connsiteY102" fmla="*/ 954773 h 1016771"/>
                    <a:gd name="connsiteX103" fmla="*/ 699694 w 761692"/>
                    <a:gd name="connsiteY103" fmla="*/ 965401 h 1016771"/>
                    <a:gd name="connsiteX104" fmla="*/ 692608 w 761692"/>
                    <a:gd name="connsiteY104" fmla="*/ 984886 h 1016771"/>
                    <a:gd name="connsiteX105" fmla="*/ 683751 w 761692"/>
                    <a:gd name="connsiteY105" fmla="*/ 997286 h 1016771"/>
                    <a:gd name="connsiteX106" fmla="*/ 673123 w 761692"/>
                    <a:gd name="connsiteY106" fmla="*/ 1002600 h 1016771"/>
                    <a:gd name="connsiteX107" fmla="*/ 662495 w 761692"/>
                    <a:gd name="connsiteY107" fmla="*/ 1013228 h 1016771"/>
                    <a:gd name="connsiteX108" fmla="*/ 644781 w 761692"/>
                    <a:gd name="connsiteY108" fmla="*/ 1016771 h 1016771"/>
                    <a:gd name="connsiteX109" fmla="*/ 635924 w 761692"/>
                    <a:gd name="connsiteY109" fmla="*/ 1004372 h 1016771"/>
                    <a:gd name="connsiteX110" fmla="*/ 623525 w 761692"/>
                    <a:gd name="connsiteY110" fmla="*/ 997286 h 1016771"/>
                    <a:gd name="connsiteX111" fmla="*/ 614668 w 761692"/>
                    <a:gd name="connsiteY111" fmla="*/ 986658 h 1016771"/>
                    <a:gd name="connsiteX112" fmla="*/ 593411 w 761692"/>
                    <a:gd name="connsiteY112" fmla="*/ 970715 h 1016771"/>
                    <a:gd name="connsiteX113" fmla="*/ 582783 w 761692"/>
                    <a:gd name="connsiteY113" fmla="*/ 965401 h 1016771"/>
                    <a:gd name="connsiteX114" fmla="*/ 531413 w 761692"/>
                    <a:gd name="connsiteY114" fmla="*/ 965401 h 1016771"/>
                    <a:gd name="connsiteX115" fmla="*/ 511928 w 761692"/>
                    <a:gd name="connsiteY115" fmla="*/ 965401 h 1016771"/>
                    <a:gd name="connsiteX116" fmla="*/ 492443 w 761692"/>
                    <a:gd name="connsiteY116" fmla="*/ 963630 h 1016771"/>
                    <a:gd name="connsiteX117" fmla="*/ 483586 w 761692"/>
                    <a:gd name="connsiteY117" fmla="*/ 958316 h 1016771"/>
                    <a:gd name="connsiteX118" fmla="*/ 469415 w 761692"/>
                    <a:gd name="connsiteY118" fmla="*/ 954773 h 1016771"/>
                    <a:gd name="connsiteX119" fmla="*/ 460558 w 761692"/>
                    <a:gd name="connsiteY119" fmla="*/ 942373 h 1016771"/>
                    <a:gd name="connsiteX120" fmla="*/ 446387 w 761692"/>
                    <a:gd name="connsiteY120" fmla="*/ 935288 h 1016771"/>
                    <a:gd name="connsiteX121" fmla="*/ 428673 w 761692"/>
                    <a:gd name="connsiteY121" fmla="*/ 928202 h 1016771"/>
                    <a:gd name="connsiteX122" fmla="*/ 418045 w 761692"/>
                    <a:gd name="connsiteY122" fmla="*/ 917574 h 1016771"/>
                    <a:gd name="connsiteX123" fmla="*/ 421588 w 761692"/>
                    <a:gd name="connsiteY123" fmla="*/ 903403 h 1016771"/>
                    <a:gd name="connsiteX124" fmla="*/ 418045 w 761692"/>
                    <a:gd name="connsiteY124" fmla="*/ 898089 h 1016771"/>
                    <a:gd name="connsiteX125" fmla="*/ 396788 w 761692"/>
                    <a:gd name="connsiteY125" fmla="*/ 898089 h 1016771"/>
                    <a:gd name="connsiteX126" fmla="*/ 382617 w 761692"/>
                    <a:gd name="connsiteY126" fmla="*/ 896318 h 1016771"/>
                    <a:gd name="connsiteX127" fmla="*/ 380846 w 761692"/>
                    <a:gd name="connsiteY127" fmla="*/ 906946 h 1016771"/>
                    <a:gd name="connsiteX128" fmla="*/ 373601 w 761692"/>
                    <a:gd name="connsiteY128" fmla="*/ 894832 h 1016771"/>
                    <a:gd name="connsiteX129" fmla="*/ 387164 w 761692"/>
                    <a:gd name="connsiteY129" fmla="*/ 896527 h 1016771"/>
                    <a:gd name="connsiteX130" fmla="*/ 383773 w 761692"/>
                    <a:gd name="connsiteY130" fmla="*/ 886355 h 1016771"/>
                    <a:gd name="connsiteX131" fmla="*/ 387164 w 761692"/>
                    <a:gd name="connsiteY131" fmla="*/ 876183 h 1016771"/>
                    <a:gd name="connsiteX132" fmla="*/ 388859 w 761692"/>
                    <a:gd name="connsiteY132" fmla="*/ 867707 h 1016771"/>
                    <a:gd name="connsiteX133" fmla="*/ 380382 w 761692"/>
                    <a:gd name="connsiteY133" fmla="*/ 859230 h 1016771"/>
                    <a:gd name="connsiteX134" fmla="*/ 373601 w 761692"/>
                    <a:gd name="connsiteY134" fmla="*/ 849058 h 1016771"/>
                    <a:gd name="connsiteX135" fmla="*/ 380382 w 761692"/>
                    <a:gd name="connsiteY135" fmla="*/ 838886 h 1016771"/>
                    <a:gd name="connsiteX136" fmla="*/ 383773 w 761692"/>
                    <a:gd name="connsiteY136" fmla="*/ 833800 h 1016771"/>
                    <a:gd name="connsiteX137" fmla="*/ 388859 w 761692"/>
                    <a:gd name="connsiteY137" fmla="*/ 825324 h 1016771"/>
                    <a:gd name="connsiteX138" fmla="*/ 387164 w 761692"/>
                    <a:gd name="connsiteY138" fmla="*/ 810066 h 1016771"/>
                    <a:gd name="connsiteX139" fmla="*/ 387164 w 761692"/>
                    <a:gd name="connsiteY139" fmla="*/ 796503 h 1016771"/>
                    <a:gd name="connsiteX140" fmla="*/ 378687 w 761692"/>
                    <a:gd name="connsiteY140" fmla="*/ 789722 h 1016771"/>
                    <a:gd name="connsiteX141" fmla="*/ 366820 w 761692"/>
                    <a:gd name="connsiteY141" fmla="*/ 782940 h 1016771"/>
                    <a:gd name="connsiteX142" fmla="*/ 356648 w 761692"/>
                    <a:gd name="connsiteY142" fmla="*/ 781245 h 1016771"/>
                    <a:gd name="connsiteX143" fmla="*/ 349866 w 761692"/>
                    <a:gd name="connsiteY143" fmla="*/ 771073 h 1016771"/>
                    <a:gd name="connsiteX144" fmla="*/ 349866 w 761692"/>
                    <a:gd name="connsiteY144" fmla="*/ 752425 h 1016771"/>
                    <a:gd name="connsiteX145" fmla="*/ 353257 w 761692"/>
                    <a:gd name="connsiteY145" fmla="*/ 743948 h 1016771"/>
                    <a:gd name="connsiteX146" fmla="*/ 354952 w 761692"/>
                    <a:gd name="connsiteY146" fmla="*/ 730385 h 1016771"/>
                    <a:gd name="connsiteX147" fmla="*/ 353257 w 761692"/>
                    <a:gd name="connsiteY147" fmla="*/ 713432 h 1016771"/>
                    <a:gd name="connsiteX148" fmla="*/ 346476 w 761692"/>
                    <a:gd name="connsiteY148" fmla="*/ 701565 h 1016771"/>
                    <a:gd name="connsiteX149" fmla="*/ 332913 w 761692"/>
                    <a:gd name="connsiteY149" fmla="*/ 689697 h 1016771"/>
                    <a:gd name="connsiteX150" fmla="*/ 324436 w 761692"/>
                    <a:gd name="connsiteY150" fmla="*/ 681221 h 1016771"/>
                    <a:gd name="connsiteX151" fmla="*/ 314264 w 761692"/>
                    <a:gd name="connsiteY151" fmla="*/ 676135 h 1016771"/>
                    <a:gd name="connsiteX152" fmla="*/ 293920 w 761692"/>
                    <a:gd name="connsiteY152" fmla="*/ 669354 h 1016771"/>
                    <a:gd name="connsiteX153" fmla="*/ 282053 w 761692"/>
                    <a:gd name="connsiteY153" fmla="*/ 667658 h 1016771"/>
                    <a:gd name="connsiteX154" fmla="*/ 266795 w 761692"/>
                    <a:gd name="connsiteY154" fmla="*/ 672744 h 1016771"/>
                    <a:gd name="connsiteX155" fmla="*/ 265100 w 761692"/>
                    <a:gd name="connsiteY155" fmla="*/ 672744 h 1016771"/>
                    <a:gd name="connsiteX156" fmla="*/ 263404 w 761692"/>
                    <a:gd name="connsiteY156" fmla="*/ 671049 h 1016771"/>
                    <a:gd name="connsiteX157" fmla="*/ 260014 w 761692"/>
                    <a:gd name="connsiteY157" fmla="*/ 671049 h 1016771"/>
                    <a:gd name="connsiteX158" fmla="*/ 258318 w 761692"/>
                    <a:gd name="connsiteY158" fmla="*/ 671049 h 1016771"/>
                    <a:gd name="connsiteX159" fmla="*/ 253232 w 761692"/>
                    <a:gd name="connsiteY159" fmla="*/ 671049 h 1016771"/>
                    <a:gd name="connsiteX160" fmla="*/ 248146 w 761692"/>
                    <a:gd name="connsiteY160" fmla="*/ 672744 h 1016771"/>
                    <a:gd name="connsiteX161" fmla="*/ 248146 w 761692"/>
                    <a:gd name="connsiteY161" fmla="*/ 674440 h 1016771"/>
                    <a:gd name="connsiteX162" fmla="*/ 246451 w 761692"/>
                    <a:gd name="connsiteY162" fmla="*/ 674440 h 1016771"/>
                    <a:gd name="connsiteX163" fmla="*/ 236279 w 761692"/>
                    <a:gd name="connsiteY163" fmla="*/ 679526 h 1016771"/>
                    <a:gd name="connsiteX164" fmla="*/ 226107 w 761692"/>
                    <a:gd name="connsiteY164" fmla="*/ 684612 h 1016771"/>
                    <a:gd name="connsiteX165" fmla="*/ 217630 w 761692"/>
                    <a:gd name="connsiteY165" fmla="*/ 684612 h 1016771"/>
                    <a:gd name="connsiteX166" fmla="*/ 207458 w 761692"/>
                    <a:gd name="connsiteY166" fmla="*/ 693088 h 1016771"/>
                    <a:gd name="connsiteX167" fmla="*/ 198982 w 761692"/>
                    <a:gd name="connsiteY167" fmla="*/ 694783 h 1016771"/>
                    <a:gd name="connsiteX168" fmla="*/ 192200 w 761692"/>
                    <a:gd name="connsiteY168" fmla="*/ 699869 h 1016771"/>
                    <a:gd name="connsiteX169" fmla="*/ 178638 w 761692"/>
                    <a:gd name="connsiteY169" fmla="*/ 706651 h 1016771"/>
                    <a:gd name="connsiteX170" fmla="*/ 163380 w 761692"/>
                    <a:gd name="connsiteY170" fmla="*/ 710041 h 1016771"/>
                    <a:gd name="connsiteX171" fmla="*/ 141340 w 761692"/>
                    <a:gd name="connsiteY171" fmla="*/ 710041 h 1016771"/>
                    <a:gd name="connsiteX172" fmla="*/ 134559 w 761692"/>
                    <a:gd name="connsiteY172" fmla="*/ 716823 h 1016771"/>
                    <a:gd name="connsiteX173" fmla="*/ 127778 w 761692"/>
                    <a:gd name="connsiteY173" fmla="*/ 718518 h 1016771"/>
                    <a:gd name="connsiteX174" fmla="*/ 120996 w 761692"/>
                    <a:gd name="connsiteY174" fmla="*/ 725299 h 1016771"/>
                    <a:gd name="connsiteX175" fmla="*/ 111172 w 761692"/>
                    <a:gd name="connsiteY175" fmla="*/ 733720 h 1016771"/>
                    <a:gd name="connsiteX176" fmla="*/ 106283 w 761692"/>
                    <a:gd name="connsiteY176" fmla="*/ 729808 h 1016771"/>
                    <a:gd name="connsiteX177" fmla="*/ 92112 w 761692"/>
                    <a:gd name="connsiteY177" fmla="*/ 724494 h 1016771"/>
                    <a:gd name="connsiteX178" fmla="*/ 77941 w 761692"/>
                    <a:gd name="connsiteY178" fmla="*/ 726265 h 1016771"/>
                    <a:gd name="connsiteX179" fmla="*/ 70855 w 761692"/>
                    <a:gd name="connsiteY179" fmla="*/ 719180 h 1016771"/>
                    <a:gd name="connsiteX180" fmla="*/ 70855 w 761692"/>
                    <a:gd name="connsiteY180" fmla="*/ 699695 h 1016771"/>
                    <a:gd name="connsiteX181" fmla="*/ 81483 w 761692"/>
                    <a:gd name="connsiteY181" fmla="*/ 685524 h 1016771"/>
                    <a:gd name="connsiteX182" fmla="*/ 85026 w 761692"/>
                    <a:gd name="connsiteY182" fmla="*/ 673124 h 1016771"/>
                    <a:gd name="connsiteX183" fmla="*/ 86797 w 761692"/>
                    <a:gd name="connsiteY183" fmla="*/ 660724 h 1016771"/>
                    <a:gd name="connsiteX184" fmla="*/ 97426 w 761692"/>
                    <a:gd name="connsiteY184" fmla="*/ 650096 h 1016771"/>
                    <a:gd name="connsiteX185" fmla="*/ 102740 w 761692"/>
                    <a:gd name="connsiteY185" fmla="*/ 635925 h 1016771"/>
                    <a:gd name="connsiteX186" fmla="*/ 113368 w 761692"/>
                    <a:gd name="connsiteY186" fmla="*/ 625297 h 1016771"/>
                    <a:gd name="connsiteX187" fmla="*/ 115139 w 761692"/>
                    <a:gd name="connsiteY187" fmla="*/ 612897 h 1016771"/>
                    <a:gd name="connsiteX188" fmla="*/ 127539 w 761692"/>
                    <a:gd name="connsiteY188" fmla="*/ 609354 h 1016771"/>
                    <a:gd name="connsiteX189" fmla="*/ 136396 w 761692"/>
                    <a:gd name="connsiteY189" fmla="*/ 604040 h 1016771"/>
                    <a:gd name="connsiteX190" fmla="*/ 132853 w 761692"/>
                    <a:gd name="connsiteY190" fmla="*/ 593412 h 1016771"/>
                    <a:gd name="connsiteX191" fmla="*/ 134625 w 761692"/>
                    <a:gd name="connsiteY191" fmla="*/ 584555 h 1016771"/>
                    <a:gd name="connsiteX192" fmla="*/ 131082 w 761692"/>
                    <a:gd name="connsiteY192" fmla="*/ 575698 h 1016771"/>
                    <a:gd name="connsiteX193" fmla="*/ 120454 w 761692"/>
                    <a:gd name="connsiteY193" fmla="*/ 568613 h 1016771"/>
                    <a:gd name="connsiteX194" fmla="*/ 125768 w 761692"/>
                    <a:gd name="connsiteY194" fmla="*/ 552670 h 1016771"/>
                    <a:gd name="connsiteX195" fmla="*/ 118682 w 761692"/>
                    <a:gd name="connsiteY195" fmla="*/ 543813 h 1016771"/>
                    <a:gd name="connsiteX196" fmla="*/ 90340 w 761692"/>
                    <a:gd name="connsiteY196" fmla="*/ 543813 h 1016771"/>
                    <a:gd name="connsiteX197" fmla="*/ 86797 w 761692"/>
                    <a:gd name="connsiteY197" fmla="*/ 542042 h 1016771"/>
                    <a:gd name="connsiteX198" fmla="*/ 83255 w 761692"/>
                    <a:gd name="connsiteY198" fmla="*/ 542042 h 1016771"/>
                    <a:gd name="connsiteX199" fmla="*/ 81483 w 761692"/>
                    <a:gd name="connsiteY199" fmla="*/ 540271 h 1016771"/>
                    <a:gd name="connsiteX200" fmla="*/ 81483 w 761692"/>
                    <a:gd name="connsiteY200" fmla="*/ 536728 h 1016771"/>
                    <a:gd name="connsiteX201" fmla="*/ 79712 w 761692"/>
                    <a:gd name="connsiteY201" fmla="*/ 531414 h 1016771"/>
                    <a:gd name="connsiteX202" fmla="*/ 77941 w 761692"/>
                    <a:gd name="connsiteY202" fmla="*/ 529642 h 1016771"/>
                    <a:gd name="connsiteX203" fmla="*/ 70855 w 761692"/>
                    <a:gd name="connsiteY203" fmla="*/ 527871 h 1016771"/>
                    <a:gd name="connsiteX204" fmla="*/ 60227 w 761692"/>
                    <a:gd name="connsiteY204" fmla="*/ 536728 h 1016771"/>
                    <a:gd name="connsiteX205" fmla="*/ 47827 w 761692"/>
                    <a:gd name="connsiteY205" fmla="*/ 526100 h 1016771"/>
                    <a:gd name="connsiteX206" fmla="*/ 42513 w 761692"/>
                    <a:gd name="connsiteY206" fmla="*/ 515471 h 1016771"/>
                    <a:gd name="connsiteX207" fmla="*/ 33656 w 761692"/>
                    <a:gd name="connsiteY207" fmla="*/ 506614 h 1016771"/>
                    <a:gd name="connsiteX208" fmla="*/ 31885 w 761692"/>
                    <a:gd name="connsiteY208" fmla="*/ 490672 h 1016771"/>
                    <a:gd name="connsiteX209" fmla="*/ 26571 w 761692"/>
                    <a:gd name="connsiteY209" fmla="*/ 476501 h 1016771"/>
                    <a:gd name="connsiteX210" fmla="*/ 24799 w 761692"/>
                    <a:gd name="connsiteY210" fmla="*/ 471187 h 1016771"/>
                    <a:gd name="connsiteX211" fmla="*/ 12400 w 761692"/>
                    <a:gd name="connsiteY211" fmla="*/ 472958 h 1016771"/>
                    <a:gd name="connsiteX212" fmla="*/ 7086 w 761692"/>
                    <a:gd name="connsiteY212" fmla="*/ 464101 h 1016771"/>
                    <a:gd name="connsiteX213" fmla="*/ 8857 w 761692"/>
                    <a:gd name="connsiteY213" fmla="*/ 446388 h 1016771"/>
                    <a:gd name="connsiteX214" fmla="*/ 3543 w 761692"/>
                    <a:gd name="connsiteY214" fmla="*/ 435759 h 1016771"/>
                    <a:gd name="connsiteX215" fmla="*/ 5314 w 761692"/>
                    <a:gd name="connsiteY215" fmla="*/ 412731 h 1016771"/>
                    <a:gd name="connsiteX216" fmla="*/ 0 w 761692"/>
                    <a:gd name="connsiteY216" fmla="*/ 396789 h 1016771"/>
                    <a:gd name="connsiteX217" fmla="*/ 3543 w 761692"/>
                    <a:gd name="connsiteY217" fmla="*/ 384389 h 1016771"/>
                    <a:gd name="connsiteX218" fmla="*/ 14171 w 761692"/>
                    <a:gd name="connsiteY218" fmla="*/ 380846 h 1016771"/>
                    <a:gd name="connsiteX219" fmla="*/ 24799 w 761692"/>
                    <a:gd name="connsiteY219" fmla="*/ 364904 h 1016771"/>
                    <a:gd name="connsiteX220" fmla="*/ 30113 w 761692"/>
                    <a:gd name="connsiteY220" fmla="*/ 350733 h 1016771"/>
                    <a:gd name="connsiteX221" fmla="*/ 35428 w 761692"/>
                    <a:gd name="connsiteY221" fmla="*/ 341876 h 1016771"/>
                    <a:gd name="connsiteX222" fmla="*/ 42513 w 761692"/>
                    <a:gd name="connsiteY222" fmla="*/ 327705 h 1016771"/>
                    <a:gd name="connsiteX223" fmla="*/ 42513 w 761692"/>
                    <a:gd name="connsiteY223" fmla="*/ 315305 h 1016771"/>
                    <a:gd name="connsiteX224" fmla="*/ 56684 w 761692"/>
                    <a:gd name="connsiteY224" fmla="*/ 309991 h 1016771"/>
                    <a:gd name="connsiteX225" fmla="*/ 60227 w 761692"/>
                    <a:gd name="connsiteY225" fmla="*/ 309991 h 1016771"/>
                    <a:gd name="connsiteX226" fmla="*/ 61998 w 761692"/>
                    <a:gd name="connsiteY226" fmla="*/ 311763 h 1016771"/>
                    <a:gd name="connsiteX227" fmla="*/ 67312 w 761692"/>
                    <a:gd name="connsiteY227" fmla="*/ 311763 h 1016771"/>
                    <a:gd name="connsiteX228" fmla="*/ 67312 w 761692"/>
                    <a:gd name="connsiteY228" fmla="*/ 309991 h 1016771"/>
                    <a:gd name="connsiteX229" fmla="*/ 67312 w 761692"/>
                    <a:gd name="connsiteY229" fmla="*/ 308220 h 1016771"/>
                    <a:gd name="connsiteX230" fmla="*/ 69084 w 761692"/>
                    <a:gd name="connsiteY230" fmla="*/ 302906 h 1016771"/>
                    <a:gd name="connsiteX231" fmla="*/ 70855 w 761692"/>
                    <a:gd name="connsiteY231" fmla="*/ 301134 h 1016771"/>
                    <a:gd name="connsiteX232" fmla="*/ 70855 w 761692"/>
                    <a:gd name="connsiteY232" fmla="*/ 299363 h 1016771"/>
                    <a:gd name="connsiteX233" fmla="*/ 77941 w 761692"/>
                    <a:gd name="connsiteY233" fmla="*/ 295820 h 1016771"/>
                    <a:gd name="connsiteX234" fmla="*/ 85026 w 761692"/>
                    <a:gd name="connsiteY234" fmla="*/ 295820 h 1016771"/>
                    <a:gd name="connsiteX235" fmla="*/ 93883 w 761692"/>
                    <a:gd name="connsiteY235" fmla="*/ 297592 h 1016771"/>
                    <a:gd name="connsiteX236" fmla="*/ 100968 w 761692"/>
                    <a:gd name="connsiteY236" fmla="*/ 288735 h 1016771"/>
                    <a:gd name="connsiteX237" fmla="*/ 97426 w 761692"/>
                    <a:gd name="connsiteY237" fmla="*/ 279878 h 1016771"/>
                    <a:gd name="connsiteX238" fmla="*/ 85026 w 761692"/>
                    <a:gd name="connsiteY238" fmla="*/ 276335 h 1016771"/>
                    <a:gd name="connsiteX239" fmla="*/ 76169 w 761692"/>
                    <a:gd name="connsiteY239" fmla="*/ 271021 h 1016771"/>
                    <a:gd name="connsiteX240" fmla="*/ 76169 w 761692"/>
                    <a:gd name="connsiteY240" fmla="*/ 262164 h 1016771"/>
                    <a:gd name="connsiteX241" fmla="*/ 81483 w 761692"/>
                    <a:gd name="connsiteY241" fmla="*/ 251536 h 1016771"/>
                    <a:gd name="connsiteX242" fmla="*/ 86797 w 761692"/>
                    <a:gd name="connsiteY242" fmla="*/ 255079 h 1016771"/>
                    <a:gd name="connsiteX243" fmla="*/ 104511 w 761692"/>
                    <a:gd name="connsiteY243" fmla="*/ 262164 h 1016771"/>
                    <a:gd name="connsiteX244" fmla="*/ 116911 w 761692"/>
                    <a:gd name="connsiteY244" fmla="*/ 265707 h 1016771"/>
                    <a:gd name="connsiteX245" fmla="*/ 132853 w 761692"/>
                    <a:gd name="connsiteY245" fmla="*/ 269250 h 1016771"/>
                    <a:gd name="connsiteX246" fmla="*/ 138167 w 761692"/>
                    <a:gd name="connsiteY246" fmla="*/ 265707 h 1016771"/>
                    <a:gd name="connsiteX247" fmla="*/ 150567 w 761692"/>
                    <a:gd name="connsiteY247" fmla="*/ 255079 h 1016771"/>
                    <a:gd name="connsiteX248" fmla="*/ 166509 w 761692"/>
                    <a:gd name="connsiteY248" fmla="*/ 255079 h 1016771"/>
                    <a:gd name="connsiteX249" fmla="*/ 166509 w 761692"/>
                    <a:gd name="connsiteY249" fmla="*/ 265707 h 1016771"/>
                    <a:gd name="connsiteX250" fmla="*/ 177138 w 761692"/>
                    <a:gd name="connsiteY250" fmla="*/ 272792 h 1016771"/>
                    <a:gd name="connsiteX251" fmla="*/ 194851 w 761692"/>
                    <a:gd name="connsiteY251" fmla="*/ 276335 h 1016771"/>
                    <a:gd name="connsiteX252" fmla="*/ 209022 w 761692"/>
                    <a:gd name="connsiteY252" fmla="*/ 279878 h 1016771"/>
                    <a:gd name="connsiteX253" fmla="*/ 221422 w 761692"/>
                    <a:gd name="connsiteY253" fmla="*/ 276335 h 1016771"/>
                    <a:gd name="connsiteX254" fmla="*/ 226736 w 761692"/>
                    <a:gd name="connsiteY254" fmla="*/ 269250 h 1016771"/>
                    <a:gd name="connsiteX255" fmla="*/ 226736 w 761692"/>
                    <a:gd name="connsiteY255" fmla="*/ 251536 h 1016771"/>
                    <a:gd name="connsiteX256" fmla="*/ 224965 w 761692"/>
                    <a:gd name="connsiteY256" fmla="*/ 239136 h 1016771"/>
                    <a:gd name="connsiteX257" fmla="*/ 214337 w 761692"/>
                    <a:gd name="connsiteY257" fmla="*/ 230279 h 1016771"/>
                    <a:gd name="connsiteX258" fmla="*/ 210794 w 761692"/>
                    <a:gd name="connsiteY258" fmla="*/ 217880 h 1016771"/>
                    <a:gd name="connsiteX259" fmla="*/ 221422 w 761692"/>
                    <a:gd name="connsiteY259" fmla="*/ 207251 h 1016771"/>
                    <a:gd name="connsiteX260" fmla="*/ 235593 w 761692"/>
                    <a:gd name="connsiteY260" fmla="*/ 214337 h 1016771"/>
                    <a:gd name="connsiteX261" fmla="*/ 246221 w 761692"/>
                    <a:gd name="connsiteY261" fmla="*/ 219651 h 1016771"/>
                    <a:gd name="connsiteX262" fmla="*/ 253307 w 761692"/>
                    <a:gd name="connsiteY262" fmla="*/ 221422 h 1016771"/>
                    <a:gd name="connsiteX263" fmla="*/ 262164 w 761692"/>
                    <a:gd name="connsiteY263" fmla="*/ 210794 h 1016771"/>
                    <a:gd name="connsiteX264" fmla="*/ 263935 w 761692"/>
                    <a:gd name="connsiteY264" fmla="*/ 201937 h 1016771"/>
                    <a:gd name="connsiteX265" fmla="*/ 274563 w 761692"/>
                    <a:gd name="connsiteY265" fmla="*/ 189538 h 1016771"/>
                    <a:gd name="connsiteX266" fmla="*/ 283420 w 761692"/>
                    <a:gd name="connsiteY266" fmla="*/ 178909 h 1016771"/>
                    <a:gd name="connsiteX267" fmla="*/ 286963 w 761692"/>
                    <a:gd name="connsiteY267" fmla="*/ 173595 h 1016771"/>
                    <a:gd name="connsiteX268" fmla="*/ 311762 w 761692"/>
                    <a:gd name="connsiteY268" fmla="*/ 168281 h 1016771"/>
                    <a:gd name="connsiteX269" fmla="*/ 325933 w 761692"/>
                    <a:gd name="connsiteY269" fmla="*/ 164738 h 1016771"/>
                    <a:gd name="connsiteX270" fmla="*/ 336562 w 761692"/>
                    <a:gd name="connsiteY270" fmla="*/ 159424 h 1016771"/>
                    <a:gd name="connsiteX271" fmla="*/ 348961 w 761692"/>
                    <a:gd name="connsiteY271" fmla="*/ 145253 h 1016771"/>
                    <a:gd name="connsiteX272" fmla="*/ 359589 w 761692"/>
                    <a:gd name="connsiteY272" fmla="*/ 143482 h 1016771"/>
                    <a:gd name="connsiteX273" fmla="*/ 371989 w 761692"/>
                    <a:gd name="connsiteY273" fmla="*/ 143482 h 1016771"/>
                    <a:gd name="connsiteX274" fmla="*/ 391474 w 761692"/>
                    <a:gd name="connsiteY274" fmla="*/ 143482 h 1016771"/>
                    <a:gd name="connsiteX275" fmla="*/ 396788 w 761692"/>
                    <a:gd name="connsiteY275" fmla="*/ 141710 h 1016771"/>
                    <a:gd name="connsiteX276" fmla="*/ 403874 w 761692"/>
                    <a:gd name="connsiteY276" fmla="*/ 134625 h 1016771"/>
                    <a:gd name="connsiteX277" fmla="*/ 409188 w 761692"/>
                    <a:gd name="connsiteY277" fmla="*/ 129311 h 1016771"/>
                    <a:gd name="connsiteX278" fmla="*/ 409188 w 761692"/>
                    <a:gd name="connsiteY278" fmla="*/ 123997 h 1016771"/>
                    <a:gd name="connsiteX279" fmla="*/ 414502 w 761692"/>
                    <a:gd name="connsiteY279" fmla="*/ 115140 h 1016771"/>
                    <a:gd name="connsiteX280" fmla="*/ 428673 w 761692"/>
                    <a:gd name="connsiteY280" fmla="*/ 115140 h 1016771"/>
                    <a:gd name="connsiteX281" fmla="*/ 432216 w 761692"/>
                    <a:gd name="connsiteY281" fmla="*/ 109826 h 1016771"/>
                    <a:gd name="connsiteX282" fmla="*/ 437530 w 761692"/>
                    <a:gd name="connsiteY282" fmla="*/ 100969 h 1016771"/>
                    <a:gd name="connsiteX283" fmla="*/ 448158 w 761692"/>
                    <a:gd name="connsiteY283" fmla="*/ 99197 h 1016771"/>
                    <a:gd name="connsiteX284" fmla="*/ 460558 w 761692"/>
                    <a:gd name="connsiteY284" fmla="*/ 97426 h 1016771"/>
                    <a:gd name="connsiteX285" fmla="*/ 472958 w 761692"/>
                    <a:gd name="connsiteY285" fmla="*/ 93883 h 1016771"/>
                    <a:gd name="connsiteX286" fmla="*/ 492443 w 761692"/>
                    <a:gd name="connsiteY286" fmla="*/ 93883 h 1016771"/>
                    <a:gd name="connsiteX287" fmla="*/ 501300 w 761692"/>
                    <a:gd name="connsiteY287" fmla="*/ 83255 h 1016771"/>
                    <a:gd name="connsiteX288" fmla="*/ 517242 w 761692"/>
                    <a:gd name="connsiteY288" fmla="*/ 81484 h 1016771"/>
                    <a:gd name="connsiteX289" fmla="*/ 522556 w 761692"/>
                    <a:gd name="connsiteY289" fmla="*/ 81484 h 1016771"/>
                    <a:gd name="connsiteX290" fmla="*/ 522556 w 761692"/>
                    <a:gd name="connsiteY290" fmla="*/ 60227 h 1016771"/>
                    <a:gd name="connsiteX291" fmla="*/ 526099 w 761692"/>
                    <a:gd name="connsiteY291" fmla="*/ 54913 h 1016771"/>
                    <a:gd name="connsiteX292" fmla="*/ 529642 w 761692"/>
                    <a:gd name="connsiteY292" fmla="*/ 46056 h 1016771"/>
                    <a:gd name="connsiteX293" fmla="*/ 538499 w 761692"/>
                    <a:gd name="connsiteY293" fmla="*/ 40742 h 1016771"/>
                    <a:gd name="connsiteX294" fmla="*/ 540270 w 761692"/>
                    <a:gd name="connsiteY294" fmla="*/ 30114 h 1016771"/>
                    <a:gd name="connsiteX295" fmla="*/ 536727 w 761692"/>
                    <a:gd name="connsiteY295" fmla="*/ 19485 h 1016771"/>
                    <a:gd name="connsiteX296" fmla="*/ 543813 w 761692"/>
                    <a:gd name="connsiteY296" fmla="*/ 5314 h 1016771"/>
                    <a:gd name="connsiteX297" fmla="*/ 554441 w 761692"/>
                    <a:gd name="connsiteY297" fmla="*/ 0 h 1016771"/>
                    <a:gd name="connsiteX0" fmla="*/ 141340 w 761692"/>
                    <a:gd name="connsiteY0" fmla="*/ 849058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41340 w 761692"/>
                    <a:gd name="connsiteY6" fmla="*/ 849058 h 1016771"/>
                    <a:gd name="connsiteX7" fmla="*/ 116476 w 761692"/>
                    <a:gd name="connsiteY7" fmla="*/ 741349 h 1016771"/>
                    <a:gd name="connsiteX8" fmla="*/ 117606 w 761692"/>
                    <a:gd name="connsiteY8" fmla="*/ 742253 h 1016771"/>
                    <a:gd name="connsiteX9" fmla="*/ 122692 w 761692"/>
                    <a:gd name="connsiteY9" fmla="*/ 759206 h 1016771"/>
                    <a:gd name="connsiteX10" fmla="*/ 126082 w 761692"/>
                    <a:gd name="connsiteY10" fmla="*/ 771073 h 1016771"/>
                    <a:gd name="connsiteX11" fmla="*/ 129473 w 761692"/>
                    <a:gd name="connsiteY11" fmla="*/ 782940 h 1016771"/>
                    <a:gd name="connsiteX12" fmla="*/ 132864 w 761692"/>
                    <a:gd name="connsiteY12" fmla="*/ 793112 h 1016771"/>
                    <a:gd name="connsiteX13" fmla="*/ 136254 w 761692"/>
                    <a:gd name="connsiteY13" fmla="*/ 810066 h 1016771"/>
                    <a:gd name="connsiteX14" fmla="*/ 139058 w 761692"/>
                    <a:gd name="connsiteY14" fmla="*/ 818476 h 1016771"/>
                    <a:gd name="connsiteX15" fmla="*/ 138167 w 761692"/>
                    <a:gd name="connsiteY15" fmla="*/ 818377 h 1016771"/>
                    <a:gd name="connsiteX16" fmla="*/ 134625 w 761692"/>
                    <a:gd name="connsiteY16" fmla="*/ 807749 h 1016771"/>
                    <a:gd name="connsiteX17" fmla="*/ 131082 w 761692"/>
                    <a:gd name="connsiteY17" fmla="*/ 790035 h 1016771"/>
                    <a:gd name="connsiteX18" fmla="*/ 127539 w 761692"/>
                    <a:gd name="connsiteY18" fmla="*/ 779407 h 1016771"/>
                    <a:gd name="connsiteX19" fmla="*/ 123996 w 761692"/>
                    <a:gd name="connsiteY19" fmla="*/ 767007 h 1016771"/>
                    <a:gd name="connsiteX20" fmla="*/ 120454 w 761692"/>
                    <a:gd name="connsiteY20" fmla="*/ 754607 h 1016771"/>
                    <a:gd name="connsiteX21" fmla="*/ 116476 w 761692"/>
                    <a:gd name="connsiteY21" fmla="*/ 741349 h 1016771"/>
                    <a:gd name="connsiteX22" fmla="*/ 554441 w 761692"/>
                    <a:gd name="connsiteY22" fmla="*/ 0 h 1016771"/>
                    <a:gd name="connsiteX23" fmla="*/ 570383 w 761692"/>
                    <a:gd name="connsiteY23" fmla="*/ 3543 h 1016771"/>
                    <a:gd name="connsiteX24" fmla="*/ 577469 w 761692"/>
                    <a:gd name="connsiteY24" fmla="*/ 8857 h 1016771"/>
                    <a:gd name="connsiteX25" fmla="*/ 582783 w 761692"/>
                    <a:gd name="connsiteY25" fmla="*/ 17714 h 1016771"/>
                    <a:gd name="connsiteX26" fmla="*/ 582783 w 761692"/>
                    <a:gd name="connsiteY26" fmla="*/ 24799 h 1016771"/>
                    <a:gd name="connsiteX27" fmla="*/ 588097 w 761692"/>
                    <a:gd name="connsiteY27" fmla="*/ 33656 h 1016771"/>
                    <a:gd name="connsiteX28" fmla="*/ 598725 w 761692"/>
                    <a:gd name="connsiteY28" fmla="*/ 31885 h 1016771"/>
                    <a:gd name="connsiteX29" fmla="*/ 612896 w 761692"/>
                    <a:gd name="connsiteY29" fmla="*/ 37199 h 1016771"/>
                    <a:gd name="connsiteX30" fmla="*/ 618211 w 761692"/>
                    <a:gd name="connsiteY30" fmla="*/ 46056 h 1016771"/>
                    <a:gd name="connsiteX31" fmla="*/ 619982 w 761692"/>
                    <a:gd name="connsiteY31" fmla="*/ 54913 h 1016771"/>
                    <a:gd name="connsiteX32" fmla="*/ 618211 w 761692"/>
                    <a:gd name="connsiteY32" fmla="*/ 74398 h 1016771"/>
                    <a:gd name="connsiteX33" fmla="*/ 616439 w 761692"/>
                    <a:gd name="connsiteY33" fmla="*/ 85026 h 1016771"/>
                    <a:gd name="connsiteX34" fmla="*/ 621753 w 761692"/>
                    <a:gd name="connsiteY34" fmla="*/ 97426 h 1016771"/>
                    <a:gd name="connsiteX35" fmla="*/ 637696 w 761692"/>
                    <a:gd name="connsiteY35" fmla="*/ 113368 h 1016771"/>
                    <a:gd name="connsiteX36" fmla="*/ 644781 w 761692"/>
                    <a:gd name="connsiteY36" fmla="*/ 120454 h 1016771"/>
                    <a:gd name="connsiteX37" fmla="*/ 650095 w 761692"/>
                    <a:gd name="connsiteY37" fmla="*/ 136396 h 1016771"/>
                    <a:gd name="connsiteX38" fmla="*/ 655409 w 761692"/>
                    <a:gd name="connsiteY38" fmla="*/ 155881 h 1016771"/>
                    <a:gd name="connsiteX39" fmla="*/ 662495 w 761692"/>
                    <a:gd name="connsiteY39" fmla="*/ 171824 h 1016771"/>
                    <a:gd name="connsiteX40" fmla="*/ 660724 w 761692"/>
                    <a:gd name="connsiteY40" fmla="*/ 185995 h 1016771"/>
                    <a:gd name="connsiteX41" fmla="*/ 635924 w 761692"/>
                    <a:gd name="connsiteY41" fmla="*/ 194852 h 1016771"/>
                    <a:gd name="connsiteX42" fmla="*/ 619982 w 761692"/>
                    <a:gd name="connsiteY42" fmla="*/ 207251 h 1016771"/>
                    <a:gd name="connsiteX43" fmla="*/ 614668 w 761692"/>
                    <a:gd name="connsiteY43" fmla="*/ 223194 h 1016771"/>
                    <a:gd name="connsiteX44" fmla="*/ 618211 w 761692"/>
                    <a:gd name="connsiteY44" fmla="*/ 242679 h 1016771"/>
                    <a:gd name="connsiteX45" fmla="*/ 612896 w 761692"/>
                    <a:gd name="connsiteY45" fmla="*/ 256850 h 1016771"/>
                    <a:gd name="connsiteX46" fmla="*/ 625296 w 761692"/>
                    <a:gd name="connsiteY46" fmla="*/ 267478 h 1016771"/>
                    <a:gd name="connsiteX47" fmla="*/ 641238 w 761692"/>
                    <a:gd name="connsiteY47" fmla="*/ 269250 h 1016771"/>
                    <a:gd name="connsiteX48" fmla="*/ 658952 w 761692"/>
                    <a:gd name="connsiteY48" fmla="*/ 286963 h 1016771"/>
                    <a:gd name="connsiteX49" fmla="*/ 653638 w 761692"/>
                    <a:gd name="connsiteY49" fmla="*/ 309991 h 1016771"/>
                    <a:gd name="connsiteX50" fmla="*/ 653638 w 761692"/>
                    <a:gd name="connsiteY50" fmla="*/ 329476 h 1016771"/>
                    <a:gd name="connsiteX51" fmla="*/ 643010 w 761692"/>
                    <a:gd name="connsiteY51" fmla="*/ 338333 h 1016771"/>
                    <a:gd name="connsiteX52" fmla="*/ 632382 w 761692"/>
                    <a:gd name="connsiteY52" fmla="*/ 338333 h 1016771"/>
                    <a:gd name="connsiteX53" fmla="*/ 618211 w 761692"/>
                    <a:gd name="connsiteY53" fmla="*/ 357819 h 1016771"/>
                    <a:gd name="connsiteX54" fmla="*/ 609354 w 761692"/>
                    <a:gd name="connsiteY54" fmla="*/ 361361 h 1016771"/>
                    <a:gd name="connsiteX55" fmla="*/ 596954 w 761692"/>
                    <a:gd name="connsiteY55" fmla="*/ 363133 h 1016771"/>
                    <a:gd name="connsiteX56" fmla="*/ 581012 w 761692"/>
                    <a:gd name="connsiteY56" fmla="*/ 379075 h 1016771"/>
                    <a:gd name="connsiteX57" fmla="*/ 589868 w 761692"/>
                    <a:gd name="connsiteY57" fmla="*/ 393246 h 1016771"/>
                    <a:gd name="connsiteX58" fmla="*/ 586326 w 761692"/>
                    <a:gd name="connsiteY58" fmla="*/ 409189 h 1016771"/>
                    <a:gd name="connsiteX59" fmla="*/ 570383 w 761692"/>
                    <a:gd name="connsiteY59" fmla="*/ 398560 h 1016771"/>
                    <a:gd name="connsiteX60" fmla="*/ 550898 w 761692"/>
                    <a:gd name="connsiteY60" fmla="*/ 405646 h 1016771"/>
                    <a:gd name="connsiteX61" fmla="*/ 531413 w 761692"/>
                    <a:gd name="connsiteY61" fmla="*/ 425131 h 1016771"/>
                    <a:gd name="connsiteX62" fmla="*/ 543813 w 761692"/>
                    <a:gd name="connsiteY62" fmla="*/ 444616 h 1016771"/>
                    <a:gd name="connsiteX63" fmla="*/ 557984 w 761692"/>
                    <a:gd name="connsiteY63" fmla="*/ 462330 h 1016771"/>
                    <a:gd name="connsiteX64" fmla="*/ 570383 w 761692"/>
                    <a:gd name="connsiteY64" fmla="*/ 478272 h 1016771"/>
                    <a:gd name="connsiteX65" fmla="*/ 579240 w 761692"/>
                    <a:gd name="connsiteY65" fmla="*/ 485358 h 1016771"/>
                    <a:gd name="connsiteX66" fmla="*/ 602268 w 761692"/>
                    <a:gd name="connsiteY66" fmla="*/ 483586 h 1016771"/>
                    <a:gd name="connsiteX67" fmla="*/ 623525 w 761692"/>
                    <a:gd name="connsiteY67" fmla="*/ 474730 h 1016771"/>
                    <a:gd name="connsiteX68" fmla="*/ 639467 w 761692"/>
                    <a:gd name="connsiteY68" fmla="*/ 464101 h 1016771"/>
                    <a:gd name="connsiteX69" fmla="*/ 662495 w 761692"/>
                    <a:gd name="connsiteY69" fmla="*/ 464101 h 1016771"/>
                    <a:gd name="connsiteX70" fmla="*/ 673123 w 761692"/>
                    <a:gd name="connsiteY70" fmla="*/ 464101 h 1016771"/>
                    <a:gd name="connsiteX71" fmla="*/ 681980 w 761692"/>
                    <a:gd name="connsiteY71" fmla="*/ 467644 h 1016771"/>
                    <a:gd name="connsiteX72" fmla="*/ 703237 w 761692"/>
                    <a:gd name="connsiteY72" fmla="*/ 471187 h 1016771"/>
                    <a:gd name="connsiteX73" fmla="*/ 708551 w 761692"/>
                    <a:gd name="connsiteY73" fmla="*/ 474730 h 1016771"/>
                    <a:gd name="connsiteX74" fmla="*/ 722722 w 761692"/>
                    <a:gd name="connsiteY74" fmla="*/ 501300 h 1016771"/>
                    <a:gd name="connsiteX75" fmla="*/ 724493 w 761692"/>
                    <a:gd name="connsiteY75" fmla="*/ 522557 h 1016771"/>
                    <a:gd name="connsiteX76" fmla="*/ 722722 w 761692"/>
                    <a:gd name="connsiteY76" fmla="*/ 540271 h 1016771"/>
                    <a:gd name="connsiteX77" fmla="*/ 735121 w 761692"/>
                    <a:gd name="connsiteY77" fmla="*/ 552670 h 1016771"/>
                    <a:gd name="connsiteX78" fmla="*/ 735121 w 761692"/>
                    <a:gd name="connsiteY78" fmla="*/ 570384 h 1016771"/>
                    <a:gd name="connsiteX79" fmla="*/ 751064 w 761692"/>
                    <a:gd name="connsiteY79" fmla="*/ 581012 h 1016771"/>
                    <a:gd name="connsiteX80" fmla="*/ 761692 w 761692"/>
                    <a:gd name="connsiteY80" fmla="*/ 604040 h 1016771"/>
                    <a:gd name="connsiteX81" fmla="*/ 747521 w 761692"/>
                    <a:gd name="connsiteY81" fmla="*/ 616440 h 1016771"/>
                    <a:gd name="connsiteX82" fmla="*/ 728036 w 761692"/>
                    <a:gd name="connsiteY82" fmla="*/ 627068 h 1016771"/>
                    <a:gd name="connsiteX83" fmla="*/ 726264 w 761692"/>
                    <a:gd name="connsiteY83" fmla="*/ 650096 h 1016771"/>
                    <a:gd name="connsiteX84" fmla="*/ 728036 w 761692"/>
                    <a:gd name="connsiteY84" fmla="*/ 673124 h 1016771"/>
                    <a:gd name="connsiteX85" fmla="*/ 742207 w 761692"/>
                    <a:gd name="connsiteY85" fmla="*/ 689066 h 1016771"/>
                    <a:gd name="connsiteX86" fmla="*/ 742207 w 761692"/>
                    <a:gd name="connsiteY86" fmla="*/ 712094 h 1016771"/>
                    <a:gd name="connsiteX87" fmla="*/ 740435 w 761692"/>
                    <a:gd name="connsiteY87" fmla="*/ 735122 h 1016771"/>
                    <a:gd name="connsiteX88" fmla="*/ 742207 w 761692"/>
                    <a:gd name="connsiteY88" fmla="*/ 751065 h 1016771"/>
                    <a:gd name="connsiteX89" fmla="*/ 747521 w 761692"/>
                    <a:gd name="connsiteY89" fmla="*/ 768778 h 1016771"/>
                    <a:gd name="connsiteX90" fmla="*/ 759921 w 761692"/>
                    <a:gd name="connsiteY90" fmla="*/ 777635 h 1016771"/>
                    <a:gd name="connsiteX91" fmla="*/ 758149 w 761692"/>
                    <a:gd name="connsiteY91" fmla="*/ 802434 h 1016771"/>
                    <a:gd name="connsiteX92" fmla="*/ 752835 w 761692"/>
                    <a:gd name="connsiteY92" fmla="*/ 814834 h 1016771"/>
                    <a:gd name="connsiteX93" fmla="*/ 743978 w 761692"/>
                    <a:gd name="connsiteY93" fmla="*/ 827234 h 1016771"/>
                    <a:gd name="connsiteX94" fmla="*/ 743978 w 761692"/>
                    <a:gd name="connsiteY94" fmla="*/ 837862 h 1016771"/>
                    <a:gd name="connsiteX95" fmla="*/ 747521 w 761692"/>
                    <a:gd name="connsiteY95" fmla="*/ 853804 h 1016771"/>
                    <a:gd name="connsiteX96" fmla="*/ 733350 w 761692"/>
                    <a:gd name="connsiteY96" fmla="*/ 867975 h 1016771"/>
                    <a:gd name="connsiteX97" fmla="*/ 724493 w 761692"/>
                    <a:gd name="connsiteY97" fmla="*/ 880375 h 1016771"/>
                    <a:gd name="connsiteX98" fmla="*/ 722722 w 761692"/>
                    <a:gd name="connsiteY98" fmla="*/ 899860 h 1016771"/>
                    <a:gd name="connsiteX99" fmla="*/ 722722 w 761692"/>
                    <a:gd name="connsiteY99" fmla="*/ 919345 h 1016771"/>
                    <a:gd name="connsiteX100" fmla="*/ 715636 w 761692"/>
                    <a:gd name="connsiteY100" fmla="*/ 940602 h 1016771"/>
                    <a:gd name="connsiteX101" fmla="*/ 708551 w 761692"/>
                    <a:gd name="connsiteY101" fmla="*/ 954773 h 1016771"/>
                    <a:gd name="connsiteX102" fmla="*/ 699694 w 761692"/>
                    <a:gd name="connsiteY102" fmla="*/ 965401 h 1016771"/>
                    <a:gd name="connsiteX103" fmla="*/ 692608 w 761692"/>
                    <a:gd name="connsiteY103" fmla="*/ 984886 h 1016771"/>
                    <a:gd name="connsiteX104" fmla="*/ 683751 w 761692"/>
                    <a:gd name="connsiteY104" fmla="*/ 997286 h 1016771"/>
                    <a:gd name="connsiteX105" fmla="*/ 673123 w 761692"/>
                    <a:gd name="connsiteY105" fmla="*/ 1002600 h 1016771"/>
                    <a:gd name="connsiteX106" fmla="*/ 662495 w 761692"/>
                    <a:gd name="connsiteY106" fmla="*/ 1013228 h 1016771"/>
                    <a:gd name="connsiteX107" fmla="*/ 644781 w 761692"/>
                    <a:gd name="connsiteY107" fmla="*/ 1016771 h 1016771"/>
                    <a:gd name="connsiteX108" fmla="*/ 635924 w 761692"/>
                    <a:gd name="connsiteY108" fmla="*/ 1004372 h 1016771"/>
                    <a:gd name="connsiteX109" fmla="*/ 623525 w 761692"/>
                    <a:gd name="connsiteY109" fmla="*/ 997286 h 1016771"/>
                    <a:gd name="connsiteX110" fmla="*/ 614668 w 761692"/>
                    <a:gd name="connsiteY110" fmla="*/ 986658 h 1016771"/>
                    <a:gd name="connsiteX111" fmla="*/ 593411 w 761692"/>
                    <a:gd name="connsiteY111" fmla="*/ 970715 h 1016771"/>
                    <a:gd name="connsiteX112" fmla="*/ 582783 w 761692"/>
                    <a:gd name="connsiteY112" fmla="*/ 965401 h 1016771"/>
                    <a:gd name="connsiteX113" fmla="*/ 531413 w 761692"/>
                    <a:gd name="connsiteY113" fmla="*/ 965401 h 1016771"/>
                    <a:gd name="connsiteX114" fmla="*/ 511928 w 761692"/>
                    <a:gd name="connsiteY114" fmla="*/ 965401 h 1016771"/>
                    <a:gd name="connsiteX115" fmla="*/ 492443 w 761692"/>
                    <a:gd name="connsiteY115" fmla="*/ 963630 h 1016771"/>
                    <a:gd name="connsiteX116" fmla="*/ 483586 w 761692"/>
                    <a:gd name="connsiteY116" fmla="*/ 958316 h 1016771"/>
                    <a:gd name="connsiteX117" fmla="*/ 469415 w 761692"/>
                    <a:gd name="connsiteY117" fmla="*/ 954773 h 1016771"/>
                    <a:gd name="connsiteX118" fmla="*/ 460558 w 761692"/>
                    <a:gd name="connsiteY118" fmla="*/ 942373 h 1016771"/>
                    <a:gd name="connsiteX119" fmla="*/ 446387 w 761692"/>
                    <a:gd name="connsiteY119" fmla="*/ 935288 h 1016771"/>
                    <a:gd name="connsiteX120" fmla="*/ 428673 w 761692"/>
                    <a:gd name="connsiteY120" fmla="*/ 928202 h 1016771"/>
                    <a:gd name="connsiteX121" fmla="*/ 418045 w 761692"/>
                    <a:gd name="connsiteY121" fmla="*/ 917574 h 1016771"/>
                    <a:gd name="connsiteX122" fmla="*/ 421588 w 761692"/>
                    <a:gd name="connsiteY122" fmla="*/ 903403 h 1016771"/>
                    <a:gd name="connsiteX123" fmla="*/ 418045 w 761692"/>
                    <a:gd name="connsiteY123" fmla="*/ 898089 h 1016771"/>
                    <a:gd name="connsiteX124" fmla="*/ 396788 w 761692"/>
                    <a:gd name="connsiteY124" fmla="*/ 898089 h 1016771"/>
                    <a:gd name="connsiteX125" fmla="*/ 382617 w 761692"/>
                    <a:gd name="connsiteY125" fmla="*/ 896318 h 1016771"/>
                    <a:gd name="connsiteX126" fmla="*/ 380846 w 761692"/>
                    <a:gd name="connsiteY126" fmla="*/ 906946 h 1016771"/>
                    <a:gd name="connsiteX127" fmla="*/ 373601 w 761692"/>
                    <a:gd name="connsiteY127" fmla="*/ 894832 h 1016771"/>
                    <a:gd name="connsiteX128" fmla="*/ 387164 w 761692"/>
                    <a:gd name="connsiteY128" fmla="*/ 896527 h 1016771"/>
                    <a:gd name="connsiteX129" fmla="*/ 383773 w 761692"/>
                    <a:gd name="connsiteY129" fmla="*/ 886355 h 1016771"/>
                    <a:gd name="connsiteX130" fmla="*/ 387164 w 761692"/>
                    <a:gd name="connsiteY130" fmla="*/ 876183 h 1016771"/>
                    <a:gd name="connsiteX131" fmla="*/ 388859 w 761692"/>
                    <a:gd name="connsiteY131" fmla="*/ 867707 h 1016771"/>
                    <a:gd name="connsiteX132" fmla="*/ 380382 w 761692"/>
                    <a:gd name="connsiteY132" fmla="*/ 859230 h 1016771"/>
                    <a:gd name="connsiteX133" fmla="*/ 373601 w 761692"/>
                    <a:gd name="connsiteY133" fmla="*/ 849058 h 1016771"/>
                    <a:gd name="connsiteX134" fmla="*/ 380382 w 761692"/>
                    <a:gd name="connsiteY134" fmla="*/ 838886 h 1016771"/>
                    <a:gd name="connsiteX135" fmla="*/ 383773 w 761692"/>
                    <a:gd name="connsiteY135" fmla="*/ 833800 h 1016771"/>
                    <a:gd name="connsiteX136" fmla="*/ 388859 w 761692"/>
                    <a:gd name="connsiteY136" fmla="*/ 825324 h 1016771"/>
                    <a:gd name="connsiteX137" fmla="*/ 387164 w 761692"/>
                    <a:gd name="connsiteY137" fmla="*/ 810066 h 1016771"/>
                    <a:gd name="connsiteX138" fmla="*/ 387164 w 761692"/>
                    <a:gd name="connsiteY138" fmla="*/ 796503 h 1016771"/>
                    <a:gd name="connsiteX139" fmla="*/ 378687 w 761692"/>
                    <a:gd name="connsiteY139" fmla="*/ 789722 h 1016771"/>
                    <a:gd name="connsiteX140" fmla="*/ 366820 w 761692"/>
                    <a:gd name="connsiteY140" fmla="*/ 782940 h 1016771"/>
                    <a:gd name="connsiteX141" fmla="*/ 356648 w 761692"/>
                    <a:gd name="connsiteY141" fmla="*/ 781245 h 1016771"/>
                    <a:gd name="connsiteX142" fmla="*/ 349866 w 761692"/>
                    <a:gd name="connsiteY142" fmla="*/ 771073 h 1016771"/>
                    <a:gd name="connsiteX143" fmla="*/ 349866 w 761692"/>
                    <a:gd name="connsiteY143" fmla="*/ 752425 h 1016771"/>
                    <a:gd name="connsiteX144" fmla="*/ 353257 w 761692"/>
                    <a:gd name="connsiteY144" fmla="*/ 743948 h 1016771"/>
                    <a:gd name="connsiteX145" fmla="*/ 354952 w 761692"/>
                    <a:gd name="connsiteY145" fmla="*/ 730385 h 1016771"/>
                    <a:gd name="connsiteX146" fmla="*/ 353257 w 761692"/>
                    <a:gd name="connsiteY146" fmla="*/ 713432 h 1016771"/>
                    <a:gd name="connsiteX147" fmla="*/ 346476 w 761692"/>
                    <a:gd name="connsiteY147" fmla="*/ 701565 h 1016771"/>
                    <a:gd name="connsiteX148" fmla="*/ 332913 w 761692"/>
                    <a:gd name="connsiteY148" fmla="*/ 689697 h 1016771"/>
                    <a:gd name="connsiteX149" fmla="*/ 324436 w 761692"/>
                    <a:gd name="connsiteY149" fmla="*/ 681221 h 1016771"/>
                    <a:gd name="connsiteX150" fmla="*/ 314264 w 761692"/>
                    <a:gd name="connsiteY150" fmla="*/ 676135 h 1016771"/>
                    <a:gd name="connsiteX151" fmla="*/ 293920 w 761692"/>
                    <a:gd name="connsiteY151" fmla="*/ 669354 h 1016771"/>
                    <a:gd name="connsiteX152" fmla="*/ 282053 w 761692"/>
                    <a:gd name="connsiteY152" fmla="*/ 667658 h 1016771"/>
                    <a:gd name="connsiteX153" fmla="*/ 266795 w 761692"/>
                    <a:gd name="connsiteY153" fmla="*/ 672744 h 1016771"/>
                    <a:gd name="connsiteX154" fmla="*/ 265100 w 761692"/>
                    <a:gd name="connsiteY154" fmla="*/ 672744 h 1016771"/>
                    <a:gd name="connsiteX155" fmla="*/ 263404 w 761692"/>
                    <a:gd name="connsiteY155" fmla="*/ 671049 h 1016771"/>
                    <a:gd name="connsiteX156" fmla="*/ 260014 w 761692"/>
                    <a:gd name="connsiteY156" fmla="*/ 671049 h 1016771"/>
                    <a:gd name="connsiteX157" fmla="*/ 258318 w 761692"/>
                    <a:gd name="connsiteY157" fmla="*/ 671049 h 1016771"/>
                    <a:gd name="connsiteX158" fmla="*/ 253232 w 761692"/>
                    <a:gd name="connsiteY158" fmla="*/ 671049 h 1016771"/>
                    <a:gd name="connsiteX159" fmla="*/ 248146 w 761692"/>
                    <a:gd name="connsiteY159" fmla="*/ 672744 h 1016771"/>
                    <a:gd name="connsiteX160" fmla="*/ 248146 w 761692"/>
                    <a:gd name="connsiteY160" fmla="*/ 674440 h 1016771"/>
                    <a:gd name="connsiteX161" fmla="*/ 246451 w 761692"/>
                    <a:gd name="connsiteY161" fmla="*/ 674440 h 1016771"/>
                    <a:gd name="connsiteX162" fmla="*/ 236279 w 761692"/>
                    <a:gd name="connsiteY162" fmla="*/ 679526 h 1016771"/>
                    <a:gd name="connsiteX163" fmla="*/ 226107 w 761692"/>
                    <a:gd name="connsiteY163" fmla="*/ 684612 h 1016771"/>
                    <a:gd name="connsiteX164" fmla="*/ 217630 w 761692"/>
                    <a:gd name="connsiteY164" fmla="*/ 684612 h 1016771"/>
                    <a:gd name="connsiteX165" fmla="*/ 207458 w 761692"/>
                    <a:gd name="connsiteY165" fmla="*/ 693088 h 1016771"/>
                    <a:gd name="connsiteX166" fmla="*/ 198982 w 761692"/>
                    <a:gd name="connsiteY166" fmla="*/ 694783 h 1016771"/>
                    <a:gd name="connsiteX167" fmla="*/ 192200 w 761692"/>
                    <a:gd name="connsiteY167" fmla="*/ 699869 h 1016771"/>
                    <a:gd name="connsiteX168" fmla="*/ 178638 w 761692"/>
                    <a:gd name="connsiteY168" fmla="*/ 706651 h 1016771"/>
                    <a:gd name="connsiteX169" fmla="*/ 163380 w 761692"/>
                    <a:gd name="connsiteY169" fmla="*/ 710041 h 1016771"/>
                    <a:gd name="connsiteX170" fmla="*/ 141340 w 761692"/>
                    <a:gd name="connsiteY170" fmla="*/ 710041 h 1016771"/>
                    <a:gd name="connsiteX171" fmla="*/ 134559 w 761692"/>
                    <a:gd name="connsiteY171" fmla="*/ 716823 h 1016771"/>
                    <a:gd name="connsiteX172" fmla="*/ 127778 w 761692"/>
                    <a:gd name="connsiteY172" fmla="*/ 718518 h 1016771"/>
                    <a:gd name="connsiteX173" fmla="*/ 120996 w 761692"/>
                    <a:gd name="connsiteY173" fmla="*/ 725299 h 1016771"/>
                    <a:gd name="connsiteX174" fmla="*/ 111172 w 761692"/>
                    <a:gd name="connsiteY174" fmla="*/ 733720 h 1016771"/>
                    <a:gd name="connsiteX175" fmla="*/ 106283 w 761692"/>
                    <a:gd name="connsiteY175" fmla="*/ 729808 h 1016771"/>
                    <a:gd name="connsiteX176" fmla="*/ 92112 w 761692"/>
                    <a:gd name="connsiteY176" fmla="*/ 724494 h 1016771"/>
                    <a:gd name="connsiteX177" fmla="*/ 77941 w 761692"/>
                    <a:gd name="connsiteY177" fmla="*/ 726265 h 1016771"/>
                    <a:gd name="connsiteX178" fmla="*/ 70855 w 761692"/>
                    <a:gd name="connsiteY178" fmla="*/ 719180 h 1016771"/>
                    <a:gd name="connsiteX179" fmla="*/ 70855 w 761692"/>
                    <a:gd name="connsiteY179" fmla="*/ 699695 h 1016771"/>
                    <a:gd name="connsiteX180" fmla="*/ 81483 w 761692"/>
                    <a:gd name="connsiteY180" fmla="*/ 685524 h 1016771"/>
                    <a:gd name="connsiteX181" fmla="*/ 85026 w 761692"/>
                    <a:gd name="connsiteY181" fmla="*/ 673124 h 1016771"/>
                    <a:gd name="connsiteX182" fmla="*/ 86797 w 761692"/>
                    <a:gd name="connsiteY182" fmla="*/ 660724 h 1016771"/>
                    <a:gd name="connsiteX183" fmla="*/ 97426 w 761692"/>
                    <a:gd name="connsiteY183" fmla="*/ 650096 h 1016771"/>
                    <a:gd name="connsiteX184" fmla="*/ 102740 w 761692"/>
                    <a:gd name="connsiteY184" fmla="*/ 635925 h 1016771"/>
                    <a:gd name="connsiteX185" fmla="*/ 113368 w 761692"/>
                    <a:gd name="connsiteY185" fmla="*/ 625297 h 1016771"/>
                    <a:gd name="connsiteX186" fmla="*/ 115139 w 761692"/>
                    <a:gd name="connsiteY186" fmla="*/ 612897 h 1016771"/>
                    <a:gd name="connsiteX187" fmla="*/ 127539 w 761692"/>
                    <a:gd name="connsiteY187" fmla="*/ 609354 h 1016771"/>
                    <a:gd name="connsiteX188" fmla="*/ 136396 w 761692"/>
                    <a:gd name="connsiteY188" fmla="*/ 604040 h 1016771"/>
                    <a:gd name="connsiteX189" fmla="*/ 132853 w 761692"/>
                    <a:gd name="connsiteY189" fmla="*/ 593412 h 1016771"/>
                    <a:gd name="connsiteX190" fmla="*/ 134625 w 761692"/>
                    <a:gd name="connsiteY190" fmla="*/ 584555 h 1016771"/>
                    <a:gd name="connsiteX191" fmla="*/ 131082 w 761692"/>
                    <a:gd name="connsiteY191" fmla="*/ 575698 h 1016771"/>
                    <a:gd name="connsiteX192" fmla="*/ 120454 w 761692"/>
                    <a:gd name="connsiteY192" fmla="*/ 568613 h 1016771"/>
                    <a:gd name="connsiteX193" fmla="*/ 125768 w 761692"/>
                    <a:gd name="connsiteY193" fmla="*/ 552670 h 1016771"/>
                    <a:gd name="connsiteX194" fmla="*/ 118682 w 761692"/>
                    <a:gd name="connsiteY194" fmla="*/ 543813 h 1016771"/>
                    <a:gd name="connsiteX195" fmla="*/ 90340 w 761692"/>
                    <a:gd name="connsiteY195" fmla="*/ 543813 h 1016771"/>
                    <a:gd name="connsiteX196" fmla="*/ 86797 w 761692"/>
                    <a:gd name="connsiteY196" fmla="*/ 542042 h 1016771"/>
                    <a:gd name="connsiteX197" fmla="*/ 83255 w 761692"/>
                    <a:gd name="connsiteY197" fmla="*/ 542042 h 1016771"/>
                    <a:gd name="connsiteX198" fmla="*/ 81483 w 761692"/>
                    <a:gd name="connsiteY198" fmla="*/ 540271 h 1016771"/>
                    <a:gd name="connsiteX199" fmla="*/ 81483 w 761692"/>
                    <a:gd name="connsiteY199" fmla="*/ 536728 h 1016771"/>
                    <a:gd name="connsiteX200" fmla="*/ 79712 w 761692"/>
                    <a:gd name="connsiteY200" fmla="*/ 531414 h 1016771"/>
                    <a:gd name="connsiteX201" fmla="*/ 77941 w 761692"/>
                    <a:gd name="connsiteY201" fmla="*/ 529642 h 1016771"/>
                    <a:gd name="connsiteX202" fmla="*/ 70855 w 761692"/>
                    <a:gd name="connsiteY202" fmla="*/ 527871 h 1016771"/>
                    <a:gd name="connsiteX203" fmla="*/ 60227 w 761692"/>
                    <a:gd name="connsiteY203" fmla="*/ 536728 h 1016771"/>
                    <a:gd name="connsiteX204" fmla="*/ 47827 w 761692"/>
                    <a:gd name="connsiteY204" fmla="*/ 526100 h 1016771"/>
                    <a:gd name="connsiteX205" fmla="*/ 42513 w 761692"/>
                    <a:gd name="connsiteY205" fmla="*/ 515471 h 1016771"/>
                    <a:gd name="connsiteX206" fmla="*/ 33656 w 761692"/>
                    <a:gd name="connsiteY206" fmla="*/ 506614 h 1016771"/>
                    <a:gd name="connsiteX207" fmla="*/ 31885 w 761692"/>
                    <a:gd name="connsiteY207" fmla="*/ 490672 h 1016771"/>
                    <a:gd name="connsiteX208" fmla="*/ 26571 w 761692"/>
                    <a:gd name="connsiteY208" fmla="*/ 476501 h 1016771"/>
                    <a:gd name="connsiteX209" fmla="*/ 24799 w 761692"/>
                    <a:gd name="connsiteY209" fmla="*/ 471187 h 1016771"/>
                    <a:gd name="connsiteX210" fmla="*/ 12400 w 761692"/>
                    <a:gd name="connsiteY210" fmla="*/ 472958 h 1016771"/>
                    <a:gd name="connsiteX211" fmla="*/ 7086 w 761692"/>
                    <a:gd name="connsiteY211" fmla="*/ 464101 h 1016771"/>
                    <a:gd name="connsiteX212" fmla="*/ 8857 w 761692"/>
                    <a:gd name="connsiteY212" fmla="*/ 446388 h 1016771"/>
                    <a:gd name="connsiteX213" fmla="*/ 3543 w 761692"/>
                    <a:gd name="connsiteY213" fmla="*/ 435759 h 1016771"/>
                    <a:gd name="connsiteX214" fmla="*/ 5314 w 761692"/>
                    <a:gd name="connsiteY214" fmla="*/ 412731 h 1016771"/>
                    <a:gd name="connsiteX215" fmla="*/ 0 w 761692"/>
                    <a:gd name="connsiteY215" fmla="*/ 396789 h 1016771"/>
                    <a:gd name="connsiteX216" fmla="*/ 3543 w 761692"/>
                    <a:gd name="connsiteY216" fmla="*/ 384389 h 1016771"/>
                    <a:gd name="connsiteX217" fmla="*/ 14171 w 761692"/>
                    <a:gd name="connsiteY217" fmla="*/ 380846 h 1016771"/>
                    <a:gd name="connsiteX218" fmla="*/ 24799 w 761692"/>
                    <a:gd name="connsiteY218" fmla="*/ 364904 h 1016771"/>
                    <a:gd name="connsiteX219" fmla="*/ 30113 w 761692"/>
                    <a:gd name="connsiteY219" fmla="*/ 350733 h 1016771"/>
                    <a:gd name="connsiteX220" fmla="*/ 35428 w 761692"/>
                    <a:gd name="connsiteY220" fmla="*/ 341876 h 1016771"/>
                    <a:gd name="connsiteX221" fmla="*/ 42513 w 761692"/>
                    <a:gd name="connsiteY221" fmla="*/ 327705 h 1016771"/>
                    <a:gd name="connsiteX222" fmla="*/ 42513 w 761692"/>
                    <a:gd name="connsiteY222" fmla="*/ 315305 h 1016771"/>
                    <a:gd name="connsiteX223" fmla="*/ 56684 w 761692"/>
                    <a:gd name="connsiteY223" fmla="*/ 309991 h 1016771"/>
                    <a:gd name="connsiteX224" fmla="*/ 60227 w 761692"/>
                    <a:gd name="connsiteY224" fmla="*/ 309991 h 1016771"/>
                    <a:gd name="connsiteX225" fmla="*/ 61998 w 761692"/>
                    <a:gd name="connsiteY225" fmla="*/ 311763 h 1016771"/>
                    <a:gd name="connsiteX226" fmla="*/ 67312 w 761692"/>
                    <a:gd name="connsiteY226" fmla="*/ 311763 h 1016771"/>
                    <a:gd name="connsiteX227" fmla="*/ 67312 w 761692"/>
                    <a:gd name="connsiteY227" fmla="*/ 309991 h 1016771"/>
                    <a:gd name="connsiteX228" fmla="*/ 67312 w 761692"/>
                    <a:gd name="connsiteY228" fmla="*/ 308220 h 1016771"/>
                    <a:gd name="connsiteX229" fmla="*/ 69084 w 761692"/>
                    <a:gd name="connsiteY229" fmla="*/ 302906 h 1016771"/>
                    <a:gd name="connsiteX230" fmla="*/ 70855 w 761692"/>
                    <a:gd name="connsiteY230" fmla="*/ 301134 h 1016771"/>
                    <a:gd name="connsiteX231" fmla="*/ 70855 w 761692"/>
                    <a:gd name="connsiteY231" fmla="*/ 299363 h 1016771"/>
                    <a:gd name="connsiteX232" fmla="*/ 77941 w 761692"/>
                    <a:gd name="connsiteY232" fmla="*/ 295820 h 1016771"/>
                    <a:gd name="connsiteX233" fmla="*/ 85026 w 761692"/>
                    <a:gd name="connsiteY233" fmla="*/ 295820 h 1016771"/>
                    <a:gd name="connsiteX234" fmla="*/ 93883 w 761692"/>
                    <a:gd name="connsiteY234" fmla="*/ 297592 h 1016771"/>
                    <a:gd name="connsiteX235" fmla="*/ 100968 w 761692"/>
                    <a:gd name="connsiteY235" fmla="*/ 288735 h 1016771"/>
                    <a:gd name="connsiteX236" fmla="*/ 97426 w 761692"/>
                    <a:gd name="connsiteY236" fmla="*/ 279878 h 1016771"/>
                    <a:gd name="connsiteX237" fmla="*/ 85026 w 761692"/>
                    <a:gd name="connsiteY237" fmla="*/ 276335 h 1016771"/>
                    <a:gd name="connsiteX238" fmla="*/ 76169 w 761692"/>
                    <a:gd name="connsiteY238" fmla="*/ 271021 h 1016771"/>
                    <a:gd name="connsiteX239" fmla="*/ 76169 w 761692"/>
                    <a:gd name="connsiteY239" fmla="*/ 262164 h 1016771"/>
                    <a:gd name="connsiteX240" fmla="*/ 81483 w 761692"/>
                    <a:gd name="connsiteY240" fmla="*/ 251536 h 1016771"/>
                    <a:gd name="connsiteX241" fmla="*/ 86797 w 761692"/>
                    <a:gd name="connsiteY241" fmla="*/ 255079 h 1016771"/>
                    <a:gd name="connsiteX242" fmla="*/ 104511 w 761692"/>
                    <a:gd name="connsiteY242" fmla="*/ 262164 h 1016771"/>
                    <a:gd name="connsiteX243" fmla="*/ 116911 w 761692"/>
                    <a:gd name="connsiteY243" fmla="*/ 265707 h 1016771"/>
                    <a:gd name="connsiteX244" fmla="*/ 132853 w 761692"/>
                    <a:gd name="connsiteY244" fmla="*/ 269250 h 1016771"/>
                    <a:gd name="connsiteX245" fmla="*/ 138167 w 761692"/>
                    <a:gd name="connsiteY245" fmla="*/ 265707 h 1016771"/>
                    <a:gd name="connsiteX246" fmla="*/ 150567 w 761692"/>
                    <a:gd name="connsiteY246" fmla="*/ 255079 h 1016771"/>
                    <a:gd name="connsiteX247" fmla="*/ 166509 w 761692"/>
                    <a:gd name="connsiteY247" fmla="*/ 255079 h 1016771"/>
                    <a:gd name="connsiteX248" fmla="*/ 166509 w 761692"/>
                    <a:gd name="connsiteY248" fmla="*/ 265707 h 1016771"/>
                    <a:gd name="connsiteX249" fmla="*/ 177138 w 761692"/>
                    <a:gd name="connsiteY249" fmla="*/ 272792 h 1016771"/>
                    <a:gd name="connsiteX250" fmla="*/ 194851 w 761692"/>
                    <a:gd name="connsiteY250" fmla="*/ 276335 h 1016771"/>
                    <a:gd name="connsiteX251" fmla="*/ 209022 w 761692"/>
                    <a:gd name="connsiteY251" fmla="*/ 279878 h 1016771"/>
                    <a:gd name="connsiteX252" fmla="*/ 221422 w 761692"/>
                    <a:gd name="connsiteY252" fmla="*/ 276335 h 1016771"/>
                    <a:gd name="connsiteX253" fmla="*/ 226736 w 761692"/>
                    <a:gd name="connsiteY253" fmla="*/ 269250 h 1016771"/>
                    <a:gd name="connsiteX254" fmla="*/ 226736 w 761692"/>
                    <a:gd name="connsiteY254" fmla="*/ 251536 h 1016771"/>
                    <a:gd name="connsiteX255" fmla="*/ 224965 w 761692"/>
                    <a:gd name="connsiteY255" fmla="*/ 239136 h 1016771"/>
                    <a:gd name="connsiteX256" fmla="*/ 214337 w 761692"/>
                    <a:gd name="connsiteY256" fmla="*/ 230279 h 1016771"/>
                    <a:gd name="connsiteX257" fmla="*/ 210794 w 761692"/>
                    <a:gd name="connsiteY257" fmla="*/ 217880 h 1016771"/>
                    <a:gd name="connsiteX258" fmla="*/ 221422 w 761692"/>
                    <a:gd name="connsiteY258" fmla="*/ 207251 h 1016771"/>
                    <a:gd name="connsiteX259" fmla="*/ 235593 w 761692"/>
                    <a:gd name="connsiteY259" fmla="*/ 214337 h 1016771"/>
                    <a:gd name="connsiteX260" fmla="*/ 246221 w 761692"/>
                    <a:gd name="connsiteY260" fmla="*/ 219651 h 1016771"/>
                    <a:gd name="connsiteX261" fmla="*/ 253307 w 761692"/>
                    <a:gd name="connsiteY261" fmla="*/ 221422 h 1016771"/>
                    <a:gd name="connsiteX262" fmla="*/ 262164 w 761692"/>
                    <a:gd name="connsiteY262" fmla="*/ 210794 h 1016771"/>
                    <a:gd name="connsiteX263" fmla="*/ 263935 w 761692"/>
                    <a:gd name="connsiteY263" fmla="*/ 201937 h 1016771"/>
                    <a:gd name="connsiteX264" fmla="*/ 274563 w 761692"/>
                    <a:gd name="connsiteY264" fmla="*/ 189538 h 1016771"/>
                    <a:gd name="connsiteX265" fmla="*/ 283420 w 761692"/>
                    <a:gd name="connsiteY265" fmla="*/ 178909 h 1016771"/>
                    <a:gd name="connsiteX266" fmla="*/ 286963 w 761692"/>
                    <a:gd name="connsiteY266" fmla="*/ 173595 h 1016771"/>
                    <a:gd name="connsiteX267" fmla="*/ 311762 w 761692"/>
                    <a:gd name="connsiteY267" fmla="*/ 168281 h 1016771"/>
                    <a:gd name="connsiteX268" fmla="*/ 325933 w 761692"/>
                    <a:gd name="connsiteY268" fmla="*/ 164738 h 1016771"/>
                    <a:gd name="connsiteX269" fmla="*/ 336562 w 761692"/>
                    <a:gd name="connsiteY269" fmla="*/ 159424 h 1016771"/>
                    <a:gd name="connsiteX270" fmla="*/ 348961 w 761692"/>
                    <a:gd name="connsiteY270" fmla="*/ 145253 h 1016771"/>
                    <a:gd name="connsiteX271" fmla="*/ 359589 w 761692"/>
                    <a:gd name="connsiteY271" fmla="*/ 143482 h 1016771"/>
                    <a:gd name="connsiteX272" fmla="*/ 371989 w 761692"/>
                    <a:gd name="connsiteY272" fmla="*/ 143482 h 1016771"/>
                    <a:gd name="connsiteX273" fmla="*/ 391474 w 761692"/>
                    <a:gd name="connsiteY273" fmla="*/ 143482 h 1016771"/>
                    <a:gd name="connsiteX274" fmla="*/ 396788 w 761692"/>
                    <a:gd name="connsiteY274" fmla="*/ 141710 h 1016771"/>
                    <a:gd name="connsiteX275" fmla="*/ 403874 w 761692"/>
                    <a:gd name="connsiteY275" fmla="*/ 134625 h 1016771"/>
                    <a:gd name="connsiteX276" fmla="*/ 409188 w 761692"/>
                    <a:gd name="connsiteY276" fmla="*/ 129311 h 1016771"/>
                    <a:gd name="connsiteX277" fmla="*/ 409188 w 761692"/>
                    <a:gd name="connsiteY277" fmla="*/ 123997 h 1016771"/>
                    <a:gd name="connsiteX278" fmla="*/ 414502 w 761692"/>
                    <a:gd name="connsiteY278" fmla="*/ 115140 h 1016771"/>
                    <a:gd name="connsiteX279" fmla="*/ 428673 w 761692"/>
                    <a:gd name="connsiteY279" fmla="*/ 115140 h 1016771"/>
                    <a:gd name="connsiteX280" fmla="*/ 432216 w 761692"/>
                    <a:gd name="connsiteY280" fmla="*/ 109826 h 1016771"/>
                    <a:gd name="connsiteX281" fmla="*/ 437530 w 761692"/>
                    <a:gd name="connsiteY281" fmla="*/ 100969 h 1016771"/>
                    <a:gd name="connsiteX282" fmla="*/ 448158 w 761692"/>
                    <a:gd name="connsiteY282" fmla="*/ 99197 h 1016771"/>
                    <a:gd name="connsiteX283" fmla="*/ 460558 w 761692"/>
                    <a:gd name="connsiteY283" fmla="*/ 97426 h 1016771"/>
                    <a:gd name="connsiteX284" fmla="*/ 472958 w 761692"/>
                    <a:gd name="connsiteY284" fmla="*/ 93883 h 1016771"/>
                    <a:gd name="connsiteX285" fmla="*/ 492443 w 761692"/>
                    <a:gd name="connsiteY285" fmla="*/ 93883 h 1016771"/>
                    <a:gd name="connsiteX286" fmla="*/ 501300 w 761692"/>
                    <a:gd name="connsiteY286" fmla="*/ 83255 h 1016771"/>
                    <a:gd name="connsiteX287" fmla="*/ 517242 w 761692"/>
                    <a:gd name="connsiteY287" fmla="*/ 81484 h 1016771"/>
                    <a:gd name="connsiteX288" fmla="*/ 522556 w 761692"/>
                    <a:gd name="connsiteY288" fmla="*/ 81484 h 1016771"/>
                    <a:gd name="connsiteX289" fmla="*/ 522556 w 761692"/>
                    <a:gd name="connsiteY289" fmla="*/ 60227 h 1016771"/>
                    <a:gd name="connsiteX290" fmla="*/ 526099 w 761692"/>
                    <a:gd name="connsiteY290" fmla="*/ 54913 h 1016771"/>
                    <a:gd name="connsiteX291" fmla="*/ 529642 w 761692"/>
                    <a:gd name="connsiteY291" fmla="*/ 46056 h 1016771"/>
                    <a:gd name="connsiteX292" fmla="*/ 538499 w 761692"/>
                    <a:gd name="connsiteY292" fmla="*/ 40742 h 1016771"/>
                    <a:gd name="connsiteX293" fmla="*/ 540270 w 761692"/>
                    <a:gd name="connsiteY293" fmla="*/ 30114 h 1016771"/>
                    <a:gd name="connsiteX294" fmla="*/ 536727 w 761692"/>
                    <a:gd name="connsiteY294" fmla="*/ 19485 h 1016771"/>
                    <a:gd name="connsiteX295" fmla="*/ 543813 w 761692"/>
                    <a:gd name="connsiteY295" fmla="*/ 5314 h 1016771"/>
                    <a:gd name="connsiteX296" fmla="*/ 554441 w 761692"/>
                    <a:gd name="connsiteY296" fmla="*/ 0 h 1016771"/>
                    <a:gd name="connsiteX0" fmla="*/ 146426 w 761692"/>
                    <a:gd name="connsiteY0" fmla="*/ 843972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46426 w 761692"/>
                    <a:gd name="connsiteY5" fmla="*/ 843972 h 1016771"/>
                    <a:gd name="connsiteX6" fmla="*/ 116476 w 761692"/>
                    <a:gd name="connsiteY6" fmla="*/ 741349 h 1016771"/>
                    <a:gd name="connsiteX7" fmla="*/ 117606 w 761692"/>
                    <a:gd name="connsiteY7" fmla="*/ 742253 h 1016771"/>
                    <a:gd name="connsiteX8" fmla="*/ 122692 w 761692"/>
                    <a:gd name="connsiteY8" fmla="*/ 759206 h 1016771"/>
                    <a:gd name="connsiteX9" fmla="*/ 126082 w 761692"/>
                    <a:gd name="connsiteY9" fmla="*/ 771073 h 1016771"/>
                    <a:gd name="connsiteX10" fmla="*/ 129473 w 761692"/>
                    <a:gd name="connsiteY10" fmla="*/ 782940 h 1016771"/>
                    <a:gd name="connsiteX11" fmla="*/ 132864 w 761692"/>
                    <a:gd name="connsiteY11" fmla="*/ 793112 h 1016771"/>
                    <a:gd name="connsiteX12" fmla="*/ 136254 w 761692"/>
                    <a:gd name="connsiteY12" fmla="*/ 810066 h 1016771"/>
                    <a:gd name="connsiteX13" fmla="*/ 139058 w 761692"/>
                    <a:gd name="connsiteY13" fmla="*/ 818476 h 1016771"/>
                    <a:gd name="connsiteX14" fmla="*/ 138167 w 761692"/>
                    <a:gd name="connsiteY14" fmla="*/ 818377 h 1016771"/>
                    <a:gd name="connsiteX15" fmla="*/ 134625 w 761692"/>
                    <a:gd name="connsiteY15" fmla="*/ 807749 h 1016771"/>
                    <a:gd name="connsiteX16" fmla="*/ 131082 w 761692"/>
                    <a:gd name="connsiteY16" fmla="*/ 790035 h 1016771"/>
                    <a:gd name="connsiteX17" fmla="*/ 127539 w 761692"/>
                    <a:gd name="connsiteY17" fmla="*/ 779407 h 1016771"/>
                    <a:gd name="connsiteX18" fmla="*/ 123996 w 761692"/>
                    <a:gd name="connsiteY18" fmla="*/ 767007 h 1016771"/>
                    <a:gd name="connsiteX19" fmla="*/ 120454 w 761692"/>
                    <a:gd name="connsiteY19" fmla="*/ 754607 h 1016771"/>
                    <a:gd name="connsiteX20" fmla="*/ 116476 w 761692"/>
                    <a:gd name="connsiteY20" fmla="*/ 741349 h 1016771"/>
                    <a:gd name="connsiteX21" fmla="*/ 554441 w 761692"/>
                    <a:gd name="connsiteY21" fmla="*/ 0 h 1016771"/>
                    <a:gd name="connsiteX22" fmla="*/ 570383 w 761692"/>
                    <a:gd name="connsiteY22" fmla="*/ 3543 h 1016771"/>
                    <a:gd name="connsiteX23" fmla="*/ 577469 w 761692"/>
                    <a:gd name="connsiteY23" fmla="*/ 8857 h 1016771"/>
                    <a:gd name="connsiteX24" fmla="*/ 582783 w 761692"/>
                    <a:gd name="connsiteY24" fmla="*/ 17714 h 1016771"/>
                    <a:gd name="connsiteX25" fmla="*/ 582783 w 761692"/>
                    <a:gd name="connsiteY25" fmla="*/ 24799 h 1016771"/>
                    <a:gd name="connsiteX26" fmla="*/ 588097 w 761692"/>
                    <a:gd name="connsiteY26" fmla="*/ 33656 h 1016771"/>
                    <a:gd name="connsiteX27" fmla="*/ 598725 w 761692"/>
                    <a:gd name="connsiteY27" fmla="*/ 31885 h 1016771"/>
                    <a:gd name="connsiteX28" fmla="*/ 612896 w 761692"/>
                    <a:gd name="connsiteY28" fmla="*/ 37199 h 1016771"/>
                    <a:gd name="connsiteX29" fmla="*/ 618211 w 761692"/>
                    <a:gd name="connsiteY29" fmla="*/ 46056 h 1016771"/>
                    <a:gd name="connsiteX30" fmla="*/ 619982 w 761692"/>
                    <a:gd name="connsiteY30" fmla="*/ 54913 h 1016771"/>
                    <a:gd name="connsiteX31" fmla="*/ 618211 w 761692"/>
                    <a:gd name="connsiteY31" fmla="*/ 74398 h 1016771"/>
                    <a:gd name="connsiteX32" fmla="*/ 616439 w 761692"/>
                    <a:gd name="connsiteY32" fmla="*/ 85026 h 1016771"/>
                    <a:gd name="connsiteX33" fmla="*/ 621753 w 761692"/>
                    <a:gd name="connsiteY33" fmla="*/ 97426 h 1016771"/>
                    <a:gd name="connsiteX34" fmla="*/ 637696 w 761692"/>
                    <a:gd name="connsiteY34" fmla="*/ 113368 h 1016771"/>
                    <a:gd name="connsiteX35" fmla="*/ 644781 w 761692"/>
                    <a:gd name="connsiteY35" fmla="*/ 120454 h 1016771"/>
                    <a:gd name="connsiteX36" fmla="*/ 650095 w 761692"/>
                    <a:gd name="connsiteY36" fmla="*/ 136396 h 1016771"/>
                    <a:gd name="connsiteX37" fmla="*/ 655409 w 761692"/>
                    <a:gd name="connsiteY37" fmla="*/ 155881 h 1016771"/>
                    <a:gd name="connsiteX38" fmla="*/ 662495 w 761692"/>
                    <a:gd name="connsiteY38" fmla="*/ 171824 h 1016771"/>
                    <a:gd name="connsiteX39" fmla="*/ 660724 w 761692"/>
                    <a:gd name="connsiteY39" fmla="*/ 185995 h 1016771"/>
                    <a:gd name="connsiteX40" fmla="*/ 635924 w 761692"/>
                    <a:gd name="connsiteY40" fmla="*/ 194852 h 1016771"/>
                    <a:gd name="connsiteX41" fmla="*/ 619982 w 761692"/>
                    <a:gd name="connsiteY41" fmla="*/ 207251 h 1016771"/>
                    <a:gd name="connsiteX42" fmla="*/ 614668 w 761692"/>
                    <a:gd name="connsiteY42" fmla="*/ 223194 h 1016771"/>
                    <a:gd name="connsiteX43" fmla="*/ 618211 w 761692"/>
                    <a:gd name="connsiteY43" fmla="*/ 242679 h 1016771"/>
                    <a:gd name="connsiteX44" fmla="*/ 612896 w 761692"/>
                    <a:gd name="connsiteY44" fmla="*/ 256850 h 1016771"/>
                    <a:gd name="connsiteX45" fmla="*/ 625296 w 761692"/>
                    <a:gd name="connsiteY45" fmla="*/ 267478 h 1016771"/>
                    <a:gd name="connsiteX46" fmla="*/ 641238 w 761692"/>
                    <a:gd name="connsiteY46" fmla="*/ 269250 h 1016771"/>
                    <a:gd name="connsiteX47" fmla="*/ 658952 w 761692"/>
                    <a:gd name="connsiteY47" fmla="*/ 286963 h 1016771"/>
                    <a:gd name="connsiteX48" fmla="*/ 653638 w 761692"/>
                    <a:gd name="connsiteY48" fmla="*/ 309991 h 1016771"/>
                    <a:gd name="connsiteX49" fmla="*/ 653638 w 761692"/>
                    <a:gd name="connsiteY49" fmla="*/ 329476 h 1016771"/>
                    <a:gd name="connsiteX50" fmla="*/ 643010 w 761692"/>
                    <a:gd name="connsiteY50" fmla="*/ 338333 h 1016771"/>
                    <a:gd name="connsiteX51" fmla="*/ 632382 w 761692"/>
                    <a:gd name="connsiteY51" fmla="*/ 338333 h 1016771"/>
                    <a:gd name="connsiteX52" fmla="*/ 618211 w 761692"/>
                    <a:gd name="connsiteY52" fmla="*/ 357819 h 1016771"/>
                    <a:gd name="connsiteX53" fmla="*/ 609354 w 761692"/>
                    <a:gd name="connsiteY53" fmla="*/ 361361 h 1016771"/>
                    <a:gd name="connsiteX54" fmla="*/ 596954 w 761692"/>
                    <a:gd name="connsiteY54" fmla="*/ 363133 h 1016771"/>
                    <a:gd name="connsiteX55" fmla="*/ 581012 w 761692"/>
                    <a:gd name="connsiteY55" fmla="*/ 379075 h 1016771"/>
                    <a:gd name="connsiteX56" fmla="*/ 589868 w 761692"/>
                    <a:gd name="connsiteY56" fmla="*/ 393246 h 1016771"/>
                    <a:gd name="connsiteX57" fmla="*/ 586326 w 761692"/>
                    <a:gd name="connsiteY57" fmla="*/ 409189 h 1016771"/>
                    <a:gd name="connsiteX58" fmla="*/ 570383 w 761692"/>
                    <a:gd name="connsiteY58" fmla="*/ 398560 h 1016771"/>
                    <a:gd name="connsiteX59" fmla="*/ 550898 w 761692"/>
                    <a:gd name="connsiteY59" fmla="*/ 405646 h 1016771"/>
                    <a:gd name="connsiteX60" fmla="*/ 531413 w 761692"/>
                    <a:gd name="connsiteY60" fmla="*/ 425131 h 1016771"/>
                    <a:gd name="connsiteX61" fmla="*/ 543813 w 761692"/>
                    <a:gd name="connsiteY61" fmla="*/ 444616 h 1016771"/>
                    <a:gd name="connsiteX62" fmla="*/ 557984 w 761692"/>
                    <a:gd name="connsiteY62" fmla="*/ 462330 h 1016771"/>
                    <a:gd name="connsiteX63" fmla="*/ 570383 w 761692"/>
                    <a:gd name="connsiteY63" fmla="*/ 478272 h 1016771"/>
                    <a:gd name="connsiteX64" fmla="*/ 579240 w 761692"/>
                    <a:gd name="connsiteY64" fmla="*/ 485358 h 1016771"/>
                    <a:gd name="connsiteX65" fmla="*/ 602268 w 761692"/>
                    <a:gd name="connsiteY65" fmla="*/ 483586 h 1016771"/>
                    <a:gd name="connsiteX66" fmla="*/ 623525 w 761692"/>
                    <a:gd name="connsiteY66" fmla="*/ 474730 h 1016771"/>
                    <a:gd name="connsiteX67" fmla="*/ 639467 w 761692"/>
                    <a:gd name="connsiteY67" fmla="*/ 464101 h 1016771"/>
                    <a:gd name="connsiteX68" fmla="*/ 662495 w 761692"/>
                    <a:gd name="connsiteY68" fmla="*/ 464101 h 1016771"/>
                    <a:gd name="connsiteX69" fmla="*/ 673123 w 761692"/>
                    <a:gd name="connsiteY69" fmla="*/ 464101 h 1016771"/>
                    <a:gd name="connsiteX70" fmla="*/ 681980 w 761692"/>
                    <a:gd name="connsiteY70" fmla="*/ 467644 h 1016771"/>
                    <a:gd name="connsiteX71" fmla="*/ 703237 w 761692"/>
                    <a:gd name="connsiteY71" fmla="*/ 471187 h 1016771"/>
                    <a:gd name="connsiteX72" fmla="*/ 708551 w 761692"/>
                    <a:gd name="connsiteY72" fmla="*/ 474730 h 1016771"/>
                    <a:gd name="connsiteX73" fmla="*/ 722722 w 761692"/>
                    <a:gd name="connsiteY73" fmla="*/ 501300 h 1016771"/>
                    <a:gd name="connsiteX74" fmla="*/ 724493 w 761692"/>
                    <a:gd name="connsiteY74" fmla="*/ 522557 h 1016771"/>
                    <a:gd name="connsiteX75" fmla="*/ 722722 w 761692"/>
                    <a:gd name="connsiteY75" fmla="*/ 540271 h 1016771"/>
                    <a:gd name="connsiteX76" fmla="*/ 735121 w 761692"/>
                    <a:gd name="connsiteY76" fmla="*/ 552670 h 1016771"/>
                    <a:gd name="connsiteX77" fmla="*/ 735121 w 761692"/>
                    <a:gd name="connsiteY77" fmla="*/ 570384 h 1016771"/>
                    <a:gd name="connsiteX78" fmla="*/ 751064 w 761692"/>
                    <a:gd name="connsiteY78" fmla="*/ 581012 h 1016771"/>
                    <a:gd name="connsiteX79" fmla="*/ 761692 w 761692"/>
                    <a:gd name="connsiteY79" fmla="*/ 604040 h 1016771"/>
                    <a:gd name="connsiteX80" fmla="*/ 747521 w 761692"/>
                    <a:gd name="connsiteY80" fmla="*/ 616440 h 1016771"/>
                    <a:gd name="connsiteX81" fmla="*/ 728036 w 761692"/>
                    <a:gd name="connsiteY81" fmla="*/ 627068 h 1016771"/>
                    <a:gd name="connsiteX82" fmla="*/ 726264 w 761692"/>
                    <a:gd name="connsiteY82" fmla="*/ 650096 h 1016771"/>
                    <a:gd name="connsiteX83" fmla="*/ 728036 w 761692"/>
                    <a:gd name="connsiteY83" fmla="*/ 673124 h 1016771"/>
                    <a:gd name="connsiteX84" fmla="*/ 742207 w 761692"/>
                    <a:gd name="connsiteY84" fmla="*/ 689066 h 1016771"/>
                    <a:gd name="connsiteX85" fmla="*/ 742207 w 761692"/>
                    <a:gd name="connsiteY85" fmla="*/ 712094 h 1016771"/>
                    <a:gd name="connsiteX86" fmla="*/ 740435 w 761692"/>
                    <a:gd name="connsiteY86" fmla="*/ 735122 h 1016771"/>
                    <a:gd name="connsiteX87" fmla="*/ 742207 w 761692"/>
                    <a:gd name="connsiteY87" fmla="*/ 751065 h 1016771"/>
                    <a:gd name="connsiteX88" fmla="*/ 747521 w 761692"/>
                    <a:gd name="connsiteY88" fmla="*/ 768778 h 1016771"/>
                    <a:gd name="connsiteX89" fmla="*/ 759921 w 761692"/>
                    <a:gd name="connsiteY89" fmla="*/ 777635 h 1016771"/>
                    <a:gd name="connsiteX90" fmla="*/ 758149 w 761692"/>
                    <a:gd name="connsiteY90" fmla="*/ 802434 h 1016771"/>
                    <a:gd name="connsiteX91" fmla="*/ 752835 w 761692"/>
                    <a:gd name="connsiteY91" fmla="*/ 814834 h 1016771"/>
                    <a:gd name="connsiteX92" fmla="*/ 743978 w 761692"/>
                    <a:gd name="connsiteY92" fmla="*/ 827234 h 1016771"/>
                    <a:gd name="connsiteX93" fmla="*/ 743978 w 761692"/>
                    <a:gd name="connsiteY93" fmla="*/ 837862 h 1016771"/>
                    <a:gd name="connsiteX94" fmla="*/ 747521 w 761692"/>
                    <a:gd name="connsiteY94" fmla="*/ 853804 h 1016771"/>
                    <a:gd name="connsiteX95" fmla="*/ 733350 w 761692"/>
                    <a:gd name="connsiteY95" fmla="*/ 867975 h 1016771"/>
                    <a:gd name="connsiteX96" fmla="*/ 724493 w 761692"/>
                    <a:gd name="connsiteY96" fmla="*/ 880375 h 1016771"/>
                    <a:gd name="connsiteX97" fmla="*/ 722722 w 761692"/>
                    <a:gd name="connsiteY97" fmla="*/ 899860 h 1016771"/>
                    <a:gd name="connsiteX98" fmla="*/ 722722 w 761692"/>
                    <a:gd name="connsiteY98" fmla="*/ 919345 h 1016771"/>
                    <a:gd name="connsiteX99" fmla="*/ 715636 w 761692"/>
                    <a:gd name="connsiteY99" fmla="*/ 940602 h 1016771"/>
                    <a:gd name="connsiteX100" fmla="*/ 708551 w 761692"/>
                    <a:gd name="connsiteY100" fmla="*/ 954773 h 1016771"/>
                    <a:gd name="connsiteX101" fmla="*/ 699694 w 761692"/>
                    <a:gd name="connsiteY101" fmla="*/ 965401 h 1016771"/>
                    <a:gd name="connsiteX102" fmla="*/ 692608 w 761692"/>
                    <a:gd name="connsiteY102" fmla="*/ 984886 h 1016771"/>
                    <a:gd name="connsiteX103" fmla="*/ 683751 w 761692"/>
                    <a:gd name="connsiteY103" fmla="*/ 997286 h 1016771"/>
                    <a:gd name="connsiteX104" fmla="*/ 673123 w 761692"/>
                    <a:gd name="connsiteY104" fmla="*/ 1002600 h 1016771"/>
                    <a:gd name="connsiteX105" fmla="*/ 662495 w 761692"/>
                    <a:gd name="connsiteY105" fmla="*/ 1013228 h 1016771"/>
                    <a:gd name="connsiteX106" fmla="*/ 644781 w 761692"/>
                    <a:gd name="connsiteY106" fmla="*/ 1016771 h 1016771"/>
                    <a:gd name="connsiteX107" fmla="*/ 635924 w 761692"/>
                    <a:gd name="connsiteY107" fmla="*/ 1004372 h 1016771"/>
                    <a:gd name="connsiteX108" fmla="*/ 623525 w 761692"/>
                    <a:gd name="connsiteY108" fmla="*/ 997286 h 1016771"/>
                    <a:gd name="connsiteX109" fmla="*/ 614668 w 761692"/>
                    <a:gd name="connsiteY109" fmla="*/ 986658 h 1016771"/>
                    <a:gd name="connsiteX110" fmla="*/ 593411 w 761692"/>
                    <a:gd name="connsiteY110" fmla="*/ 970715 h 1016771"/>
                    <a:gd name="connsiteX111" fmla="*/ 582783 w 761692"/>
                    <a:gd name="connsiteY111" fmla="*/ 965401 h 1016771"/>
                    <a:gd name="connsiteX112" fmla="*/ 531413 w 761692"/>
                    <a:gd name="connsiteY112" fmla="*/ 965401 h 1016771"/>
                    <a:gd name="connsiteX113" fmla="*/ 511928 w 761692"/>
                    <a:gd name="connsiteY113" fmla="*/ 965401 h 1016771"/>
                    <a:gd name="connsiteX114" fmla="*/ 492443 w 761692"/>
                    <a:gd name="connsiteY114" fmla="*/ 963630 h 1016771"/>
                    <a:gd name="connsiteX115" fmla="*/ 483586 w 761692"/>
                    <a:gd name="connsiteY115" fmla="*/ 958316 h 1016771"/>
                    <a:gd name="connsiteX116" fmla="*/ 469415 w 761692"/>
                    <a:gd name="connsiteY116" fmla="*/ 954773 h 1016771"/>
                    <a:gd name="connsiteX117" fmla="*/ 460558 w 761692"/>
                    <a:gd name="connsiteY117" fmla="*/ 942373 h 1016771"/>
                    <a:gd name="connsiteX118" fmla="*/ 446387 w 761692"/>
                    <a:gd name="connsiteY118" fmla="*/ 935288 h 1016771"/>
                    <a:gd name="connsiteX119" fmla="*/ 428673 w 761692"/>
                    <a:gd name="connsiteY119" fmla="*/ 928202 h 1016771"/>
                    <a:gd name="connsiteX120" fmla="*/ 418045 w 761692"/>
                    <a:gd name="connsiteY120" fmla="*/ 917574 h 1016771"/>
                    <a:gd name="connsiteX121" fmla="*/ 421588 w 761692"/>
                    <a:gd name="connsiteY121" fmla="*/ 903403 h 1016771"/>
                    <a:gd name="connsiteX122" fmla="*/ 418045 w 761692"/>
                    <a:gd name="connsiteY122" fmla="*/ 898089 h 1016771"/>
                    <a:gd name="connsiteX123" fmla="*/ 396788 w 761692"/>
                    <a:gd name="connsiteY123" fmla="*/ 898089 h 1016771"/>
                    <a:gd name="connsiteX124" fmla="*/ 382617 w 761692"/>
                    <a:gd name="connsiteY124" fmla="*/ 896318 h 1016771"/>
                    <a:gd name="connsiteX125" fmla="*/ 380846 w 761692"/>
                    <a:gd name="connsiteY125" fmla="*/ 906946 h 1016771"/>
                    <a:gd name="connsiteX126" fmla="*/ 373601 w 761692"/>
                    <a:gd name="connsiteY126" fmla="*/ 894832 h 1016771"/>
                    <a:gd name="connsiteX127" fmla="*/ 387164 w 761692"/>
                    <a:gd name="connsiteY127" fmla="*/ 896527 h 1016771"/>
                    <a:gd name="connsiteX128" fmla="*/ 383773 w 761692"/>
                    <a:gd name="connsiteY128" fmla="*/ 886355 h 1016771"/>
                    <a:gd name="connsiteX129" fmla="*/ 387164 w 761692"/>
                    <a:gd name="connsiteY129" fmla="*/ 876183 h 1016771"/>
                    <a:gd name="connsiteX130" fmla="*/ 388859 w 761692"/>
                    <a:gd name="connsiteY130" fmla="*/ 867707 h 1016771"/>
                    <a:gd name="connsiteX131" fmla="*/ 380382 w 761692"/>
                    <a:gd name="connsiteY131" fmla="*/ 859230 h 1016771"/>
                    <a:gd name="connsiteX132" fmla="*/ 373601 w 761692"/>
                    <a:gd name="connsiteY132" fmla="*/ 849058 h 1016771"/>
                    <a:gd name="connsiteX133" fmla="*/ 380382 w 761692"/>
                    <a:gd name="connsiteY133" fmla="*/ 838886 h 1016771"/>
                    <a:gd name="connsiteX134" fmla="*/ 383773 w 761692"/>
                    <a:gd name="connsiteY134" fmla="*/ 833800 h 1016771"/>
                    <a:gd name="connsiteX135" fmla="*/ 388859 w 761692"/>
                    <a:gd name="connsiteY135" fmla="*/ 825324 h 1016771"/>
                    <a:gd name="connsiteX136" fmla="*/ 387164 w 761692"/>
                    <a:gd name="connsiteY136" fmla="*/ 810066 h 1016771"/>
                    <a:gd name="connsiteX137" fmla="*/ 387164 w 761692"/>
                    <a:gd name="connsiteY137" fmla="*/ 796503 h 1016771"/>
                    <a:gd name="connsiteX138" fmla="*/ 378687 w 761692"/>
                    <a:gd name="connsiteY138" fmla="*/ 789722 h 1016771"/>
                    <a:gd name="connsiteX139" fmla="*/ 366820 w 761692"/>
                    <a:gd name="connsiteY139" fmla="*/ 782940 h 1016771"/>
                    <a:gd name="connsiteX140" fmla="*/ 356648 w 761692"/>
                    <a:gd name="connsiteY140" fmla="*/ 781245 h 1016771"/>
                    <a:gd name="connsiteX141" fmla="*/ 349866 w 761692"/>
                    <a:gd name="connsiteY141" fmla="*/ 771073 h 1016771"/>
                    <a:gd name="connsiteX142" fmla="*/ 349866 w 761692"/>
                    <a:gd name="connsiteY142" fmla="*/ 752425 h 1016771"/>
                    <a:gd name="connsiteX143" fmla="*/ 353257 w 761692"/>
                    <a:gd name="connsiteY143" fmla="*/ 743948 h 1016771"/>
                    <a:gd name="connsiteX144" fmla="*/ 354952 w 761692"/>
                    <a:gd name="connsiteY144" fmla="*/ 730385 h 1016771"/>
                    <a:gd name="connsiteX145" fmla="*/ 353257 w 761692"/>
                    <a:gd name="connsiteY145" fmla="*/ 713432 h 1016771"/>
                    <a:gd name="connsiteX146" fmla="*/ 346476 w 761692"/>
                    <a:gd name="connsiteY146" fmla="*/ 701565 h 1016771"/>
                    <a:gd name="connsiteX147" fmla="*/ 332913 w 761692"/>
                    <a:gd name="connsiteY147" fmla="*/ 689697 h 1016771"/>
                    <a:gd name="connsiteX148" fmla="*/ 324436 w 761692"/>
                    <a:gd name="connsiteY148" fmla="*/ 681221 h 1016771"/>
                    <a:gd name="connsiteX149" fmla="*/ 314264 w 761692"/>
                    <a:gd name="connsiteY149" fmla="*/ 676135 h 1016771"/>
                    <a:gd name="connsiteX150" fmla="*/ 293920 w 761692"/>
                    <a:gd name="connsiteY150" fmla="*/ 669354 h 1016771"/>
                    <a:gd name="connsiteX151" fmla="*/ 282053 w 761692"/>
                    <a:gd name="connsiteY151" fmla="*/ 667658 h 1016771"/>
                    <a:gd name="connsiteX152" fmla="*/ 266795 w 761692"/>
                    <a:gd name="connsiteY152" fmla="*/ 672744 h 1016771"/>
                    <a:gd name="connsiteX153" fmla="*/ 265100 w 761692"/>
                    <a:gd name="connsiteY153" fmla="*/ 672744 h 1016771"/>
                    <a:gd name="connsiteX154" fmla="*/ 263404 w 761692"/>
                    <a:gd name="connsiteY154" fmla="*/ 671049 h 1016771"/>
                    <a:gd name="connsiteX155" fmla="*/ 260014 w 761692"/>
                    <a:gd name="connsiteY155" fmla="*/ 671049 h 1016771"/>
                    <a:gd name="connsiteX156" fmla="*/ 258318 w 761692"/>
                    <a:gd name="connsiteY156" fmla="*/ 671049 h 1016771"/>
                    <a:gd name="connsiteX157" fmla="*/ 253232 w 761692"/>
                    <a:gd name="connsiteY157" fmla="*/ 671049 h 1016771"/>
                    <a:gd name="connsiteX158" fmla="*/ 248146 w 761692"/>
                    <a:gd name="connsiteY158" fmla="*/ 672744 h 1016771"/>
                    <a:gd name="connsiteX159" fmla="*/ 248146 w 761692"/>
                    <a:gd name="connsiteY159" fmla="*/ 674440 h 1016771"/>
                    <a:gd name="connsiteX160" fmla="*/ 246451 w 761692"/>
                    <a:gd name="connsiteY160" fmla="*/ 674440 h 1016771"/>
                    <a:gd name="connsiteX161" fmla="*/ 236279 w 761692"/>
                    <a:gd name="connsiteY161" fmla="*/ 679526 h 1016771"/>
                    <a:gd name="connsiteX162" fmla="*/ 226107 w 761692"/>
                    <a:gd name="connsiteY162" fmla="*/ 684612 h 1016771"/>
                    <a:gd name="connsiteX163" fmla="*/ 217630 w 761692"/>
                    <a:gd name="connsiteY163" fmla="*/ 684612 h 1016771"/>
                    <a:gd name="connsiteX164" fmla="*/ 207458 w 761692"/>
                    <a:gd name="connsiteY164" fmla="*/ 693088 h 1016771"/>
                    <a:gd name="connsiteX165" fmla="*/ 198982 w 761692"/>
                    <a:gd name="connsiteY165" fmla="*/ 694783 h 1016771"/>
                    <a:gd name="connsiteX166" fmla="*/ 192200 w 761692"/>
                    <a:gd name="connsiteY166" fmla="*/ 699869 h 1016771"/>
                    <a:gd name="connsiteX167" fmla="*/ 178638 w 761692"/>
                    <a:gd name="connsiteY167" fmla="*/ 706651 h 1016771"/>
                    <a:gd name="connsiteX168" fmla="*/ 163380 w 761692"/>
                    <a:gd name="connsiteY168" fmla="*/ 710041 h 1016771"/>
                    <a:gd name="connsiteX169" fmla="*/ 141340 w 761692"/>
                    <a:gd name="connsiteY169" fmla="*/ 710041 h 1016771"/>
                    <a:gd name="connsiteX170" fmla="*/ 134559 w 761692"/>
                    <a:gd name="connsiteY170" fmla="*/ 716823 h 1016771"/>
                    <a:gd name="connsiteX171" fmla="*/ 127778 w 761692"/>
                    <a:gd name="connsiteY171" fmla="*/ 718518 h 1016771"/>
                    <a:gd name="connsiteX172" fmla="*/ 120996 w 761692"/>
                    <a:gd name="connsiteY172" fmla="*/ 725299 h 1016771"/>
                    <a:gd name="connsiteX173" fmla="*/ 111172 w 761692"/>
                    <a:gd name="connsiteY173" fmla="*/ 733720 h 1016771"/>
                    <a:gd name="connsiteX174" fmla="*/ 106283 w 761692"/>
                    <a:gd name="connsiteY174" fmla="*/ 729808 h 1016771"/>
                    <a:gd name="connsiteX175" fmla="*/ 92112 w 761692"/>
                    <a:gd name="connsiteY175" fmla="*/ 724494 h 1016771"/>
                    <a:gd name="connsiteX176" fmla="*/ 77941 w 761692"/>
                    <a:gd name="connsiteY176" fmla="*/ 726265 h 1016771"/>
                    <a:gd name="connsiteX177" fmla="*/ 70855 w 761692"/>
                    <a:gd name="connsiteY177" fmla="*/ 719180 h 1016771"/>
                    <a:gd name="connsiteX178" fmla="*/ 70855 w 761692"/>
                    <a:gd name="connsiteY178" fmla="*/ 699695 h 1016771"/>
                    <a:gd name="connsiteX179" fmla="*/ 81483 w 761692"/>
                    <a:gd name="connsiteY179" fmla="*/ 685524 h 1016771"/>
                    <a:gd name="connsiteX180" fmla="*/ 85026 w 761692"/>
                    <a:gd name="connsiteY180" fmla="*/ 673124 h 1016771"/>
                    <a:gd name="connsiteX181" fmla="*/ 86797 w 761692"/>
                    <a:gd name="connsiteY181" fmla="*/ 660724 h 1016771"/>
                    <a:gd name="connsiteX182" fmla="*/ 97426 w 761692"/>
                    <a:gd name="connsiteY182" fmla="*/ 650096 h 1016771"/>
                    <a:gd name="connsiteX183" fmla="*/ 102740 w 761692"/>
                    <a:gd name="connsiteY183" fmla="*/ 635925 h 1016771"/>
                    <a:gd name="connsiteX184" fmla="*/ 113368 w 761692"/>
                    <a:gd name="connsiteY184" fmla="*/ 625297 h 1016771"/>
                    <a:gd name="connsiteX185" fmla="*/ 115139 w 761692"/>
                    <a:gd name="connsiteY185" fmla="*/ 612897 h 1016771"/>
                    <a:gd name="connsiteX186" fmla="*/ 127539 w 761692"/>
                    <a:gd name="connsiteY186" fmla="*/ 609354 h 1016771"/>
                    <a:gd name="connsiteX187" fmla="*/ 136396 w 761692"/>
                    <a:gd name="connsiteY187" fmla="*/ 604040 h 1016771"/>
                    <a:gd name="connsiteX188" fmla="*/ 132853 w 761692"/>
                    <a:gd name="connsiteY188" fmla="*/ 593412 h 1016771"/>
                    <a:gd name="connsiteX189" fmla="*/ 134625 w 761692"/>
                    <a:gd name="connsiteY189" fmla="*/ 584555 h 1016771"/>
                    <a:gd name="connsiteX190" fmla="*/ 131082 w 761692"/>
                    <a:gd name="connsiteY190" fmla="*/ 575698 h 1016771"/>
                    <a:gd name="connsiteX191" fmla="*/ 120454 w 761692"/>
                    <a:gd name="connsiteY191" fmla="*/ 568613 h 1016771"/>
                    <a:gd name="connsiteX192" fmla="*/ 125768 w 761692"/>
                    <a:gd name="connsiteY192" fmla="*/ 552670 h 1016771"/>
                    <a:gd name="connsiteX193" fmla="*/ 118682 w 761692"/>
                    <a:gd name="connsiteY193" fmla="*/ 543813 h 1016771"/>
                    <a:gd name="connsiteX194" fmla="*/ 90340 w 761692"/>
                    <a:gd name="connsiteY194" fmla="*/ 543813 h 1016771"/>
                    <a:gd name="connsiteX195" fmla="*/ 86797 w 761692"/>
                    <a:gd name="connsiteY195" fmla="*/ 542042 h 1016771"/>
                    <a:gd name="connsiteX196" fmla="*/ 83255 w 761692"/>
                    <a:gd name="connsiteY196" fmla="*/ 542042 h 1016771"/>
                    <a:gd name="connsiteX197" fmla="*/ 81483 w 761692"/>
                    <a:gd name="connsiteY197" fmla="*/ 540271 h 1016771"/>
                    <a:gd name="connsiteX198" fmla="*/ 81483 w 761692"/>
                    <a:gd name="connsiteY198" fmla="*/ 536728 h 1016771"/>
                    <a:gd name="connsiteX199" fmla="*/ 79712 w 761692"/>
                    <a:gd name="connsiteY199" fmla="*/ 531414 h 1016771"/>
                    <a:gd name="connsiteX200" fmla="*/ 77941 w 761692"/>
                    <a:gd name="connsiteY200" fmla="*/ 529642 h 1016771"/>
                    <a:gd name="connsiteX201" fmla="*/ 70855 w 761692"/>
                    <a:gd name="connsiteY201" fmla="*/ 527871 h 1016771"/>
                    <a:gd name="connsiteX202" fmla="*/ 60227 w 761692"/>
                    <a:gd name="connsiteY202" fmla="*/ 536728 h 1016771"/>
                    <a:gd name="connsiteX203" fmla="*/ 47827 w 761692"/>
                    <a:gd name="connsiteY203" fmla="*/ 526100 h 1016771"/>
                    <a:gd name="connsiteX204" fmla="*/ 42513 w 761692"/>
                    <a:gd name="connsiteY204" fmla="*/ 515471 h 1016771"/>
                    <a:gd name="connsiteX205" fmla="*/ 33656 w 761692"/>
                    <a:gd name="connsiteY205" fmla="*/ 506614 h 1016771"/>
                    <a:gd name="connsiteX206" fmla="*/ 31885 w 761692"/>
                    <a:gd name="connsiteY206" fmla="*/ 490672 h 1016771"/>
                    <a:gd name="connsiteX207" fmla="*/ 26571 w 761692"/>
                    <a:gd name="connsiteY207" fmla="*/ 476501 h 1016771"/>
                    <a:gd name="connsiteX208" fmla="*/ 24799 w 761692"/>
                    <a:gd name="connsiteY208" fmla="*/ 471187 h 1016771"/>
                    <a:gd name="connsiteX209" fmla="*/ 12400 w 761692"/>
                    <a:gd name="connsiteY209" fmla="*/ 472958 h 1016771"/>
                    <a:gd name="connsiteX210" fmla="*/ 7086 w 761692"/>
                    <a:gd name="connsiteY210" fmla="*/ 464101 h 1016771"/>
                    <a:gd name="connsiteX211" fmla="*/ 8857 w 761692"/>
                    <a:gd name="connsiteY211" fmla="*/ 446388 h 1016771"/>
                    <a:gd name="connsiteX212" fmla="*/ 3543 w 761692"/>
                    <a:gd name="connsiteY212" fmla="*/ 435759 h 1016771"/>
                    <a:gd name="connsiteX213" fmla="*/ 5314 w 761692"/>
                    <a:gd name="connsiteY213" fmla="*/ 412731 h 1016771"/>
                    <a:gd name="connsiteX214" fmla="*/ 0 w 761692"/>
                    <a:gd name="connsiteY214" fmla="*/ 396789 h 1016771"/>
                    <a:gd name="connsiteX215" fmla="*/ 3543 w 761692"/>
                    <a:gd name="connsiteY215" fmla="*/ 384389 h 1016771"/>
                    <a:gd name="connsiteX216" fmla="*/ 14171 w 761692"/>
                    <a:gd name="connsiteY216" fmla="*/ 380846 h 1016771"/>
                    <a:gd name="connsiteX217" fmla="*/ 24799 w 761692"/>
                    <a:gd name="connsiteY217" fmla="*/ 364904 h 1016771"/>
                    <a:gd name="connsiteX218" fmla="*/ 30113 w 761692"/>
                    <a:gd name="connsiteY218" fmla="*/ 350733 h 1016771"/>
                    <a:gd name="connsiteX219" fmla="*/ 35428 w 761692"/>
                    <a:gd name="connsiteY219" fmla="*/ 341876 h 1016771"/>
                    <a:gd name="connsiteX220" fmla="*/ 42513 w 761692"/>
                    <a:gd name="connsiteY220" fmla="*/ 327705 h 1016771"/>
                    <a:gd name="connsiteX221" fmla="*/ 42513 w 761692"/>
                    <a:gd name="connsiteY221" fmla="*/ 315305 h 1016771"/>
                    <a:gd name="connsiteX222" fmla="*/ 56684 w 761692"/>
                    <a:gd name="connsiteY222" fmla="*/ 309991 h 1016771"/>
                    <a:gd name="connsiteX223" fmla="*/ 60227 w 761692"/>
                    <a:gd name="connsiteY223" fmla="*/ 309991 h 1016771"/>
                    <a:gd name="connsiteX224" fmla="*/ 61998 w 761692"/>
                    <a:gd name="connsiteY224" fmla="*/ 311763 h 1016771"/>
                    <a:gd name="connsiteX225" fmla="*/ 67312 w 761692"/>
                    <a:gd name="connsiteY225" fmla="*/ 311763 h 1016771"/>
                    <a:gd name="connsiteX226" fmla="*/ 67312 w 761692"/>
                    <a:gd name="connsiteY226" fmla="*/ 309991 h 1016771"/>
                    <a:gd name="connsiteX227" fmla="*/ 67312 w 761692"/>
                    <a:gd name="connsiteY227" fmla="*/ 308220 h 1016771"/>
                    <a:gd name="connsiteX228" fmla="*/ 69084 w 761692"/>
                    <a:gd name="connsiteY228" fmla="*/ 302906 h 1016771"/>
                    <a:gd name="connsiteX229" fmla="*/ 70855 w 761692"/>
                    <a:gd name="connsiteY229" fmla="*/ 301134 h 1016771"/>
                    <a:gd name="connsiteX230" fmla="*/ 70855 w 761692"/>
                    <a:gd name="connsiteY230" fmla="*/ 299363 h 1016771"/>
                    <a:gd name="connsiteX231" fmla="*/ 77941 w 761692"/>
                    <a:gd name="connsiteY231" fmla="*/ 295820 h 1016771"/>
                    <a:gd name="connsiteX232" fmla="*/ 85026 w 761692"/>
                    <a:gd name="connsiteY232" fmla="*/ 295820 h 1016771"/>
                    <a:gd name="connsiteX233" fmla="*/ 93883 w 761692"/>
                    <a:gd name="connsiteY233" fmla="*/ 297592 h 1016771"/>
                    <a:gd name="connsiteX234" fmla="*/ 100968 w 761692"/>
                    <a:gd name="connsiteY234" fmla="*/ 288735 h 1016771"/>
                    <a:gd name="connsiteX235" fmla="*/ 97426 w 761692"/>
                    <a:gd name="connsiteY235" fmla="*/ 279878 h 1016771"/>
                    <a:gd name="connsiteX236" fmla="*/ 85026 w 761692"/>
                    <a:gd name="connsiteY236" fmla="*/ 276335 h 1016771"/>
                    <a:gd name="connsiteX237" fmla="*/ 76169 w 761692"/>
                    <a:gd name="connsiteY237" fmla="*/ 271021 h 1016771"/>
                    <a:gd name="connsiteX238" fmla="*/ 76169 w 761692"/>
                    <a:gd name="connsiteY238" fmla="*/ 262164 h 1016771"/>
                    <a:gd name="connsiteX239" fmla="*/ 81483 w 761692"/>
                    <a:gd name="connsiteY239" fmla="*/ 251536 h 1016771"/>
                    <a:gd name="connsiteX240" fmla="*/ 86797 w 761692"/>
                    <a:gd name="connsiteY240" fmla="*/ 255079 h 1016771"/>
                    <a:gd name="connsiteX241" fmla="*/ 104511 w 761692"/>
                    <a:gd name="connsiteY241" fmla="*/ 262164 h 1016771"/>
                    <a:gd name="connsiteX242" fmla="*/ 116911 w 761692"/>
                    <a:gd name="connsiteY242" fmla="*/ 265707 h 1016771"/>
                    <a:gd name="connsiteX243" fmla="*/ 132853 w 761692"/>
                    <a:gd name="connsiteY243" fmla="*/ 269250 h 1016771"/>
                    <a:gd name="connsiteX244" fmla="*/ 138167 w 761692"/>
                    <a:gd name="connsiteY244" fmla="*/ 265707 h 1016771"/>
                    <a:gd name="connsiteX245" fmla="*/ 150567 w 761692"/>
                    <a:gd name="connsiteY245" fmla="*/ 255079 h 1016771"/>
                    <a:gd name="connsiteX246" fmla="*/ 166509 w 761692"/>
                    <a:gd name="connsiteY246" fmla="*/ 255079 h 1016771"/>
                    <a:gd name="connsiteX247" fmla="*/ 166509 w 761692"/>
                    <a:gd name="connsiteY247" fmla="*/ 265707 h 1016771"/>
                    <a:gd name="connsiteX248" fmla="*/ 177138 w 761692"/>
                    <a:gd name="connsiteY248" fmla="*/ 272792 h 1016771"/>
                    <a:gd name="connsiteX249" fmla="*/ 194851 w 761692"/>
                    <a:gd name="connsiteY249" fmla="*/ 276335 h 1016771"/>
                    <a:gd name="connsiteX250" fmla="*/ 209022 w 761692"/>
                    <a:gd name="connsiteY250" fmla="*/ 279878 h 1016771"/>
                    <a:gd name="connsiteX251" fmla="*/ 221422 w 761692"/>
                    <a:gd name="connsiteY251" fmla="*/ 276335 h 1016771"/>
                    <a:gd name="connsiteX252" fmla="*/ 226736 w 761692"/>
                    <a:gd name="connsiteY252" fmla="*/ 269250 h 1016771"/>
                    <a:gd name="connsiteX253" fmla="*/ 226736 w 761692"/>
                    <a:gd name="connsiteY253" fmla="*/ 251536 h 1016771"/>
                    <a:gd name="connsiteX254" fmla="*/ 224965 w 761692"/>
                    <a:gd name="connsiteY254" fmla="*/ 239136 h 1016771"/>
                    <a:gd name="connsiteX255" fmla="*/ 214337 w 761692"/>
                    <a:gd name="connsiteY255" fmla="*/ 230279 h 1016771"/>
                    <a:gd name="connsiteX256" fmla="*/ 210794 w 761692"/>
                    <a:gd name="connsiteY256" fmla="*/ 217880 h 1016771"/>
                    <a:gd name="connsiteX257" fmla="*/ 221422 w 761692"/>
                    <a:gd name="connsiteY257" fmla="*/ 207251 h 1016771"/>
                    <a:gd name="connsiteX258" fmla="*/ 235593 w 761692"/>
                    <a:gd name="connsiteY258" fmla="*/ 214337 h 1016771"/>
                    <a:gd name="connsiteX259" fmla="*/ 246221 w 761692"/>
                    <a:gd name="connsiteY259" fmla="*/ 219651 h 1016771"/>
                    <a:gd name="connsiteX260" fmla="*/ 253307 w 761692"/>
                    <a:gd name="connsiteY260" fmla="*/ 221422 h 1016771"/>
                    <a:gd name="connsiteX261" fmla="*/ 262164 w 761692"/>
                    <a:gd name="connsiteY261" fmla="*/ 210794 h 1016771"/>
                    <a:gd name="connsiteX262" fmla="*/ 263935 w 761692"/>
                    <a:gd name="connsiteY262" fmla="*/ 201937 h 1016771"/>
                    <a:gd name="connsiteX263" fmla="*/ 274563 w 761692"/>
                    <a:gd name="connsiteY263" fmla="*/ 189538 h 1016771"/>
                    <a:gd name="connsiteX264" fmla="*/ 283420 w 761692"/>
                    <a:gd name="connsiteY264" fmla="*/ 178909 h 1016771"/>
                    <a:gd name="connsiteX265" fmla="*/ 286963 w 761692"/>
                    <a:gd name="connsiteY265" fmla="*/ 173595 h 1016771"/>
                    <a:gd name="connsiteX266" fmla="*/ 311762 w 761692"/>
                    <a:gd name="connsiteY266" fmla="*/ 168281 h 1016771"/>
                    <a:gd name="connsiteX267" fmla="*/ 325933 w 761692"/>
                    <a:gd name="connsiteY267" fmla="*/ 164738 h 1016771"/>
                    <a:gd name="connsiteX268" fmla="*/ 336562 w 761692"/>
                    <a:gd name="connsiteY268" fmla="*/ 159424 h 1016771"/>
                    <a:gd name="connsiteX269" fmla="*/ 348961 w 761692"/>
                    <a:gd name="connsiteY269" fmla="*/ 145253 h 1016771"/>
                    <a:gd name="connsiteX270" fmla="*/ 359589 w 761692"/>
                    <a:gd name="connsiteY270" fmla="*/ 143482 h 1016771"/>
                    <a:gd name="connsiteX271" fmla="*/ 371989 w 761692"/>
                    <a:gd name="connsiteY271" fmla="*/ 143482 h 1016771"/>
                    <a:gd name="connsiteX272" fmla="*/ 391474 w 761692"/>
                    <a:gd name="connsiteY272" fmla="*/ 143482 h 1016771"/>
                    <a:gd name="connsiteX273" fmla="*/ 396788 w 761692"/>
                    <a:gd name="connsiteY273" fmla="*/ 141710 h 1016771"/>
                    <a:gd name="connsiteX274" fmla="*/ 403874 w 761692"/>
                    <a:gd name="connsiteY274" fmla="*/ 134625 h 1016771"/>
                    <a:gd name="connsiteX275" fmla="*/ 409188 w 761692"/>
                    <a:gd name="connsiteY275" fmla="*/ 129311 h 1016771"/>
                    <a:gd name="connsiteX276" fmla="*/ 409188 w 761692"/>
                    <a:gd name="connsiteY276" fmla="*/ 123997 h 1016771"/>
                    <a:gd name="connsiteX277" fmla="*/ 414502 w 761692"/>
                    <a:gd name="connsiteY277" fmla="*/ 115140 h 1016771"/>
                    <a:gd name="connsiteX278" fmla="*/ 428673 w 761692"/>
                    <a:gd name="connsiteY278" fmla="*/ 115140 h 1016771"/>
                    <a:gd name="connsiteX279" fmla="*/ 432216 w 761692"/>
                    <a:gd name="connsiteY279" fmla="*/ 109826 h 1016771"/>
                    <a:gd name="connsiteX280" fmla="*/ 437530 w 761692"/>
                    <a:gd name="connsiteY280" fmla="*/ 100969 h 1016771"/>
                    <a:gd name="connsiteX281" fmla="*/ 448158 w 761692"/>
                    <a:gd name="connsiteY281" fmla="*/ 99197 h 1016771"/>
                    <a:gd name="connsiteX282" fmla="*/ 460558 w 761692"/>
                    <a:gd name="connsiteY282" fmla="*/ 97426 h 1016771"/>
                    <a:gd name="connsiteX283" fmla="*/ 472958 w 761692"/>
                    <a:gd name="connsiteY283" fmla="*/ 93883 h 1016771"/>
                    <a:gd name="connsiteX284" fmla="*/ 492443 w 761692"/>
                    <a:gd name="connsiteY284" fmla="*/ 93883 h 1016771"/>
                    <a:gd name="connsiteX285" fmla="*/ 501300 w 761692"/>
                    <a:gd name="connsiteY285" fmla="*/ 83255 h 1016771"/>
                    <a:gd name="connsiteX286" fmla="*/ 517242 w 761692"/>
                    <a:gd name="connsiteY286" fmla="*/ 81484 h 1016771"/>
                    <a:gd name="connsiteX287" fmla="*/ 522556 w 761692"/>
                    <a:gd name="connsiteY287" fmla="*/ 81484 h 1016771"/>
                    <a:gd name="connsiteX288" fmla="*/ 522556 w 761692"/>
                    <a:gd name="connsiteY288" fmla="*/ 60227 h 1016771"/>
                    <a:gd name="connsiteX289" fmla="*/ 526099 w 761692"/>
                    <a:gd name="connsiteY289" fmla="*/ 54913 h 1016771"/>
                    <a:gd name="connsiteX290" fmla="*/ 529642 w 761692"/>
                    <a:gd name="connsiteY290" fmla="*/ 46056 h 1016771"/>
                    <a:gd name="connsiteX291" fmla="*/ 538499 w 761692"/>
                    <a:gd name="connsiteY291" fmla="*/ 40742 h 1016771"/>
                    <a:gd name="connsiteX292" fmla="*/ 540270 w 761692"/>
                    <a:gd name="connsiteY292" fmla="*/ 30114 h 1016771"/>
                    <a:gd name="connsiteX293" fmla="*/ 536727 w 761692"/>
                    <a:gd name="connsiteY293" fmla="*/ 19485 h 1016771"/>
                    <a:gd name="connsiteX294" fmla="*/ 543813 w 761692"/>
                    <a:gd name="connsiteY294" fmla="*/ 5314 h 1016771"/>
                    <a:gd name="connsiteX295" fmla="*/ 554441 w 761692"/>
                    <a:gd name="connsiteY295" fmla="*/ 0 h 1016771"/>
                    <a:gd name="connsiteX0" fmla="*/ 148122 w 761692"/>
                    <a:gd name="connsiteY0" fmla="*/ 842277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48122 w 761692"/>
                    <a:gd name="connsiteY4" fmla="*/ 842277 h 1016771"/>
                    <a:gd name="connsiteX5" fmla="*/ 116476 w 761692"/>
                    <a:gd name="connsiteY5" fmla="*/ 741349 h 1016771"/>
                    <a:gd name="connsiteX6" fmla="*/ 117606 w 761692"/>
                    <a:gd name="connsiteY6" fmla="*/ 742253 h 1016771"/>
                    <a:gd name="connsiteX7" fmla="*/ 122692 w 761692"/>
                    <a:gd name="connsiteY7" fmla="*/ 759206 h 1016771"/>
                    <a:gd name="connsiteX8" fmla="*/ 126082 w 761692"/>
                    <a:gd name="connsiteY8" fmla="*/ 771073 h 1016771"/>
                    <a:gd name="connsiteX9" fmla="*/ 129473 w 761692"/>
                    <a:gd name="connsiteY9" fmla="*/ 782940 h 1016771"/>
                    <a:gd name="connsiteX10" fmla="*/ 132864 w 761692"/>
                    <a:gd name="connsiteY10" fmla="*/ 793112 h 1016771"/>
                    <a:gd name="connsiteX11" fmla="*/ 136254 w 761692"/>
                    <a:gd name="connsiteY11" fmla="*/ 810066 h 1016771"/>
                    <a:gd name="connsiteX12" fmla="*/ 139058 w 761692"/>
                    <a:gd name="connsiteY12" fmla="*/ 818476 h 1016771"/>
                    <a:gd name="connsiteX13" fmla="*/ 138167 w 761692"/>
                    <a:gd name="connsiteY13" fmla="*/ 818377 h 1016771"/>
                    <a:gd name="connsiteX14" fmla="*/ 134625 w 761692"/>
                    <a:gd name="connsiteY14" fmla="*/ 807749 h 1016771"/>
                    <a:gd name="connsiteX15" fmla="*/ 131082 w 761692"/>
                    <a:gd name="connsiteY15" fmla="*/ 790035 h 1016771"/>
                    <a:gd name="connsiteX16" fmla="*/ 127539 w 761692"/>
                    <a:gd name="connsiteY16" fmla="*/ 779407 h 1016771"/>
                    <a:gd name="connsiteX17" fmla="*/ 123996 w 761692"/>
                    <a:gd name="connsiteY17" fmla="*/ 767007 h 1016771"/>
                    <a:gd name="connsiteX18" fmla="*/ 120454 w 761692"/>
                    <a:gd name="connsiteY18" fmla="*/ 754607 h 1016771"/>
                    <a:gd name="connsiteX19" fmla="*/ 116476 w 761692"/>
                    <a:gd name="connsiteY19" fmla="*/ 741349 h 1016771"/>
                    <a:gd name="connsiteX20" fmla="*/ 554441 w 761692"/>
                    <a:gd name="connsiteY20" fmla="*/ 0 h 1016771"/>
                    <a:gd name="connsiteX21" fmla="*/ 570383 w 761692"/>
                    <a:gd name="connsiteY21" fmla="*/ 3543 h 1016771"/>
                    <a:gd name="connsiteX22" fmla="*/ 577469 w 761692"/>
                    <a:gd name="connsiteY22" fmla="*/ 8857 h 1016771"/>
                    <a:gd name="connsiteX23" fmla="*/ 582783 w 761692"/>
                    <a:gd name="connsiteY23" fmla="*/ 17714 h 1016771"/>
                    <a:gd name="connsiteX24" fmla="*/ 582783 w 761692"/>
                    <a:gd name="connsiteY24" fmla="*/ 24799 h 1016771"/>
                    <a:gd name="connsiteX25" fmla="*/ 588097 w 761692"/>
                    <a:gd name="connsiteY25" fmla="*/ 33656 h 1016771"/>
                    <a:gd name="connsiteX26" fmla="*/ 598725 w 761692"/>
                    <a:gd name="connsiteY26" fmla="*/ 31885 h 1016771"/>
                    <a:gd name="connsiteX27" fmla="*/ 612896 w 761692"/>
                    <a:gd name="connsiteY27" fmla="*/ 37199 h 1016771"/>
                    <a:gd name="connsiteX28" fmla="*/ 618211 w 761692"/>
                    <a:gd name="connsiteY28" fmla="*/ 46056 h 1016771"/>
                    <a:gd name="connsiteX29" fmla="*/ 619982 w 761692"/>
                    <a:gd name="connsiteY29" fmla="*/ 54913 h 1016771"/>
                    <a:gd name="connsiteX30" fmla="*/ 618211 w 761692"/>
                    <a:gd name="connsiteY30" fmla="*/ 74398 h 1016771"/>
                    <a:gd name="connsiteX31" fmla="*/ 616439 w 761692"/>
                    <a:gd name="connsiteY31" fmla="*/ 85026 h 1016771"/>
                    <a:gd name="connsiteX32" fmla="*/ 621753 w 761692"/>
                    <a:gd name="connsiteY32" fmla="*/ 97426 h 1016771"/>
                    <a:gd name="connsiteX33" fmla="*/ 637696 w 761692"/>
                    <a:gd name="connsiteY33" fmla="*/ 113368 h 1016771"/>
                    <a:gd name="connsiteX34" fmla="*/ 644781 w 761692"/>
                    <a:gd name="connsiteY34" fmla="*/ 120454 h 1016771"/>
                    <a:gd name="connsiteX35" fmla="*/ 650095 w 761692"/>
                    <a:gd name="connsiteY35" fmla="*/ 136396 h 1016771"/>
                    <a:gd name="connsiteX36" fmla="*/ 655409 w 761692"/>
                    <a:gd name="connsiteY36" fmla="*/ 155881 h 1016771"/>
                    <a:gd name="connsiteX37" fmla="*/ 662495 w 761692"/>
                    <a:gd name="connsiteY37" fmla="*/ 171824 h 1016771"/>
                    <a:gd name="connsiteX38" fmla="*/ 660724 w 761692"/>
                    <a:gd name="connsiteY38" fmla="*/ 185995 h 1016771"/>
                    <a:gd name="connsiteX39" fmla="*/ 635924 w 761692"/>
                    <a:gd name="connsiteY39" fmla="*/ 194852 h 1016771"/>
                    <a:gd name="connsiteX40" fmla="*/ 619982 w 761692"/>
                    <a:gd name="connsiteY40" fmla="*/ 207251 h 1016771"/>
                    <a:gd name="connsiteX41" fmla="*/ 614668 w 761692"/>
                    <a:gd name="connsiteY41" fmla="*/ 223194 h 1016771"/>
                    <a:gd name="connsiteX42" fmla="*/ 618211 w 761692"/>
                    <a:gd name="connsiteY42" fmla="*/ 242679 h 1016771"/>
                    <a:gd name="connsiteX43" fmla="*/ 612896 w 761692"/>
                    <a:gd name="connsiteY43" fmla="*/ 256850 h 1016771"/>
                    <a:gd name="connsiteX44" fmla="*/ 625296 w 761692"/>
                    <a:gd name="connsiteY44" fmla="*/ 267478 h 1016771"/>
                    <a:gd name="connsiteX45" fmla="*/ 641238 w 761692"/>
                    <a:gd name="connsiteY45" fmla="*/ 269250 h 1016771"/>
                    <a:gd name="connsiteX46" fmla="*/ 658952 w 761692"/>
                    <a:gd name="connsiteY46" fmla="*/ 286963 h 1016771"/>
                    <a:gd name="connsiteX47" fmla="*/ 653638 w 761692"/>
                    <a:gd name="connsiteY47" fmla="*/ 309991 h 1016771"/>
                    <a:gd name="connsiteX48" fmla="*/ 653638 w 761692"/>
                    <a:gd name="connsiteY48" fmla="*/ 329476 h 1016771"/>
                    <a:gd name="connsiteX49" fmla="*/ 643010 w 761692"/>
                    <a:gd name="connsiteY49" fmla="*/ 338333 h 1016771"/>
                    <a:gd name="connsiteX50" fmla="*/ 632382 w 761692"/>
                    <a:gd name="connsiteY50" fmla="*/ 338333 h 1016771"/>
                    <a:gd name="connsiteX51" fmla="*/ 618211 w 761692"/>
                    <a:gd name="connsiteY51" fmla="*/ 357819 h 1016771"/>
                    <a:gd name="connsiteX52" fmla="*/ 609354 w 761692"/>
                    <a:gd name="connsiteY52" fmla="*/ 361361 h 1016771"/>
                    <a:gd name="connsiteX53" fmla="*/ 596954 w 761692"/>
                    <a:gd name="connsiteY53" fmla="*/ 363133 h 1016771"/>
                    <a:gd name="connsiteX54" fmla="*/ 581012 w 761692"/>
                    <a:gd name="connsiteY54" fmla="*/ 379075 h 1016771"/>
                    <a:gd name="connsiteX55" fmla="*/ 589868 w 761692"/>
                    <a:gd name="connsiteY55" fmla="*/ 393246 h 1016771"/>
                    <a:gd name="connsiteX56" fmla="*/ 586326 w 761692"/>
                    <a:gd name="connsiteY56" fmla="*/ 409189 h 1016771"/>
                    <a:gd name="connsiteX57" fmla="*/ 570383 w 761692"/>
                    <a:gd name="connsiteY57" fmla="*/ 398560 h 1016771"/>
                    <a:gd name="connsiteX58" fmla="*/ 550898 w 761692"/>
                    <a:gd name="connsiteY58" fmla="*/ 405646 h 1016771"/>
                    <a:gd name="connsiteX59" fmla="*/ 531413 w 761692"/>
                    <a:gd name="connsiteY59" fmla="*/ 425131 h 1016771"/>
                    <a:gd name="connsiteX60" fmla="*/ 543813 w 761692"/>
                    <a:gd name="connsiteY60" fmla="*/ 444616 h 1016771"/>
                    <a:gd name="connsiteX61" fmla="*/ 557984 w 761692"/>
                    <a:gd name="connsiteY61" fmla="*/ 462330 h 1016771"/>
                    <a:gd name="connsiteX62" fmla="*/ 570383 w 761692"/>
                    <a:gd name="connsiteY62" fmla="*/ 478272 h 1016771"/>
                    <a:gd name="connsiteX63" fmla="*/ 579240 w 761692"/>
                    <a:gd name="connsiteY63" fmla="*/ 485358 h 1016771"/>
                    <a:gd name="connsiteX64" fmla="*/ 602268 w 761692"/>
                    <a:gd name="connsiteY64" fmla="*/ 483586 h 1016771"/>
                    <a:gd name="connsiteX65" fmla="*/ 623525 w 761692"/>
                    <a:gd name="connsiteY65" fmla="*/ 474730 h 1016771"/>
                    <a:gd name="connsiteX66" fmla="*/ 639467 w 761692"/>
                    <a:gd name="connsiteY66" fmla="*/ 464101 h 1016771"/>
                    <a:gd name="connsiteX67" fmla="*/ 662495 w 761692"/>
                    <a:gd name="connsiteY67" fmla="*/ 464101 h 1016771"/>
                    <a:gd name="connsiteX68" fmla="*/ 673123 w 761692"/>
                    <a:gd name="connsiteY68" fmla="*/ 464101 h 1016771"/>
                    <a:gd name="connsiteX69" fmla="*/ 681980 w 761692"/>
                    <a:gd name="connsiteY69" fmla="*/ 467644 h 1016771"/>
                    <a:gd name="connsiteX70" fmla="*/ 703237 w 761692"/>
                    <a:gd name="connsiteY70" fmla="*/ 471187 h 1016771"/>
                    <a:gd name="connsiteX71" fmla="*/ 708551 w 761692"/>
                    <a:gd name="connsiteY71" fmla="*/ 474730 h 1016771"/>
                    <a:gd name="connsiteX72" fmla="*/ 722722 w 761692"/>
                    <a:gd name="connsiteY72" fmla="*/ 501300 h 1016771"/>
                    <a:gd name="connsiteX73" fmla="*/ 724493 w 761692"/>
                    <a:gd name="connsiteY73" fmla="*/ 522557 h 1016771"/>
                    <a:gd name="connsiteX74" fmla="*/ 722722 w 761692"/>
                    <a:gd name="connsiteY74" fmla="*/ 540271 h 1016771"/>
                    <a:gd name="connsiteX75" fmla="*/ 735121 w 761692"/>
                    <a:gd name="connsiteY75" fmla="*/ 552670 h 1016771"/>
                    <a:gd name="connsiteX76" fmla="*/ 735121 w 761692"/>
                    <a:gd name="connsiteY76" fmla="*/ 570384 h 1016771"/>
                    <a:gd name="connsiteX77" fmla="*/ 751064 w 761692"/>
                    <a:gd name="connsiteY77" fmla="*/ 581012 h 1016771"/>
                    <a:gd name="connsiteX78" fmla="*/ 761692 w 761692"/>
                    <a:gd name="connsiteY78" fmla="*/ 604040 h 1016771"/>
                    <a:gd name="connsiteX79" fmla="*/ 747521 w 761692"/>
                    <a:gd name="connsiteY79" fmla="*/ 616440 h 1016771"/>
                    <a:gd name="connsiteX80" fmla="*/ 728036 w 761692"/>
                    <a:gd name="connsiteY80" fmla="*/ 627068 h 1016771"/>
                    <a:gd name="connsiteX81" fmla="*/ 726264 w 761692"/>
                    <a:gd name="connsiteY81" fmla="*/ 650096 h 1016771"/>
                    <a:gd name="connsiteX82" fmla="*/ 728036 w 761692"/>
                    <a:gd name="connsiteY82" fmla="*/ 673124 h 1016771"/>
                    <a:gd name="connsiteX83" fmla="*/ 742207 w 761692"/>
                    <a:gd name="connsiteY83" fmla="*/ 689066 h 1016771"/>
                    <a:gd name="connsiteX84" fmla="*/ 742207 w 761692"/>
                    <a:gd name="connsiteY84" fmla="*/ 712094 h 1016771"/>
                    <a:gd name="connsiteX85" fmla="*/ 740435 w 761692"/>
                    <a:gd name="connsiteY85" fmla="*/ 735122 h 1016771"/>
                    <a:gd name="connsiteX86" fmla="*/ 742207 w 761692"/>
                    <a:gd name="connsiteY86" fmla="*/ 751065 h 1016771"/>
                    <a:gd name="connsiteX87" fmla="*/ 747521 w 761692"/>
                    <a:gd name="connsiteY87" fmla="*/ 768778 h 1016771"/>
                    <a:gd name="connsiteX88" fmla="*/ 759921 w 761692"/>
                    <a:gd name="connsiteY88" fmla="*/ 777635 h 1016771"/>
                    <a:gd name="connsiteX89" fmla="*/ 758149 w 761692"/>
                    <a:gd name="connsiteY89" fmla="*/ 802434 h 1016771"/>
                    <a:gd name="connsiteX90" fmla="*/ 752835 w 761692"/>
                    <a:gd name="connsiteY90" fmla="*/ 814834 h 1016771"/>
                    <a:gd name="connsiteX91" fmla="*/ 743978 w 761692"/>
                    <a:gd name="connsiteY91" fmla="*/ 827234 h 1016771"/>
                    <a:gd name="connsiteX92" fmla="*/ 743978 w 761692"/>
                    <a:gd name="connsiteY92" fmla="*/ 837862 h 1016771"/>
                    <a:gd name="connsiteX93" fmla="*/ 747521 w 761692"/>
                    <a:gd name="connsiteY93" fmla="*/ 853804 h 1016771"/>
                    <a:gd name="connsiteX94" fmla="*/ 733350 w 761692"/>
                    <a:gd name="connsiteY94" fmla="*/ 867975 h 1016771"/>
                    <a:gd name="connsiteX95" fmla="*/ 724493 w 761692"/>
                    <a:gd name="connsiteY95" fmla="*/ 880375 h 1016771"/>
                    <a:gd name="connsiteX96" fmla="*/ 722722 w 761692"/>
                    <a:gd name="connsiteY96" fmla="*/ 899860 h 1016771"/>
                    <a:gd name="connsiteX97" fmla="*/ 722722 w 761692"/>
                    <a:gd name="connsiteY97" fmla="*/ 919345 h 1016771"/>
                    <a:gd name="connsiteX98" fmla="*/ 715636 w 761692"/>
                    <a:gd name="connsiteY98" fmla="*/ 940602 h 1016771"/>
                    <a:gd name="connsiteX99" fmla="*/ 708551 w 761692"/>
                    <a:gd name="connsiteY99" fmla="*/ 954773 h 1016771"/>
                    <a:gd name="connsiteX100" fmla="*/ 699694 w 761692"/>
                    <a:gd name="connsiteY100" fmla="*/ 965401 h 1016771"/>
                    <a:gd name="connsiteX101" fmla="*/ 692608 w 761692"/>
                    <a:gd name="connsiteY101" fmla="*/ 984886 h 1016771"/>
                    <a:gd name="connsiteX102" fmla="*/ 683751 w 761692"/>
                    <a:gd name="connsiteY102" fmla="*/ 997286 h 1016771"/>
                    <a:gd name="connsiteX103" fmla="*/ 673123 w 761692"/>
                    <a:gd name="connsiteY103" fmla="*/ 1002600 h 1016771"/>
                    <a:gd name="connsiteX104" fmla="*/ 662495 w 761692"/>
                    <a:gd name="connsiteY104" fmla="*/ 1013228 h 1016771"/>
                    <a:gd name="connsiteX105" fmla="*/ 644781 w 761692"/>
                    <a:gd name="connsiteY105" fmla="*/ 1016771 h 1016771"/>
                    <a:gd name="connsiteX106" fmla="*/ 635924 w 761692"/>
                    <a:gd name="connsiteY106" fmla="*/ 1004372 h 1016771"/>
                    <a:gd name="connsiteX107" fmla="*/ 623525 w 761692"/>
                    <a:gd name="connsiteY107" fmla="*/ 997286 h 1016771"/>
                    <a:gd name="connsiteX108" fmla="*/ 614668 w 761692"/>
                    <a:gd name="connsiteY108" fmla="*/ 986658 h 1016771"/>
                    <a:gd name="connsiteX109" fmla="*/ 593411 w 761692"/>
                    <a:gd name="connsiteY109" fmla="*/ 970715 h 1016771"/>
                    <a:gd name="connsiteX110" fmla="*/ 582783 w 761692"/>
                    <a:gd name="connsiteY110" fmla="*/ 965401 h 1016771"/>
                    <a:gd name="connsiteX111" fmla="*/ 531413 w 761692"/>
                    <a:gd name="connsiteY111" fmla="*/ 965401 h 1016771"/>
                    <a:gd name="connsiteX112" fmla="*/ 511928 w 761692"/>
                    <a:gd name="connsiteY112" fmla="*/ 965401 h 1016771"/>
                    <a:gd name="connsiteX113" fmla="*/ 492443 w 761692"/>
                    <a:gd name="connsiteY113" fmla="*/ 963630 h 1016771"/>
                    <a:gd name="connsiteX114" fmla="*/ 483586 w 761692"/>
                    <a:gd name="connsiteY114" fmla="*/ 958316 h 1016771"/>
                    <a:gd name="connsiteX115" fmla="*/ 469415 w 761692"/>
                    <a:gd name="connsiteY115" fmla="*/ 954773 h 1016771"/>
                    <a:gd name="connsiteX116" fmla="*/ 460558 w 761692"/>
                    <a:gd name="connsiteY116" fmla="*/ 942373 h 1016771"/>
                    <a:gd name="connsiteX117" fmla="*/ 446387 w 761692"/>
                    <a:gd name="connsiteY117" fmla="*/ 935288 h 1016771"/>
                    <a:gd name="connsiteX118" fmla="*/ 428673 w 761692"/>
                    <a:gd name="connsiteY118" fmla="*/ 928202 h 1016771"/>
                    <a:gd name="connsiteX119" fmla="*/ 418045 w 761692"/>
                    <a:gd name="connsiteY119" fmla="*/ 917574 h 1016771"/>
                    <a:gd name="connsiteX120" fmla="*/ 421588 w 761692"/>
                    <a:gd name="connsiteY120" fmla="*/ 903403 h 1016771"/>
                    <a:gd name="connsiteX121" fmla="*/ 418045 w 761692"/>
                    <a:gd name="connsiteY121" fmla="*/ 898089 h 1016771"/>
                    <a:gd name="connsiteX122" fmla="*/ 396788 w 761692"/>
                    <a:gd name="connsiteY122" fmla="*/ 898089 h 1016771"/>
                    <a:gd name="connsiteX123" fmla="*/ 382617 w 761692"/>
                    <a:gd name="connsiteY123" fmla="*/ 896318 h 1016771"/>
                    <a:gd name="connsiteX124" fmla="*/ 380846 w 761692"/>
                    <a:gd name="connsiteY124" fmla="*/ 906946 h 1016771"/>
                    <a:gd name="connsiteX125" fmla="*/ 373601 w 761692"/>
                    <a:gd name="connsiteY125" fmla="*/ 894832 h 1016771"/>
                    <a:gd name="connsiteX126" fmla="*/ 387164 w 761692"/>
                    <a:gd name="connsiteY126" fmla="*/ 896527 h 1016771"/>
                    <a:gd name="connsiteX127" fmla="*/ 383773 w 761692"/>
                    <a:gd name="connsiteY127" fmla="*/ 886355 h 1016771"/>
                    <a:gd name="connsiteX128" fmla="*/ 387164 w 761692"/>
                    <a:gd name="connsiteY128" fmla="*/ 876183 h 1016771"/>
                    <a:gd name="connsiteX129" fmla="*/ 388859 w 761692"/>
                    <a:gd name="connsiteY129" fmla="*/ 867707 h 1016771"/>
                    <a:gd name="connsiteX130" fmla="*/ 380382 w 761692"/>
                    <a:gd name="connsiteY130" fmla="*/ 859230 h 1016771"/>
                    <a:gd name="connsiteX131" fmla="*/ 373601 w 761692"/>
                    <a:gd name="connsiteY131" fmla="*/ 849058 h 1016771"/>
                    <a:gd name="connsiteX132" fmla="*/ 380382 w 761692"/>
                    <a:gd name="connsiteY132" fmla="*/ 838886 h 1016771"/>
                    <a:gd name="connsiteX133" fmla="*/ 383773 w 761692"/>
                    <a:gd name="connsiteY133" fmla="*/ 833800 h 1016771"/>
                    <a:gd name="connsiteX134" fmla="*/ 388859 w 761692"/>
                    <a:gd name="connsiteY134" fmla="*/ 825324 h 1016771"/>
                    <a:gd name="connsiteX135" fmla="*/ 387164 w 761692"/>
                    <a:gd name="connsiteY135" fmla="*/ 810066 h 1016771"/>
                    <a:gd name="connsiteX136" fmla="*/ 387164 w 761692"/>
                    <a:gd name="connsiteY136" fmla="*/ 796503 h 1016771"/>
                    <a:gd name="connsiteX137" fmla="*/ 378687 w 761692"/>
                    <a:gd name="connsiteY137" fmla="*/ 789722 h 1016771"/>
                    <a:gd name="connsiteX138" fmla="*/ 366820 w 761692"/>
                    <a:gd name="connsiteY138" fmla="*/ 782940 h 1016771"/>
                    <a:gd name="connsiteX139" fmla="*/ 356648 w 761692"/>
                    <a:gd name="connsiteY139" fmla="*/ 781245 h 1016771"/>
                    <a:gd name="connsiteX140" fmla="*/ 349866 w 761692"/>
                    <a:gd name="connsiteY140" fmla="*/ 771073 h 1016771"/>
                    <a:gd name="connsiteX141" fmla="*/ 349866 w 761692"/>
                    <a:gd name="connsiteY141" fmla="*/ 752425 h 1016771"/>
                    <a:gd name="connsiteX142" fmla="*/ 353257 w 761692"/>
                    <a:gd name="connsiteY142" fmla="*/ 743948 h 1016771"/>
                    <a:gd name="connsiteX143" fmla="*/ 354952 w 761692"/>
                    <a:gd name="connsiteY143" fmla="*/ 730385 h 1016771"/>
                    <a:gd name="connsiteX144" fmla="*/ 353257 w 761692"/>
                    <a:gd name="connsiteY144" fmla="*/ 713432 h 1016771"/>
                    <a:gd name="connsiteX145" fmla="*/ 346476 w 761692"/>
                    <a:gd name="connsiteY145" fmla="*/ 701565 h 1016771"/>
                    <a:gd name="connsiteX146" fmla="*/ 332913 w 761692"/>
                    <a:gd name="connsiteY146" fmla="*/ 689697 h 1016771"/>
                    <a:gd name="connsiteX147" fmla="*/ 324436 w 761692"/>
                    <a:gd name="connsiteY147" fmla="*/ 681221 h 1016771"/>
                    <a:gd name="connsiteX148" fmla="*/ 314264 w 761692"/>
                    <a:gd name="connsiteY148" fmla="*/ 676135 h 1016771"/>
                    <a:gd name="connsiteX149" fmla="*/ 293920 w 761692"/>
                    <a:gd name="connsiteY149" fmla="*/ 669354 h 1016771"/>
                    <a:gd name="connsiteX150" fmla="*/ 282053 w 761692"/>
                    <a:gd name="connsiteY150" fmla="*/ 667658 h 1016771"/>
                    <a:gd name="connsiteX151" fmla="*/ 266795 w 761692"/>
                    <a:gd name="connsiteY151" fmla="*/ 672744 h 1016771"/>
                    <a:gd name="connsiteX152" fmla="*/ 265100 w 761692"/>
                    <a:gd name="connsiteY152" fmla="*/ 672744 h 1016771"/>
                    <a:gd name="connsiteX153" fmla="*/ 263404 w 761692"/>
                    <a:gd name="connsiteY153" fmla="*/ 671049 h 1016771"/>
                    <a:gd name="connsiteX154" fmla="*/ 260014 w 761692"/>
                    <a:gd name="connsiteY154" fmla="*/ 671049 h 1016771"/>
                    <a:gd name="connsiteX155" fmla="*/ 258318 w 761692"/>
                    <a:gd name="connsiteY155" fmla="*/ 671049 h 1016771"/>
                    <a:gd name="connsiteX156" fmla="*/ 253232 w 761692"/>
                    <a:gd name="connsiteY156" fmla="*/ 671049 h 1016771"/>
                    <a:gd name="connsiteX157" fmla="*/ 248146 w 761692"/>
                    <a:gd name="connsiteY157" fmla="*/ 672744 h 1016771"/>
                    <a:gd name="connsiteX158" fmla="*/ 248146 w 761692"/>
                    <a:gd name="connsiteY158" fmla="*/ 674440 h 1016771"/>
                    <a:gd name="connsiteX159" fmla="*/ 246451 w 761692"/>
                    <a:gd name="connsiteY159" fmla="*/ 674440 h 1016771"/>
                    <a:gd name="connsiteX160" fmla="*/ 236279 w 761692"/>
                    <a:gd name="connsiteY160" fmla="*/ 679526 h 1016771"/>
                    <a:gd name="connsiteX161" fmla="*/ 226107 w 761692"/>
                    <a:gd name="connsiteY161" fmla="*/ 684612 h 1016771"/>
                    <a:gd name="connsiteX162" fmla="*/ 217630 w 761692"/>
                    <a:gd name="connsiteY162" fmla="*/ 684612 h 1016771"/>
                    <a:gd name="connsiteX163" fmla="*/ 207458 w 761692"/>
                    <a:gd name="connsiteY163" fmla="*/ 693088 h 1016771"/>
                    <a:gd name="connsiteX164" fmla="*/ 198982 w 761692"/>
                    <a:gd name="connsiteY164" fmla="*/ 694783 h 1016771"/>
                    <a:gd name="connsiteX165" fmla="*/ 192200 w 761692"/>
                    <a:gd name="connsiteY165" fmla="*/ 699869 h 1016771"/>
                    <a:gd name="connsiteX166" fmla="*/ 178638 w 761692"/>
                    <a:gd name="connsiteY166" fmla="*/ 706651 h 1016771"/>
                    <a:gd name="connsiteX167" fmla="*/ 163380 w 761692"/>
                    <a:gd name="connsiteY167" fmla="*/ 710041 h 1016771"/>
                    <a:gd name="connsiteX168" fmla="*/ 141340 w 761692"/>
                    <a:gd name="connsiteY168" fmla="*/ 710041 h 1016771"/>
                    <a:gd name="connsiteX169" fmla="*/ 134559 w 761692"/>
                    <a:gd name="connsiteY169" fmla="*/ 716823 h 1016771"/>
                    <a:gd name="connsiteX170" fmla="*/ 127778 w 761692"/>
                    <a:gd name="connsiteY170" fmla="*/ 718518 h 1016771"/>
                    <a:gd name="connsiteX171" fmla="*/ 120996 w 761692"/>
                    <a:gd name="connsiteY171" fmla="*/ 725299 h 1016771"/>
                    <a:gd name="connsiteX172" fmla="*/ 111172 w 761692"/>
                    <a:gd name="connsiteY172" fmla="*/ 733720 h 1016771"/>
                    <a:gd name="connsiteX173" fmla="*/ 106283 w 761692"/>
                    <a:gd name="connsiteY173" fmla="*/ 729808 h 1016771"/>
                    <a:gd name="connsiteX174" fmla="*/ 92112 w 761692"/>
                    <a:gd name="connsiteY174" fmla="*/ 724494 h 1016771"/>
                    <a:gd name="connsiteX175" fmla="*/ 77941 w 761692"/>
                    <a:gd name="connsiteY175" fmla="*/ 726265 h 1016771"/>
                    <a:gd name="connsiteX176" fmla="*/ 70855 w 761692"/>
                    <a:gd name="connsiteY176" fmla="*/ 719180 h 1016771"/>
                    <a:gd name="connsiteX177" fmla="*/ 70855 w 761692"/>
                    <a:gd name="connsiteY177" fmla="*/ 699695 h 1016771"/>
                    <a:gd name="connsiteX178" fmla="*/ 81483 w 761692"/>
                    <a:gd name="connsiteY178" fmla="*/ 685524 h 1016771"/>
                    <a:gd name="connsiteX179" fmla="*/ 85026 w 761692"/>
                    <a:gd name="connsiteY179" fmla="*/ 673124 h 1016771"/>
                    <a:gd name="connsiteX180" fmla="*/ 86797 w 761692"/>
                    <a:gd name="connsiteY180" fmla="*/ 660724 h 1016771"/>
                    <a:gd name="connsiteX181" fmla="*/ 97426 w 761692"/>
                    <a:gd name="connsiteY181" fmla="*/ 650096 h 1016771"/>
                    <a:gd name="connsiteX182" fmla="*/ 102740 w 761692"/>
                    <a:gd name="connsiteY182" fmla="*/ 635925 h 1016771"/>
                    <a:gd name="connsiteX183" fmla="*/ 113368 w 761692"/>
                    <a:gd name="connsiteY183" fmla="*/ 625297 h 1016771"/>
                    <a:gd name="connsiteX184" fmla="*/ 115139 w 761692"/>
                    <a:gd name="connsiteY184" fmla="*/ 612897 h 1016771"/>
                    <a:gd name="connsiteX185" fmla="*/ 127539 w 761692"/>
                    <a:gd name="connsiteY185" fmla="*/ 609354 h 1016771"/>
                    <a:gd name="connsiteX186" fmla="*/ 136396 w 761692"/>
                    <a:gd name="connsiteY186" fmla="*/ 604040 h 1016771"/>
                    <a:gd name="connsiteX187" fmla="*/ 132853 w 761692"/>
                    <a:gd name="connsiteY187" fmla="*/ 593412 h 1016771"/>
                    <a:gd name="connsiteX188" fmla="*/ 134625 w 761692"/>
                    <a:gd name="connsiteY188" fmla="*/ 584555 h 1016771"/>
                    <a:gd name="connsiteX189" fmla="*/ 131082 w 761692"/>
                    <a:gd name="connsiteY189" fmla="*/ 575698 h 1016771"/>
                    <a:gd name="connsiteX190" fmla="*/ 120454 w 761692"/>
                    <a:gd name="connsiteY190" fmla="*/ 568613 h 1016771"/>
                    <a:gd name="connsiteX191" fmla="*/ 125768 w 761692"/>
                    <a:gd name="connsiteY191" fmla="*/ 552670 h 1016771"/>
                    <a:gd name="connsiteX192" fmla="*/ 118682 w 761692"/>
                    <a:gd name="connsiteY192" fmla="*/ 543813 h 1016771"/>
                    <a:gd name="connsiteX193" fmla="*/ 90340 w 761692"/>
                    <a:gd name="connsiteY193" fmla="*/ 543813 h 1016771"/>
                    <a:gd name="connsiteX194" fmla="*/ 86797 w 761692"/>
                    <a:gd name="connsiteY194" fmla="*/ 542042 h 1016771"/>
                    <a:gd name="connsiteX195" fmla="*/ 83255 w 761692"/>
                    <a:gd name="connsiteY195" fmla="*/ 542042 h 1016771"/>
                    <a:gd name="connsiteX196" fmla="*/ 81483 w 761692"/>
                    <a:gd name="connsiteY196" fmla="*/ 540271 h 1016771"/>
                    <a:gd name="connsiteX197" fmla="*/ 81483 w 761692"/>
                    <a:gd name="connsiteY197" fmla="*/ 536728 h 1016771"/>
                    <a:gd name="connsiteX198" fmla="*/ 79712 w 761692"/>
                    <a:gd name="connsiteY198" fmla="*/ 531414 h 1016771"/>
                    <a:gd name="connsiteX199" fmla="*/ 77941 w 761692"/>
                    <a:gd name="connsiteY199" fmla="*/ 529642 h 1016771"/>
                    <a:gd name="connsiteX200" fmla="*/ 70855 w 761692"/>
                    <a:gd name="connsiteY200" fmla="*/ 527871 h 1016771"/>
                    <a:gd name="connsiteX201" fmla="*/ 60227 w 761692"/>
                    <a:gd name="connsiteY201" fmla="*/ 536728 h 1016771"/>
                    <a:gd name="connsiteX202" fmla="*/ 47827 w 761692"/>
                    <a:gd name="connsiteY202" fmla="*/ 526100 h 1016771"/>
                    <a:gd name="connsiteX203" fmla="*/ 42513 w 761692"/>
                    <a:gd name="connsiteY203" fmla="*/ 515471 h 1016771"/>
                    <a:gd name="connsiteX204" fmla="*/ 33656 w 761692"/>
                    <a:gd name="connsiteY204" fmla="*/ 506614 h 1016771"/>
                    <a:gd name="connsiteX205" fmla="*/ 31885 w 761692"/>
                    <a:gd name="connsiteY205" fmla="*/ 490672 h 1016771"/>
                    <a:gd name="connsiteX206" fmla="*/ 26571 w 761692"/>
                    <a:gd name="connsiteY206" fmla="*/ 476501 h 1016771"/>
                    <a:gd name="connsiteX207" fmla="*/ 24799 w 761692"/>
                    <a:gd name="connsiteY207" fmla="*/ 471187 h 1016771"/>
                    <a:gd name="connsiteX208" fmla="*/ 12400 w 761692"/>
                    <a:gd name="connsiteY208" fmla="*/ 472958 h 1016771"/>
                    <a:gd name="connsiteX209" fmla="*/ 7086 w 761692"/>
                    <a:gd name="connsiteY209" fmla="*/ 464101 h 1016771"/>
                    <a:gd name="connsiteX210" fmla="*/ 8857 w 761692"/>
                    <a:gd name="connsiteY210" fmla="*/ 446388 h 1016771"/>
                    <a:gd name="connsiteX211" fmla="*/ 3543 w 761692"/>
                    <a:gd name="connsiteY211" fmla="*/ 435759 h 1016771"/>
                    <a:gd name="connsiteX212" fmla="*/ 5314 w 761692"/>
                    <a:gd name="connsiteY212" fmla="*/ 412731 h 1016771"/>
                    <a:gd name="connsiteX213" fmla="*/ 0 w 761692"/>
                    <a:gd name="connsiteY213" fmla="*/ 396789 h 1016771"/>
                    <a:gd name="connsiteX214" fmla="*/ 3543 w 761692"/>
                    <a:gd name="connsiteY214" fmla="*/ 384389 h 1016771"/>
                    <a:gd name="connsiteX215" fmla="*/ 14171 w 761692"/>
                    <a:gd name="connsiteY215" fmla="*/ 380846 h 1016771"/>
                    <a:gd name="connsiteX216" fmla="*/ 24799 w 761692"/>
                    <a:gd name="connsiteY216" fmla="*/ 364904 h 1016771"/>
                    <a:gd name="connsiteX217" fmla="*/ 30113 w 761692"/>
                    <a:gd name="connsiteY217" fmla="*/ 350733 h 1016771"/>
                    <a:gd name="connsiteX218" fmla="*/ 35428 w 761692"/>
                    <a:gd name="connsiteY218" fmla="*/ 341876 h 1016771"/>
                    <a:gd name="connsiteX219" fmla="*/ 42513 w 761692"/>
                    <a:gd name="connsiteY219" fmla="*/ 327705 h 1016771"/>
                    <a:gd name="connsiteX220" fmla="*/ 42513 w 761692"/>
                    <a:gd name="connsiteY220" fmla="*/ 315305 h 1016771"/>
                    <a:gd name="connsiteX221" fmla="*/ 56684 w 761692"/>
                    <a:gd name="connsiteY221" fmla="*/ 309991 h 1016771"/>
                    <a:gd name="connsiteX222" fmla="*/ 60227 w 761692"/>
                    <a:gd name="connsiteY222" fmla="*/ 309991 h 1016771"/>
                    <a:gd name="connsiteX223" fmla="*/ 61998 w 761692"/>
                    <a:gd name="connsiteY223" fmla="*/ 311763 h 1016771"/>
                    <a:gd name="connsiteX224" fmla="*/ 67312 w 761692"/>
                    <a:gd name="connsiteY224" fmla="*/ 311763 h 1016771"/>
                    <a:gd name="connsiteX225" fmla="*/ 67312 w 761692"/>
                    <a:gd name="connsiteY225" fmla="*/ 309991 h 1016771"/>
                    <a:gd name="connsiteX226" fmla="*/ 67312 w 761692"/>
                    <a:gd name="connsiteY226" fmla="*/ 308220 h 1016771"/>
                    <a:gd name="connsiteX227" fmla="*/ 69084 w 761692"/>
                    <a:gd name="connsiteY227" fmla="*/ 302906 h 1016771"/>
                    <a:gd name="connsiteX228" fmla="*/ 70855 w 761692"/>
                    <a:gd name="connsiteY228" fmla="*/ 301134 h 1016771"/>
                    <a:gd name="connsiteX229" fmla="*/ 70855 w 761692"/>
                    <a:gd name="connsiteY229" fmla="*/ 299363 h 1016771"/>
                    <a:gd name="connsiteX230" fmla="*/ 77941 w 761692"/>
                    <a:gd name="connsiteY230" fmla="*/ 295820 h 1016771"/>
                    <a:gd name="connsiteX231" fmla="*/ 85026 w 761692"/>
                    <a:gd name="connsiteY231" fmla="*/ 295820 h 1016771"/>
                    <a:gd name="connsiteX232" fmla="*/ 93883 w 761692"/>
                    <a:gd name="connsiteY232" fmla="*/ 297592 h 1016771"/>
                    <a:gd name="connsiteX233" fmla="*/ 100968 w 761692"/>
                    <a:gd name="connsiteY233" fmla="*/ 288735 h 1016771"/>
                    <a:gd name="connsiteX234" fmla="*/ 97426 w 761692"/>
                    <a:gd name="connsiteY234" fmla="*/ 279878 h 1016771"/>
                    <a:gd name="connsiteX235" fmla="*/ 85026 w 761692"/>
                    <a:gd name="connsiteY235" fmla="*/ 276335 h 1016771"/>
                    <a:gd name="connsiteX236" fmla="*/ 76169 w 761692"/>
                    <a:gd name="connsiteY236" fmla="*/ 271021 h 1016771"/>
                    <a:gd name="connsiteX237" fmla="*/ 76169 w 761692"/>
                    <a:gd name="connsiteY237" fmla="*/ 262164 h 1016771"/>
                    <a:gd name="connsiteX238" fmla="*/ 81483 w 761692"/>
                    <a:gd name="connsiteY238" fmla="*/ 251536 h 1016771"/>
                    <a:gd name="connsiteX239" fmla="*/ 86797 w 761692"/>
                    <a:gd name="connsiteY239" fmla="*/ 255079 h 1016771"/>
                    <a:gd name="connsiteX240" fmla="*/ 104511 w 761692"/>
                    <a:gd name="connsiteY240" fmla="*/ 262164 h 1016771"/>
                    <a:gd name="connsiteX241" fmla="*/ 116911 w 761692"/>
                    <a:gd name="connsiteY241" fmla="*/ 265707 h 1016771"/>
                    <a:gd name="connsiteX242" fmla="*/ 132853 w 761692"/>
                    <a:gd name="connsiteY242" fmla="*/ 269250 h 1016771"/>
                    <a:gd name="connsiteX243" fmla="*/ 138167 w 761692"/>
                    <a:gd name="connsiteY243" fmla="*/ 265707 h 1016771"/>
                    <a:gd name="connsiteX244" fmla="*/ 150567 w 761692"/>
                    <a:gd name="connsiteY244" fmla="*/ 255079 h 1016771"/>
                    <a:gd name="connsiteX245" fmla="*/ 166509 w 761692"/>
                    <a:gd name="connsiteY245" fmla="*/ 255079 h 1016771"/>
                    <a:gd name="connsiteX246" fmla="*/ 166509 w 761692"/>
                    <a:gd name="connsiteY246" fmla="*/ 265707 h 1016771"/>
                    <a:gd name="connsiteX247" fmla="*/ 177138 w 761692"/>
                    <a:gd name="connsiteY247" fmla="*/ 272792 h 1016771"/>
                    <a:gd name="connsiteX248" fmla="*/ 194851 w 761692"/>
                    <a:gd name="connsiteY248" fmla="*/ 276335 h 1016771"/>
                    <a:gd name="connsiteX249" fmla="*/ 209022 w 761692"/>
                    <a:gd name="connsiteY249" fmla="*/ 279878 h 1016771"/>
                    <a:gd name="connsiteX250" fmla="*/ 221422 w 761692"/>
                    <a:gd name="connsiteY250" fmla="*/ 276335 h 1016771"/>
                    <a:gd name="connsiteX251" fmla="*/ 226736 w 761692"/>
                    <a:gd name="connsiteY251" fmla="*/ 269250 h 1016771"/>
                    <a:gd name="connsiteX252" fmla="*/ 226736 w 761692"/>
                    <a:gd name="connsiteY252" fmla="*/ 251536 h 1016771"/>
                    <a:gd name="connsiteX253" fmla="*/ 224965 w 761692"/>
                    <a:gd name="connsiteY253" fmla="*/ 239136 h 1016771"/>
                    <a:gd name="connsiteX254" fmla="*/ 214337 w 761692"/>
                    <a:gd name="connsiteY254" fmla="*/ 230279 h 1016771"/>
                    <a:gd name="connsiteX255" fmla="*/ 210794 w 761692"/>
                    <a:gd name="connsiteY255" fmla="*/ 217880 h 1016771"/>
                    <a:gd name="connsiteX256" fmla="*/ 221422 w 761692"/>
                    <a:gd name="connsiteY256" fmla="*/ 207251 h 1016771"/>
                    <a:gd name="connsiteX257" fmla="*/ 235593 w 761692"/>
                    <a:gd name="connsiteY257" fmla="*/ 214337 h 1016771"/>
                    <a:gd name="connsiteX258" fmla="*/ 246221 w 761692"/>
                    <a:gd name="connsiteY258" fmla="*/ 219651 h 1016771"/>
                    <a:gd name="connsiteX259" fmla="*/ 253307 w 761692"/>
                    <a:gd name="connsiteY259" fmla="*/ 221422 h 1016771"/>
                    <a:gd name="connsiteX260" fmla="*/ 262164 w 761692"/>
                    <a:gd name="connsiteY260" fmla="*/ 210794 h 1016771"/>
                    <a:gd name="connsiteX261" fmla="*/ 263935 w 761692"/>
                    <a:gd name="connsiteY261" fmla="*/ 201937 h 1016771"/>
                    <a:gd name="connsiteX262" fmla="*/ 274563 w 761692"/>
                    <a:gd name="connsiteY262" fmla="*/ 189538 h 1016771"/>
                    <a:gd name="connsiteX263" fmla="*/ 283420 w 761692"/>
                    <a:gd name="connsiteY263" fmla="*/ 178909 h 1016771"/>
                    <a:gd name="connsiteX264" fmla="*/ 286963 w 761692"/>
                    <a:gd name="connsiteY264" fmla="*/ 173595 h 1016771"/>
                    <a:gd name="connsiteX265" fmla="*/ 311762 w 761692"/>
                    <a:gd name="connsiteY265" fmla="*/ 168281 h 1016771"/>
                    <a:gd name="connsiteX266" fmla="*/ 325933 w 761692"/>
                    <a:gd name="connsiteY266" fmla="*/ 164738 h 1016771"/>
                    <a:gd name="connsiteX267" fmla="*/ 336562 w 761692"/>
                    <a:gd name="connsiteY267" fmla="*/ 159424 h 1016771"/>
                    <a:gd name="connsiteX268" fmla="*/ 348961 w 761692"/>
                    <a:gd name="connsiteY268" fmla="*/ 145253 h 1016771"/>
                    <a:gd name="connsiteX269" fmla="*/ 359589 w 761692"/>
                    <a:gd name="connsiteY269" fmla="*/ 143482 h 1016771"/>
                    <a:gd name="connsiteX270" fmla="*/ 371989 w 761692"/>
                    <a:gd name="connsiteY270" fmla="*/ 143482 h 1016771"/>
                    <a:gd name="connsiteX271" fmla="*/ 391474 w 761692"/>
                    <a:gd name="connsiteY271" fmla="*/ 143482 h 1016771"/>
                    <a:gd name="connsiteX272" fmla="*/ 396788 w 761692"/>
                    <a:gd name="connsiteY272" fmla="*/ 141710 h 1016771"/>
                    <a:gd name="connsiteX273" fmla="*/ 403874 w 761692"/>
                    <a:gd name="connsiteY273" fmla="*/ 134625 h 1016771"/>
                    <a:gd name="connsiteX274" fmla="*/ 409188 w 761692"/>
                    <a:gd name="connsiteY274" fmla="*/ 129311 h 1016771"/>
                    <a:gd name="connsiteX275" fmla="*/ 409188 w 761692"/>
                    <a:gd name="connsiteY275" fmla="*/ 123997 h 1016771"/>
                    <a:gd name="connsiteX276" fmla="*/ 414502 w 761692"/>
                    <a:gd name="connsiteY276" fmla="*/ 115140 h 1016771"/>
                    <a:gd name="connsiteX277" fmla="*/ 428673 w 761692"/>
                    <a:gd name="connsiteY277" fmla="*/ 115140 h 1016771"/>
                    <a:gd name="connsiteX278" fmla="*/ 432216 w 761692"/>
                    <a:gd name="connsiteY278" fmla="*/ 109826 h 1016771"/>
                    <a:gd name="connsiteX279" fmla="*/ 437530 w 761692"/>
                    <a:gd name="connsiteY279" fmla="*/ 100969 h 1016771"/>
                    <a:gd name="connsiteX280" fmla="*/ 448158 w 761692"/>
                    <a:gd name="connsiteY280" fmla="*/ 99197 h 1016771"/>
                    <a:gd name="connsiteX281" fmla="*/ 460558 w 761692"/>
                    <a:gd name="connsiteY281" fmla="*/ 97426 h 1016771"/>
                    <a:gd name="connsiteX282" fmla="*/ 472958 w 761692"/>
                    <a:gd name="connsiteY282" fmla="*/ 93883 h 1016771"/>
                    <a:gd name="connsiteX283" fmla="*/ 492443 w 761692"/>
                    <a:gd name="connsiteY283" fmla="*/ 93883 h 1016771"/>
                    <a:gd name="connsiteX284" fmla="*/ 501300 w 761692"/>
                    <a:gd name="connsiteY284" fmla="*/ 83255 h 1016771"/>
                    <a:gd name="connsiteX285" fmla="*/ 517242 w 761692"/>
                    <a:gd name="connsiteY285" fmla="*/ 81484 h 1016771"/>
                    <a:gd name="connsiteX286" fmla="*/ 522556 w 761692"/>
                    <a:gd name="connsiteY286" fmla="*/ 81484 h 1016771"/>
                    <a:gd name="connsiteX287" fmla="*/ 522556 w 761692"/>
                    <a:gd name="connsiteY287" fmla="*/ 60227 h 1016771"/>
                    <a:gd name="connsiteX288" fmla="*/ 526099 w 761692"/>
                    <a:gd name="connsiteY288" fmla="*/ 54913 h 1016771"/>
                    <a:gd name="connsiteX289" fmla="*/ 529642 w 761692"/>
                    <a:gd name="connsiteY289" fmla="*/ 46056 h 1016771"/>
                    <a:gd name="connsiteX290" fmla="*/ 538499 w 761692"/>
                    <a:gd name="connsiteY290" fmla="*/ 40742 h 1016771"/>
                    <a:gd name="connsiteX291" fmla="*/ 540270 w 761692"/>
                    <a:gd name="connsiteY291" fmla="*/ 30114 h 1016771"/>
                    <a:gd name="connsiteX292" fmla="*/ 536727 w 761692"/>
                    <a:gd name="connsiteY292" fmla="*/ 19485 h 1016771"/>
                    <a:gd name="connsiteX293" fmla="*/ 543813 w 761692"/>
                    <a:gd name="connsiteY293" fmla="*/ 5314 h 1016771"/>
                    <a:gd name="connsiteX294" fmla="*/ 554441 w 761692"/>
                    <a:gd name="connsiteY294" fmla="*/ 0 h 1016771"/>
                    <a:gd name="connsiteX0" fmla="*/ 149817 w 761692"/>
                    <a:gd name="connsiteY0" fmla="*/ 840582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49817 w 761692"/>
                    <a:gd name="connsiteY3" fmla="*/ 840582 h 1016771"/>
                    <a:gd name="connsiteX4" fmla="*/ 116476 w 761692"/>
                    <a:gd name="connsiteY4" fmla="*/ 741349 h 1016771"/>
                    <a:gd name="connsiteX5" fmla="*/ 117606 w 761692"/>
                    <a:gd name="connsiteY5" fmla="*/ 742253 h 1016771"/>
                    <a:gd name="connsiteX6" fmla="*/ 122692 w 761692"/>
                    <a:gd name="connsiteY6" fmla="*/ 759206 h 1016771"/>
                    <a:gd name="connsiteX7" fmla="*/ 126082 w 761692"/>
                    <a:gd name="connsiteY7" fmla="*/ 771073 h 1016771"/>
                    <a:gd name="connsiteX8" fmla="*/ 129473 w 761692"/>
                    <a:gd name="connsiteY8" fmla="*/ 782940 h 1016771"/>
                    <a:gd name="connsiteX9" fmla="*/ 132864 w 761692"/>
                    <a:gd name="connsiteY9" fmla="*/ 793112 h 1016771"/>
                    <a:gd name="connsiteX10" fmla="*/ 136254 w 761692"/>
                    <a:gd name="connsiteY10" fmla="*/ 810066 h 1016771"/>
                    <a:gd name="connsiteX11" fmla="*/ 139058 w 761692"/>
                    <a:gd name="connsiteY11" fmla="*/ 818476 h 1016771"/>
                    <a:gd name="connsiteX12" fmla="*/ 138167 w 761692"/>
                    <a:gd name="connsiteY12" fmla="*/ 818377 h 1016771"/>
                    <a:gd name="connsiteX13" fmla="*/ 134625 w 761692"/>
                    <a:gd name="connsiteY13" fmla="*/ 807749 h 1016771"/>
                    <a:gd name="connsiteX14" fmla="*/ 131082 w 761692"/>
                    <a:gd name="connsiteY14" fmla="*/ 790035 h 1016771"/>
                    <a:gd name="connsiteX15" fmla="*/ 127539 w 761692"/>
                    <a:gd name="connsiteY15" fmla="*/ 779407 h 1016771"/>
                    <a:gd name="connsiteX16" fmla="*/ 123996 w 761692"/>
                    <a:gd name="connsiteY16" fmla="*/ 767007 h 1016771"/>
                    <a:gd name="connsiteX17" fmla="*/ 120454 w 761692"/>
                    <a:gd name="connsiteY17" fmla="*/ 754607 h 1016771"/>
                    <a:gd name="connsiteX18" fmla="*/ 116476 w 761692"/>
                    <a:gd name="connsiteY18" fmla="*/ 741349 h 1016771"/>
                    <a:gd name="connsiteX19" fmla="*/ 554441 w 761692"/>
                    <a:gd name="connsiteY19" fmla="*/ 0 h 1016771"/>
                    <a:gd name="connsiteX20" fmla="*/ 570383 w 761692"/>
                    <a:gd name="connsiteY20" fmla="*/ 3543 h 1016771"/>
                    <a:gd name="connsiteX21" fmla="*/ 577469 w 761692"/>
                    <a:gd name="connsiteY21" fmla="*/ 8857 h 1016771"/>
                    <a:gd name="connsiteX22" fmla="*/ 582783 w 761692"/>
                    <a:gd name="connsiteY22" fmla="*/ 17714 h 1016771"/>
                    <a:gd name="connsiteX23" fmla="*/ 582783 w 761692"/>
                    <a:gd name="connsiteY23" fmla="*/ 24799 h 1016771"/>
                    <a:gd name="connsiteX24" fmla="*/ 588097 w 761692"/>
                    <a:gd name="connsiteY24" fmla="*/ 33656 h 1016771"/>
                    <a:gd name="connsiteX25" fmla="*/ 598725 w 761692"/>
                    <a:gd name="connsiteY25" fmla="*/ 31885 h 1016771"/>
                    <a:gd name="connsiteX26" fmla="*/ 612896 w 761692"/>
                    <a:gd name="connsiteY26" fmla="*/ 37199 h 1016771"/>
                    <a:gd name="connsiteX27" fmla="*/ 618211 w 761692"/>
                    <a:gd name="connsiteY27" fmla="*/ 46056 h 1016771"/>
                    <a:gd name="connsiteX28" fmla="*/ 619982 w 761692"/>
                    <a:gd name="connsiteY28" fmla="*/ 54913 h 1016771"/>
                    <a:gd name="connsiteX29" fmla="*/ 618211 w 761692"/>
                    <a:gd name="connsiteY29" fmla="*/ 74398 h 1016771"/>
                    <a:gd name="connsiteX30" fmla="*/ 616439 w 761692"/>
                    <a:gd name="connsiteY30" fmla="*/ 85026 h 1016771"/>
                    <a:gd name="connsiteX31" fmla="*/ 621753 w 761692"/>
                    <a:gd name="connsiteY31" fmla="*/ 97426 h 1016771"/>
                    <a:gd name="connsiteX32" fmla="*/ 637696 w 761692"/>
                    <a:gd name="connsiteY32" fmla="*/ 113368 h 1016771"/>
                    <a:gd name="connsiteX33" fmla="*/ 644781 w 761692"/>
                    <a:gd name="connsiteY33" fmla="*/ 120454 h 1016771"/>
                    <a:gd name="connsiteX34" fmla="*/ 650095 w 761692"/>
                    <a:gd name="connsiteY34" fmla="*/ 136396 h 1016771"/>
                    <a:gd name="connsiteX35" fmla="*/ 655409 w 761692"/>
                    <a:gd name="connsiteY35" fmla="*/ 155881 h 1016771"/>
                    <a:gd name="connsiteX36" fmla="*/ 662495 w 761692"/>
                    <a:gd name="connsiteY36" fmla="*/ 171824 h 1016771"/>
                    <a:gd name="connsiteX37" fmla="*/ 660724 w 761692"/>
                    <a:gd name="connsiteY37" fmla="*/ 185995 h 1016771"/>
                    <a:gd name="connsiteX38" fmla="*/ 635924 w 761692"/>
                    <a:gd name="connsiteY38" fmla="*/ 194852 h 1016771"/>
                    <a:gd name="connsiteX39" fmla="*/ 619982 w 761692"/>
                    <a:gd name="connsiteY39" fmla="*/ 207251 h 1016771"/>
                    <a:gd name="connsiteX40" fmla="*/ 614668 w 761692"/>
                    <a:gd name="connsiteY40" fmla="*/ 223194 h 1016771"/>
                    <a:gd name="connsiteX41" fmla="*/ 618211 w 761692"/>
                    <a:gd name="connsiteY41" fmla="*/ 242679 h 1016771"/>
                    <a:gd name="connsiteX42" fmla="*/ 612896 w 761692"/>
                    <a:gd name="connsiteY42" fmla="*/ 256850 h 1016771"/>
                    <a:gd name="connsiteX43" fmla="*/ 625296 w 761692"/>
                    <a:gd name="connsiteY43" fmla="*/ 267478 h 1016771"/>
                    <a:gd name="connsiteX44" fmla="*/ 641238 w 761692"/>
                    <a:gd name="connsiteY44" fmla="*/ 269250 h 1016771"/>
                    <a:gd name="connsiteX45" fmla="*/ 658952 w 761692"/>
                    <a:gd name="connsiteY45" fmla="*/ 286963 h 1016771"/>
                    <a:gd name="connsiteX46" fmla="*/ 653638 w 761692"/>
                    <a:gd name="connsiteY46" fmla="*/ 309991 h 1016771"/>
                    <a:gd name="connsiteX47" fmla="*/ 653638 w 761692"/>
                    <a:gd name="connsiteY47" fmla="*/ 329476 h 1016771"/>
                    <a:gd name="connsiteX48" fmla="*/ 643010 w 761692"/>
                    <a:gd name="connsiteY48" fmla="*/ 338333 h 1016771"/>
                    <a:gd name="connsiteX49" fmla="*/ 632382 w 761692"/>
                    <a:gd name="connsiteY49" fmla="*/ 338333 h 1016771"/>
                    <a:gd name="connsiteX50" fmla="*/ 618211 w 761692"/>
                    <a:gd name="connsiteY50" fmla="*/ 357819 h 1016771"/>
                    <a:gd name="connsiteX51" fmla="*/ 609354 w 761692"/>
                    <a:gd name="connsiteY51" fmla="*/ 361361 h 1016771"/>
                    <a:gd name="connsiteX52" fmla="*/ 596954 w 761692"/>
                    <a:gd name="connsiteY52" fmla="*/ 363133 h 1016771"/>
                    <a:gd name="connsiteX53" fmla="*/ 581012 w 761692"/>
                    <a:gd name="connsiteY53" fmla="*/ 379075 h 1016771"/>
                    <a:gd name="connsiteX54" fmla="*/ 589868 w 761692"/>
                    <a:gd name="connsiteY54" fmla="*/ 393246 h 1016771"/>
                    <a:gd name="connsiteX55" fmla="*/ 586326 w 761692"/>
                    <a:gd name="connsiteY55" fmla="*/ 409189 h 1016771"/>
                    <a:gd name="connsiteX56" fmla="*/ 570383 w 761692"/>
                    <a:gd name="connsiteY56" fmla="*/ 398560 h 1016771"/>
                    <a:gd name="connsiteX57" fmla="*/ 550898 w 761692"/>
                    <a:gd name="connsiteY57" fmla="*/ 405646 h 1016771"/>
                    <a:gd name="connsiteX58" fmla="*/ 531413 w 761692"/>
                    <a:gd name="connsiteY58" fmla="*/ 425131 h 1016771"/>
                    <a:gd name="connsiteX59" fmla="*/ 543813 w 761692"/>
                    <a:gd name="connsiteY59" fmla="*/ 444616 h 1016771"/>
                    <a:gd name="connsiteX60" fmla="*/ 557984 w 761692"/>
                    <a:gd name="connsiteY60" fmla="*/ 462330 h 1016771"/>
                    <a:gd name="connsiteX61" fmla="*/ 570383 w 761692"/>
                    <a:gd name="connsiteY61" fmla="*/ 478272 h 1016771"/>
                    <a:gd name="connsiteX62" fmla="*/ 579240 w 761692"/>
                    <a:gd name="connsiteY62" fmla="*/ 485358 h 1016771"/>
                    <a:gd name="connsiteX63" fmla="*/ 602268 w 761692"/>
                    <a:gd name="connsiteY63" fmla="*/ 483586 h 1016771"/>
                    <a:gd name="connsiteX64" fmla="*/ 623525 w 761692"/>
                    <a:gd name="connsiteY64" fmla="*/ 474730 h 1016771"/>
                    <a:gd name="connsiteX65" fmla="*/ 639467 w 761692"/>
                    <a:gd name="connsiteY65" fmla="*/ 464101 h 1016771"/>
                    <a:gd name="connsiteX66" fmla="*/ 662495 w 761692"/>
                    <a:gd name="connsiteY66" fmla="*/ 464101 h 1016771"/>
                    <a:gd name="connsiteX67" fmla="*/ 673123 w 761692"/>
                    <a:gd name="connsiteY67" fmla="*/ 464101 h 1016771"/>
                    <a:gd name="connsiteX68" fmla="*/ 681980 w 761692"/>
                    <a:gd name="connsiteY68" fmla="*/ 467644 h 1016771"/>
                    <a:gd name="connsiteX69" fmla="*/ 703237 w 761692"/>
                    <a:gd name="connsiteY69" fmla="*/ 471187 h 1016771"/>
                    <a:gd name="connsiteX70" fmla="*/ 708551 w 761692"/>
                    <a:gd name="connsiteY70" fmla="*/ 474730 h 1016771"/>
                    <a:gd name="connsiteX71" fmla="*/ 722722 w 761692"/>
                    <a:gd name="connsiteY71" fmla="*/ 501300 h 1016771"/>
                    <a:gd name="connsiteX72" fmla="*/ 724493 w 761692"/>
                    <a:gd name="connsiteY72" fmla="*/ 522557 h 1016771"/>
                    <a:gd name="connsiteX73" fmla="*/ 722722 w 761692"/>
                    <a:gd name="connsiteY73" fmla="*/ 540271 h 1016771"/>
                    <a:gd name="connsiteX74" fmla="*/ 735121 w 761692"/>
                    <a:gd name="connsiteY74" fmla="*/ 552670 h 1016771"/>
                    <a:gd name="connsiteX75" fmla="*/ 735121 w 761692"/>
                    <a:gd name="connsiteY75" fmla="*/ 570384 h 1016771"/>
                    <a:gd name="connsiteX76" fmla="*/ 751064 w 761692"/>
                    <a:gd name="connsiteY76" fmla="*/ 581012 h 1016771"/>
                    <a:gd name="connsiteX77" fmla="*/ 761692 w 761692"/>
                    <a:gd name="connsiteY77" fmla="*/ 604040 h 1016771"/>
                    <a:gd name="connsiteX78" fmla="*/ 747521 w 761692"/>
                    <a:gd name="connsiteY78" fmla="*/ 616440 h 1016771"/>
                    <a:gd name="connsiteX79" fmla="*/ 728036 w 761692"/>
                    <a:gd name="connsiteY79" fmla="*/ 627068 h 1016771"/>
                    <a:gd name="connsiteX80" fmla="*/ 726264 w 761692"/>
                    <a:gd name="connsiteY80" fmla="*/ 650096 h 1016771"/>
                    <a:gd name="connsiteX81" fmla="*/ 728036 w 761692"/>
                    <a:gd name="connsiteY81" fmla="*/ 673124 h 1016771"/>
                    <a:gd name="connsiteX82" fmla="*/ 742207 w 761692"/>
                    <a:gd name="connsiteY82" fmla="*/ 689066 h 1016771"/>
                    <a:gd name="connsiteX83" fmla="*/ 742207 w 761692"/>
                    <a:gd name="connsiteY83" fmla="*/ 712094 h 1016771"/>
                    <a:gd name="connsiteX84" fmla="*/ 740435 w 761692"/>
                    <a:gd name="connsiteY84" fmla="*/ 735122 h 1016771"/>
                    <a:gd name="connsiteX85" fmla="*/ 742207 w 761692"/>
                    <a:gd name="connsiteY85" fmla="*/ 751065 h 1016771"/>
                    <a:gd name="connsiteX86" fmla="*/ 747521 w 761692"/>
                    <a:gd name="connsiteY86" fmla="*/ 768778 h 1016771"/>
                    <a:gd name="connsiteX87" fmla="*/ 759921 w 761692"/>
                    <a:gd name="connsiteY87" fmla="*/ 777635 h 1016771"/>
                    <a:gd name="connsiteX88" fmla="*/ 758149 w 761692"/>
                    <a:gd name="connsiteY88" fmla="*/ 802434 h 1016771"/>
                    <a:gd name="connsiteX89" fmla="*/ 752835 w 761692"/>
                    <a:gd name="connsiteY89" fmla="*/ 814834 h 1016771"/>
                    <a:gd name="connsiteX90" fmla="*/ 743978 w 761692"/>
                    <a:gd name="connsiteY90" fmla="*/ 827234 h 1016771"/>
                    <a:gd name="connsiteX91" fmla="*/ 743978 w 761692"/>
                    <a:gd name="connsiteY91" fmla="*/ 837862 h 1016771"/>
                    <a:gd name="connsiteX92" fmla="*/ 747521 w 761692"/>
                    <a:gd name="connsiteY92" fmla="*/ 853804 h 1016771"/>
                    <a:gd name="connsiteX93" fmla="*/ 733350 w 761692"/>
                    <a:gd name="connsiteY93" fmla="*/ 867975 h 1016771"/>
                    <a:gd name="connsiteX94" fmla="*/ 724493 w 761692"/>
                    <a:gd name="connsiteY94" fmla="*/ 880375 h 1016771"/>
                    <a:gd name="connsiteX95" fmla="*/ 722722 w 761692"/>
                    <a:gd name="connsiteY95" fmla="*/ 899860 h 1016771"/>
                    <a:gd name="connsiteX96" fmla="*/ 722722 w 761692"/>
                    <a:gd name="connsiteY96" fmla="*/ 919345 h 1016771"/>
                    <a:gd name="connsiteX97" fmla="*/ 715636 w 761692"/>
                    <a:gd name="connsiteY97" fmla="*/ 940602 h 1016771"/>
                    <a:gd name="connsiteX98" fmla="*/ 708551 w 761692"/>
                    <a:gd name="connsiteY98" fmla="*/ 954773 h 1016771"/>
                    <a:gd name="connsiteX99" fmla="*/ 699694 w 761692"/>
                    <a:gd name="connsiteY99" fmla="*/ 965401 h 1016771"/>
                    <a:gd name="connsiteX100" fmla="*/ 692608 w 761692"/>
                    <a:gd name="connsiteY100" fmla="*/ 984886 h 1016771"/>
                    <a:gd name="connsiteX101" fmla="*/ 683751 w 761692"/>
                    <a:gd name="connsiteY101" fmla="*/ 997286 h 1016771"/>
                    <a:gd name="connsiteX102" fmla="*/ 673123 w 761692"/>
                    <a:gd name="connsiteY102" fmla="*/ 1002600 h 1016771"/>
                    <a:gd name="connsiteX103" fmla="*/ 662495 w 761692"/>
                    <a:gd name="connsiteY103" fmla="*/ 1013228 h 1016771"/>
                    <a:gd name="connsiteX104" fmla="*/ 644781 w 761692"/>
                    <a:gd name="connsiteY104" fmla="*/ 1016771 h 1016771"/>
                    <a:gd name="connsiteX105" fmla="*/ 635924 w 761692"/>
                    <a:gd name="connsiteY105" fmla="*/ 1004372 h 1016771"/>
                    <a:gd name="connsiteX106" fmla="*/ 623525 w 761692"/>
                    <a:gd name="connsiteY106" fmla="*/ 997286 h 1016771"/>
                    <a:gd name="connsiteX107" fmla="*/ 614668 w 761692"/>
                    <a:gd name="connsiteY107" fmla="*/ 986658 h 1016771"/>
                    <a:gd name="connsiteX108" fmla="*/ 593411 w 761692"/>
                    <a:gd name="connsiteY108" fmla="*/ 970715 h 1016771"/>
                    <a:gd name="connsiteX109" fmla="*/ 582783 w 761692"/>
                    <a:gd name="connsiteY109" fmla="*/ 965401 h 1016771"/>
                    <a:gd name="connsiteX110" fmla="*/ 531413 w 761692"/>
                    <a:gd name="connsiteY110" fmla="*/ 965401 h 1016771"/>
                    <a:gd name="connsiteX111" fmla="*/ 511928 w 761692"/>
                    <a:gd name="connsiteY111" fmla="*/ 965401 h 1016771"/>
                    <a:gd name="connsiteX112" fmla="*/ 492443 w 761692"/>
                    <a:gd name="connsiteY112" fmla="*/ 963630 h 1016771"/>
                    <a:gd name="connsiteX113" fmla="*/ 483586 w 761692"/>
                    <a:gd name="connsiteY113" fmla="*/ 958316 h 1016771"/>
                    <a:gd name="connsiteX114" fmla="*/ 469415 w 761692"/>
                    <a:gd name="connsiteY114" fmla="*/ 954773 h 1016771"/>
                    <a:gd name="connsiteX115" fmla="*/ 460558 w 761692"/>
                    <a:gd name="connsiteY115" fmla="*/ 942373 h 1016771"/>
                    <a:gd name="connsiteX116" fmla="*/ 446387 w 761692"/>
                    <a:gd name="connsiteY116" fmla="*/ 935288 h 1016771"/>
                    <a:gd name="connsiteX117" fmla="*/ 428673 w 761692"/>
                    <a:gd name="connsiteY117" fmla="*/ 928202 h 1016771"/>
                    <a:gd name="connsiteX118" fmla="*/ 418045 w 761692"/>
                    <a:gd name="connsiteY118" fmla="*/ 917574 h 1016771"/>
                    <a:gd name="connsiteX119" fmla="*/ 421588 w 761692"/>
                    <a:gd name="connsiteY119" fmla="*/ 903403 h 1016771"/>
                    <a:gd name="connsiteX120" fmla="*/ 418045 w 761692"/>
                    <a:gd name="connsiteY120" fmla="*/ 898089 h 1016771"/>
                    <a:gd name="connsiteX121" fmla="*/ 396788 w 761692"/>
                    <a:gd name="connsiteY121" fmla="*/ 898089 h 1016771"/>
                    <a:gd name="connsiteX122" fmla="*/ 382617 w 761692"/>
                    <a:gd name="connsiteY122" fmla="*/ 896318 h 1016771"/>
                    <a:gd name="connsiteX123" fmla="*/ 380846 w 761692"/>
                    <a:gd name="connsiteY123" fmla="*/ 906946 h 1016771"/>
                    <a:gd name="connsiteX124" fmla="*/ 373601 w 761692"/>
                    <a:gd name="connsiteY124" fmla="*/ 894832 h 1016771"/>
                    <a:gd name="connsiteX125" fmla="*/ 387164 w 761692"/>
                    <a:gd name="connsiteY125" fmla="*/ 896527 h 1016771"/>
                    <a:gd name="connsiteX126" fmla="*/ 383773 w 761692"/>
                    <a:gd name="connsiteY126" fmla="*/ 886355 h 1016771"/>
                    <a:gd name="connsiteX127" fmla="*/ 387164 w 761692"/>
                    <a:gd name="connsiteY127" fmla="*/ 876183 h 1016771"/>
                    <a:gd name="connsiteX128" fmla="*/ 388859 w 761692"/>
                    <a:gd name="connsiteY128" fmla="*/ 867707 h 1016771"/>
                    <a:gd name="connsiteX129" fmla="*/ 380382 w 761692"/>
                    <a:gd name="connsiteY129" fmla="*/ 859230 h 1016771"/>
                    <a:gd name="connsiteX130" fmla="*/ 373601 w 761692"/>
                    <a:gd name="connsiteY130" fmla="*/ 849058 h 1016771"/>
                    <a:gd name="connsiteX131" fmla="*/ 380382 w 761692"/>
                    <a:gd name="connsiteY131" fmla="*/ 838886 h 1016771"/>
                    <a:gd name="connsiteX132" fmla="*/ 383773 w 761692"/>
                    <a:gd name="connsiteY132" fmla="*/ 833800 h 1016771"/>
                    <a:gd name="connsiteX133" fmla="*/ 388859 w 761692"/>
                    <a:gd name="connsiteY133" fmla="*/ 825324 h 1016771"/>
                    <a:gd name="connsiteX134" fmla="*/ 387164 w 761692"/>
                    <a:gd name="connsiteY134" fmla="*/ 810066 h 1016771"/>
                    <a:gd name="connsiteX135" fmla="*/ 387164 w 761692"/>
                    <a:gd name="connsiteY135" fmla="*/ 796503 h 1016771"/>
                    <a:gd name="connsiteX136" fmla="*/ 378687 w 761692"/>
                    <a:gd name="connsiteY136" fmla="*/ 789722 h 1016771"/>
                    <a:gd name="connsiteX137" fmla="*/ 366820 w 761692"/>
                    <a:gd name="connsiteY137" fmla="*/ 782940 h 1016771"/>
                    <a:gd name="connsiteX138" fmla="*/ 356648 w 761692"/>
                    <a:gd name="connsiteY138" fmla="*/ 781245 h 1016771"/>
                    <a:gd name="connsiteX139" fmla="*/ 349866 w 761692"/>
                    <a:gd name="connsiteY139" fmla="*/ 771073 h 1016771"/>
                    <a:gd name="connsiteX140" fmla="*/ 349866 w 761692"/>
                    <a:gd name="connsiteY140" fmla="*/ 752425 h 1016771"/>
                    <a:gd name="connsiteX141" fmla="*/ 353257 w 761692"/>
                    <a:gd name="connsiteY141" fmla="*/ 743948 h 1016771"/>
                    <a:gd name="connsiteX142" fmla="*/ 354952 w 761692"/>
                    <a:gd name="connsiteY142" fmla="*/ 730385 h 1016771"/>
                    <a:gd name="connsiteX143" fmla="*/ 353257 w 761692"/>
                    <a:gd name="connsiteY143" fmla="*/ 713432 h 1016771"/>
                    <a:gd name="connsiteX144" fmla="*/ 346476 w 761692"/>
                    <a:gd name="connsiteY144" fmla="*/ 701565 h 1016771"/>
                    <a:gd name="connsiteX145" fmla="*/ 332913 w 761692"/>
                    <a:gd name="connsiteY145" fmla="*/ 689697 h 1016771"/>
                    <a:gd name="connsiteX146" fmla="*/ 324436 w 761692"/>
                    <a:gd name="connsiteY146" fmla="*/ 681221 h 1016771"/>
                    <a:gd name="connsiteX147" fmla="*/ 314264 w 761692"/>
                    <a:gd name="connsiteY147" fmla="*/ 676135 h 1016771"/>
                    <a:gd name="connsiteX148" fmla="*/ 293920 w 761692"/>
                    <a:gd name="connsiteY148" fmla="*/ 669354 h 1016771"/>
                    <a:gd name="connsiteX149" fmla="*/ 282053 w 761692"/>
                    <a:gd name="connsiteY149" fmla="*/ 667658 h 1016771"/>
                    <a:gd name="connsiteX150" fmla="*/ 266795 w 761692"/>
                    <a:gd name="connsiteY150" fmla="*/ 672744 h 1016771"/>
                    <a:gd name="connsiteX151" fmla="*/ 265100 w 761692"/>
                    <a:gd name="connsiteY151" fmla="*/ 672744 h 1016771"/>
                    <a:gd name="connsiteX152" fmla="*/ 263404 w 761692"/>
                    <a:gd name="connsiteY152" fmla="*/ 671049 h 1016771"/>
                    <a:gd name="connsiteX153" fmla="*/ 260014 w 761692"/>
                    <a:gd name="connsiteY153" fmla="*/ 671049 h 1016771"/>
                    <a:gd name="connsiteX154" fmla="*/ 258318 w 761692"/>
                    <a:gd name="connsiteY154" fmla="*/ 671049 h 1016771"/>
                    <a:gd name="connsiteX155" fmla="*/ 253232 w 761692"/>
                    <a:gd name="connsiteY155" fmla="*/ 671049 h 1016771"/>
                    <a:gd name="connsiteX156" fmla="*/ 248146 w 761692"/>
                    <a:gd name="connsiteY156" fmla="*/ 672744 h 1016771"/>
                    <a:gd name="connsiteX157" fmla="*/ 248146 w 761692"/>
                    <a:gd name="connsiteY157" fmla="*/ 674440 h 1016771"/>
                    <a:gd name="connsiteX158" fmla="*/ 246451 w 761692"/>
                    <a:gd name="connsiteY158" fmla="*/ 674440 h 1016771"/>
                    <a:gd name="connsiteX159" fmla="*/ 236279 w 761692"/>
                    <a:gd name="connsiteY159" fmla="*/ 679526 h 1016771"/>
                    <a:gd name="connsiteX160" fmla="*/ 226107 w 761692"/>
                    <a:gd name="connsiteY160" fmla="*/ 684612 h 1016771"/>
                    <a:gd name="connsiteX161" fmla="*/ 217630 w 761692"/>
                    <a:gd name="connsiteY161" fmla="*/ 684612 h 1016771"/>
                    <a:gd name="connsiteX162" fmla="*/ 207458 w 761692"/>
                    <a:gd name="connsiteY162" fmla="*/ 693088 h 1016771"/>
                    <a:gd name="connsiteX163" fmla="*/ 198982 w 761692"/>
                    <a:gd name="connsiteY163" fmla="*/ 694783 h 1016771"/>
                    <a:gd name="connsiteX164" fmla="*/ 192200 w 761692"/>
                    <a:gd name="connsiteY164" fmla="*/ 699869 h 1016771"/>
                    <a:gd name="connsiteX165" fmla="*/ 178638 w 761692"/>
                    <a:gd name="connsiteY165" fmla="*/ 706651 h 1016771"/>
                    <a:gd name="connsiteX166" fmla="*/ 163380 w 761692"/>
                    <a:gd name="connsiteY166" fmla="*/ 710041 h 1016771"/>
                    <a:gd name="connsiteX167" fmla="*/ 141340 w 761692"/>
                    <a:gd name="connsiteY167" fmla="*/ 710041 h 1016771"/>
                    <a:gd name="connsiteX168" fmla="*/ 134559 w 761692"/>
                    <a:gd name="connsiteY168" fmla="*/ 716823 h 1016771"/>
                    <a:gd name="connsiteX169" fmla="*/ 127778 w 761692"/>
                    <a:gd name="connsiteY169" fmla="*/ 718518 h 1016771"/>
                    <a:gd name="connsiteX170" fmla="*/ 120996 w 761692"/>
                    <a:gd name="connsiteY170" fmla="*/ 725299 h 1016771"/>
                    <a:gd name="connsiteX171" fmla="*/ 111172 w 761692"/>
                    <a:gd name="connsiteY171" fmla="*/ 733720 h 1016771"/>
                    <a:gd name="connsiteX172" fmla="*/ 106283 w 761692"/>
                    <a:gd name="connsiteY172" fmla="*/ 729808 h 1016771"/>
                    <a:gd name="connsiteX173" fmla="*/ 92112 w 761692"/>
                    <a:gd name="connsiteY173" fmla="*/ 724494 h 1016771"/>
                    <a:gd name="connsiteX174" fmla="*/ 77941 w 761692"/>
                    <a:gd name="connsiteY174" fmla="*/ 726265 h 1016771"/>
                    <a:gd name="connsiteX175" fmla="*/ 70855 w 761692"/>
                    <a:gd name="connsiteY175" fmla="*/ 719180 h 1016771"/>
                    <a:gd name="connsiteX176" fmla="*/ 70855 w 761692"/>
                    <a:gd name="connsiteY176" fmla="*/ 699695 h 1016771"/>
                    <a:gd name="connsiteX177" fmla="*/ 81483 w 761692"/>
                    <a:gd name="connsiteY177" fmla="*/ 685524 h 1016771"/>
                    <a:gd name="connsiteX178" fmla="*/ 85026 w 761692"/>
                    <a:gd name="connsiteY178" fmla="*/ 673124 h 1016771"/>
                    <a:gd name="connsiteX179" fmla="*/ 86797 w 761692"/>
                    <a:gd name="connsiteY179" fmla="*/ 660724 h 1016771"/>
                    <a:gd name="connsiteX180" fmla="*/ 97426 w 761692"/>
                    <a:gd name="connsiteY180" fmla="*/ 650096 h 1016771"/>
                    <a:gd name="connsiteX181" fmla="*/ 102740 w 761692"/>
                    <a:gd name="connsiteY181" fmla="*/ 635925 h 1016771"/>
                    <a:gd name="connsiteX182" fmla="*/ 113368 w 761692"/>
                    <a:gd name="connsiteY182" fmla="*/ 625297 h 1016771"/>
                    <a:gd name="connsiteX183" fmla="*/ 115139 w 761692"/>
                    <a:gd name="connsiteY183" fmla="*/ 612897 h 1016771"/>
                    <a:gd name="connsiteX184" fmla="*/ 127539 w 761692"/>
                    <a:gd name="connsiteY184" fmla="*/ 609354 h 1016771"/>
                    <a:gd name="connsiteX185" fmla="*/ 136396 w 761692"/>
                    <a:gd name="connsiteY185" fmla="*/ 604040 h 1016771"/>
                    <a:gd name="connsiteX186" fmla="*/ 132853 w 761692"/>
                    <a:gd name="connsiteY186" fmla="*/ 593412 h 1016771"/>
                    <a:gd name="connsiteX187" fmla="*/ 134625 w 761692"/>
                    <a:gd name="connsiteY187" fmla="*/ 584555 h 1016771"/>
                    <a:gd name="connsiteX188" fmla="*/ 131082 w 761692"/>
                    <a:gd name="connsiteY188" fmla="*/ 575698 h 1016771"/>
                    <a:gd name="connsiteX189" fmla="*/ 120454 w 761692"/>
                    <a:gd name="connsiteY189" fmla="*/ 568613 h 1016771"/>
                    <a:gd name="connsiteX190" fmla="*/ 125768 w 761692"/>
                    <a:gd name="connsiteY190" fmla="*/ 552670 h 1016771"/>
                    <a:gd name="connsiteX191" fmla="*/ 118682 w 761692"/>
                    <a:gd name="connsiteY191" fmla="*/ 543813 h 1016771"/>
                    <a:gd name="connsiteX192" fmla="*/ 90340 w 761692"/>
                    <a:gd name="connsiteY192" fmla="*/ 543813 h 1016771"/>
                    <a:gd name="connsiteX193" fmla="*/ 86797 w 761692"/>
                    <a:gd name="connsiteY193" fmla="*/ 542042 h 1016771"/>
                    <a:gd name="connsiteX194" fmla="*/ 83255 w 761692"/>
                    <a:gd name="connsiteY194" fmla="*/ 542042 h 1016771"/>
                    <a:gd name="connsiteX195" fmla="*/ 81483 w 761692"/>
                    <a:gd name="connsiteY195" fmla="*/ 540271 h 1016771"/>
                    <a:gd name="connsiteX196" fmla="*/ 81483 w 761692"/>
                    <a:gd name="connsiteY196" fmla="*/ 536728 h 1016771"/>
                    <a:gd name="connsiteX197" fmla="*/ 79712 w 761692"/>
                    <a:gd name="connsiteY197" fmla="*/ 531414 h 1016771"/>
                    <a:gd name="connsiteX198" fmla="*/ 77941 w 761692"/>
                    <a:gd name="connsiteY198" fmla="*/ 529642 h 1016771"/>
                    <a:gd name="connsiteX199" fmla="*/ 70855 w 761692"/>
                    <a:gd name="connsiteY199" fmla="*/ 527871 h 1016771"/>
                    <a:gd name="connsiteX200" fmla="*/ 60227 w 761692"/>
                    <a:gd name="connsiteY200" fmla="*/ 536728 h 1016771"/>
                    <a:gd name="connsiteX201" fmla="*/ 47827 w 761692"/>
                    <a:gd name="connsiteY201" fmla="*/ 526100 h 1016771"/>
                    <a:gd name="connsiteX202" fmla="*/ 42513 w 761692"/>
                    <a:gd name="connsiteY202" fmla="*/ 515471 h 1016771"/>
                    <a:gd name="connsiteX203" fmla="*/ 33656 w 761692"/>
                    <a:gd name="connsiteY203" fmla="*/ 506614 h 1016771"/>
                    <a:gd name="connsiteX204" fmla="*/ 31885 w 761692"/>
                    <a:gd name="connsiteY204" fmla="*/ 490672 h 1016771"/>
                    <a:gd name="connsiteX205" fmla="*/ 26571 w 761692"/>
                    <a:gd name="connsiteY205" fmla="*/ 476501 h 1016771"/>
                    <a:gd name="connsiteX206" fmla="*/ 24799 w 761692"/>
                    <a:gd name="connsiteY206" fmla="*/ 471187 h 1016771"/>
                    <a:gd name="connsiteX207" fmla="*/ 12400 w 761692"/>
                    <a:gd name="connsiteY207" fmla="*/ 472958 h 1016771"/>
                    <a:gd name="connsiteX208" fmla="*/ 7086 w 761692"/>
                    <a:gd name="connsiteY208" fmla="*/ 464101 h 1016771"/>
                    <a:gd name="connsiteX209" fmla="*/ 8857 w 761692"/>
                    <a:gd name="connsiteY209" fmla="*/ 446388 h 1016771"/>
                    <a:gd name="connsiteX210" fmla="*/ 3543 w 761692"/>
                    <a:gd name="connsiteY210" fmla="*/ 435759 h 1016771"/>
                    <a:gd name="connsiteX211" fmla="*/ 5314 w 761692"/>
                    <a:gd name="connsiteY211" fmla="*/ 412731 h 1016771"/>
                    <a:gd name="connsiteX212" fmla="*/ 0 w 761692"/>
                    <a:gd name="connsiteY212" fmla="*/ 396789 h 1016771"/>
                    <a:gd name="connsiteX213" fmla="*/ 3543 w 761692"/>
                    <a:gd name="connsiteY213" fmla="*/ 384389 h 1016771"/>
                    <a:gd name="connsiteX214" fmla="*/ 14171 w 761692"/>
                    <a:gd name="connsiteY214" fmla="*/ 380846 h 1016771"/>
                    <a:gd name="connsiteX215" fmla="*/ 24799 w 761692"/>
                    <a:gd name="connsiteY215" fmla="*/ 364904 h 1016771"/>
                    <a:gd name="connsiteX216" fmla="*/ 30113 w 761692"/>
                    <a:gd name="connsiteY216" fmla="*/ 350733 h 1016771"/>
                    <a:gd name="connsiteX217" fmla="*/ 35428 w 761692"/>
                    <a:gd name="connsiteY217" fmla="*/ 341876 h 1016771"/>
                    <a:gd name="connsiteX218" fmla="*/ 42513 w 761692"/>
                    <a:gd name="connsiteY218" fmla="*/ 327705 h 1016771"/>
                    <a:gd name="connsiteX219" fmla="*/ 42513 w 761692"/>
                    <a:gd name="connsiteY219" fmla="*/ 315305 h 1016771"/>
                    <a:gd name="connsiteX220" fmla="*/ 56684 w 761692"/>
                    <a:gd name="connsiteY220" fmla="*/ 309991 h 1016771"/>
                    <a:gd name="connsiteX221" fmla="*/ 60227 w 761692"/>
                    <a:gd name="connsiteY221" fmla="*/ 309991 h 1016771"/>
                    <a:gd name="connsiteX222" fmla="*/ 61998 w 761692"/>
                    <a:gd name="connsiteY222" fmla="*/ 311763 h 1016771"/>
                    <a:gd name="connsiteX223" fmla="*/ 67312 w 761692"/>
                    <a:gd name="connsiteY223" fmla="*/ 311763 h 1016771"/>
                    <a:gd name="connsiteX224" fmla="*/ 67312 w 761692"/>
                    <a:gd name="connsiteY224" fmla="*/ 309991 h 1016771"/>
                    <a:gd name="connsiteX225" fmla="*/ 67312 w 761692"/>
                    <a:gd name="connsiteY225" fmla="*/ 308220 h 1016771"/>
                    <a:gd name="connsiteX226" fmla="*/ 69084 w 761692"/>
                    <a:gd name="connsiteY226" fmla="*/ 302906 h 1016771"/>
                    <a:gd name="connsiteX227" fmla="*/ 70855 w 761692"/>
                    <a:gd name="connsiteY227" fmla="*/ 301134 h 1016771"/>
                    <a:gd name="connsiteX228" fmla="*/ 70855 w 761692"/>
                    <a:gd name="connsiteY228" fmla="*/ 299363 h 1016771"/>
                    <a:gd name="connsiteX229" fmla="*/ 77941 w 761692"/>
                    <a:gd name="connsiteY229" fmla="*/ 295820 h 1016771"/>
                    <a:gd name="connsiteX230" fmla="*/ 85026 w 761692"/>
                    <a:gd name="connsiteY230" fmla="*/ 295820 h 1016771"/>
                    <a:gd name="connsiteX231" fmla="*/ 93883 w 761692"/>
                    <a:gd name="connsiteY231" fmla="*/ 297592 h 1016771"/>
                    <a:gd name="connsiteX232" fmla="*/ 100968 w 761692"/>
                    <a:gd name="connsiteY232" fmla="*/ 288735 h 1016771"/>
                    <a:gd name="connsiteX233" fmla="*/ 97426 w 761692"/>
                    <a:gd name="connsiteY233" fmla="*/ 279878 h 1016771"/>
                    <a:gd name="connsiteX234" fmla="*/ 85026 w 761692"/>
                    <a:gd name="connsiteY234" fmla="*/ 276335 h 1016771"/>
                    <a:gd name="connsiteX235" fmla="*/ 76169 w 761692"/>
                    <a:gd name="connsiteY235" fmla="*/ 271021 h 1016771"/>
                    <a:gd name="connsiteX236" fmla="*/ 76169 w 761692"/>
                    <a:gd name="connsiteY236" fmla="*/ 262164 h 1016771"/>
                    <a:gd name="connsiteX237" fmla="*/ 81483 w 761692"/>
                    <a:gd name="connsiteY237" fmla="*/ 251536 h 1016771"/>
                    <a:gd name="connsiteX238" fmla="*/ 86797 w 761692"/>
                    <a:gd name="connsiteY238" fmla="*/ 255079 h 1016771"/>
                    <a:gd name="connsiteX239" fmla="*/ 104511 w 761692"/>
                    <a:gd name="connsiteY239" fmla="*/ 262164 h 1016771"/>
                    <a:gd name="connsiteX240" fmla="*/ 116911 w 761692"/>
                    <a:gd name="connsiteY240" fmla="*/ 265707 h 1016771"/>
                    <a:gd name="connsiteX241" fmla="*/ 132853 w 761692"/>
                    <a:gd name="connsiteY241" fmla="*/ 269250 h 1016771"/>
                    <a:gd name="connsiteX242" fmla="*/ 138167 w 761692"/>
                    <a:gd name="connsiteY242" fmla="*/ 265707 h 1016771"/>
                    <a:gd name="connsiteX243" fmla="*/ 150567 w 761692"/>
                    <a:gd name="connsiteY243" fmla="*/ 255079 h 1016771"/>
                    <a:gd name="connsiteX244" fmla="*/ 166509 w 761692"/>
                    <a:gd name="connsiteY244" fmla="*/ 255079 h 1016771"/>
                    <a:gd name="connsiteX245" fmla="*/ 166509 w 761692"/>
                    <a:gd name="connsiteY245" fmla="*/ 265707 h 1016771"/>
                    <a:gd name="connsiteX246" fmla="*/ 177138 w 761692"/>
                    <a:gd name="connsiteY246" fmla="*/ 272792 h 1016771"/>
                    <a:gd name="connsiteX247" fmla="*/ 194851 w 761692"/>
                    <a:gd name="connsiteY247" fmla="*/ 276335 h 1016771"/>
                    <a:gd name="connsiteX248" fmla="*/ 209022 w 761692"/>
                    <a:gd name="connsiteY248" fmla="*/ 279878 h 1016771"/>
                    <a:gd name="connsiteX249" fmla="*/ 221422 w 761692"/>
                    <a:gd name="connsiteY249" fmla="*/ 276335 h 1016771"/>
                    <a:gd name="connsiteX250" fmla="*/ 226736 w 761692"/>
                    <a:gd name="connsiteY250" fmla="*/ 269250 h 1016771"/>
                    <a:gd name="connsiteX251" fmla="*/ 226736 w 761692"/>
                    <a:gd name="connsiteY251" fmla="*/ 251536 h 1016771"/>
                    <a:gd name="connsiteX252" fmla="*/ 224965 w 761692"/>
                    <a:gd name="connsiteY252" fmla="*/ 239136 h 1016771"/>
                    <a:gd name="connsiteX253" fmla="*/ 214337 w 761692"/>
                    <a:gd name="connsiteY253" fmla="*/ 230279 h 1016771"/>
                    <a:gd name="connsiteX254" fmla="*/ 210794 w 761692"/>
                    <a:gd name="connsiteY254" fmla="*/ 217880 h 1016771"/>
                    <a:gd name="connsiteX255" fmla="*/ 221422 w 761692"/>
                    <a:gd name="connsiteY255" fmla="*/ 207251 h 1016771"/>
                    <a:gd name="connsiteX256" fmla="*/ 235593 w 761692"/>
                    <a:gd name="connsiteY256" fmla="*/ 214337 h 1016771"/>
                    <a:gd name="connsiteX257" fmla="*/ 246221 w 761692"/>
                    <a:gd name="connsiteY257" fmla="*/ 219651 h 1016771"/>
                    <a:gd name="connsiteX258" fmla="*/ 253307 w 761692"/>
                    <a:gd name="connsiteY258" fmla="*/ 221422 h 1016771"/>
                    <a:gd name="connsiteX259" fmla="*/ 262164 w 761692"/>
                    <a:gd name="connsiteY259" fmla="*/ 210794 h 1016771"/>
                    <a:gd name="connsiteX260" fmla="*/ 263935 w 761692"/>
                    <a:gd name="connsiteY260" fmla="*/ 201937 h 1016771"/>
                    <a:gd name="connsiteX261" fmla="*/ 274563 w 761692"/>
                    <a:gd name="connsiteY261" fmla="*/ 189538 h 1016771"/>
                    <a:gd name="connsiteX262" fmla="*/ 283420 w 761692"/>
                    <a:gd name="connsiteY262" fmla="*/ 178909 h 1016771"/>
                    <a:gd name="connsiteX263" fmla="*/ 286963 w 761692"/>
                    <a:gd name="connsiteY263" fmla="*/ 173595 h 1016771"/>
                    <a:gd name="connsiteX264" fmla="*/ 311762 w 761692"/>
                    <a:gd name="connsiteY264" fmla="*/ 168281 h 1016771"/>
                    <a:gd name="connsiteX265" fmla="*/ 325933 w 761692"/>
                    <a:gd name="connsiteY265" fmla="*/ 164738 h 1016771"/>
                    <a:gd name="connsiteX266" fmla="*/ 336562 w 761692"/>
                    <a:gd name="connsiteY266" fmla="*/ 159424 h 1016771"/>
                    <a:gd name="connsiteX267" fmla="*/ 348961 w 761692"/>
                    <a:gd name="connsiteY267" fmla="*/ 145253 h 1016771"/>
                    <a:gd name="connsiteX268" fmla="*/ 359589 w 761692"/>
                    <a:gd name="connsiteY268" fmla="*/ 143482 h 1016771"/>
                    <a:gd name="connsiteX269" fmla="*/ 371989 w 761692"/>
                    <a:gd name="connsiteY269" fmla="*/ 143482 h 1016771"/>
                    <a:gd name="connsiteX270" fmla="*/ 391474 w 761692"/>
                    <a:gd name="connsiteY270" fmla="*/ 143482 h 1016771"/>
                    <a:gd name="connsiteX271" fmla="*/ 396788 w 761692"/>
                    <a:gd name="connsiteY271" fmla="*/ 141710 h 1016771"/>
                    <a:gd name="connsiteX272" fmla="*/ 403874 w 761692"/>
                    <a:gd name="connsiteY272" fmla="*/ 134625 h 1016771"/>
                    <a:gd name="connsiteX273" fmla="*/ 409188 w 761692"/>
                    <a:gd name="connsiteY273" fmla="*/ 129311 h 1016771"/>
                    <a:gd name="connsiteX274" fmla="*/ 409188 w 761692"/>
                    <a:gd name="connsiteY274" fmla="*/ 123997 h 1016771"/>
                    <a:gd name="connsiteX275" fmla="*/ 414502 w 761692"/>
                    <a:gd name="connsiteY275" fmla="*/ 115140 h 1016771"/>
                    <a:gd name="connsiteX276" fmla="*/ 428673 w 761692"/>
                    <a:gd name="connsiteY276" fmla="*/ 115140 h 1016771"/>
                    <a:gd name="connsiteX277" fmla="*/ 432216 w 761692"/>
                    <a:gd name="connsiteY277" fmla="*/ 109826 h 1016771"/>
                    <a:gd name="connsiteX278" fmla="*/ 437530 w 761692"/>
                    <a:gd name="connsiteY278" fmla="*/ 100969 h 1016771"/>
                    <a:gd name="connsiteX279" fmla="*/ 448158 w 761692"/>
                    <a:gd name="connsiteY279" fmla="*/ 99197 h 1016771"/>
                    <a:gd name="connsiteX280" fmla="*/ 460558 w 761692"/>
                    <a:gd name="connsiteY280" fmla="*/ 97426 h 1016771"/>
                    <a:gd name="connsiteX281" fmla="*/ 472958 w 761692"/>
                    <a:gd name="connsiteY281" fmla="*/ 93883 h 1016771"/>
                    <a:gd name="connsiteX282" fmla="*/ 492443 w 761692"/>
                    <a:gd name="connsiteY282" fmla="*/ 93883 h 1016771"/>
                    <a:gd name="connsiteX283" fmla="*/ 501300 w 761692"/>
                    <a:gd name="connsiteY283" fmla="*/ 83255 h 1016771"/>
                    <a:gd name="connsiteX284" fmla="*/ 517242 w 761692"/>
                    <a:gd name="connsiteY284" fmla="*/ 81484 h 1016771"/>
                    <a:gd name="connsiteX285" fmla="*/ 522556 w 761692"/>
                    <a:gd name="connsiteY285" fmla="*/ 81484 h 1016771"/>
                    <a:gd name="connsiteX286" fmla="*/ 522556 w 761692"/>
                    <a:gd name="connsiteY286" fmla="*/ 60227 h 1016771"/>
                    <a:gd name="connsiteX287" fmla="*/ 526099 w 761692"/>
                    <a:gd name="connsiteY287" fmla="*/ 54913 h 1016771"/>
                    <a:gd name="connsiteX288" fmla="*/ 529642 w 761692"/>
                    <a:gd name="connsiteY288" fmla="*/ 46056 h 1016771"/>
                    <a:gd name="connsiteX289" fmla="*/ 538499 w 761692"/>
                    <a:gd name="connsiteY289" fmla="*/ 40742 h 1016771"/>
                    <a:gd name="connsiteX290" fmla="*/ 540270 w 761692"/>
                    <a:gd name="connsiteY290" fmla="*/ 30114 h 1016771"/>
                    <a:gd name="connsiteX291" fmla="*/ 536727 w 761692"/>
                    <a:gd name="connsiteY291" fmla="*/ 19485 h 1016771"/>
                    <a:gd name="connsiteX292" fmla="*/ 543813 w 761692"/>
                    <a:gd name="connsiteY292" fmla="*/ 5314 h 1016771"/>
                    <a:gd name="connsiteX293" fmla="*/ 554441 w 761692"/>
                    <a:gd name="connsiteY293" fmla="*/ 0 h 1016771"/>
                    <a:gd name="connsiteX0" fmla="*/ 151512 w 761692"/>
                    <a:gd name="connsiteY0" fmla="*/ 838886 h 1016771"/>
                    <a:gd name="connsiteX1" fmla="*/ 159989 w 761692"/>
                    <a:gd name="connsiteY1" fmla="*/ 830410 h 1016771"/>
                    <a:gd name="connsiteX2" fmla="*/ 151512 w 761692"/>
                    <a:gd name="connsiteY2" fmla="*/ 838886 h 1016771"/>
                    <a:gd name="connsiteX3" fmla="*/ 116476 w 761692"/>
                    <a:gd name="connsiteY3" fmla="*/ 741349 h 1016771"/>
                    <a:gd name="connsiteX4" fmla="*/ 117606 w 761692"/>
                    <a:gd name="connsiteY4" fmla="*/ 742253 h 1016771"/>
                    <a:gd name="connsiteX5" fmla="*/ 122692 w 761692"/>
                    <a:gd name="connsiteY5" fmla="*/ 759206 h 1016771"/>
                    <a:gd name="connsiteX6" fmla="*/ 126082 w 761692"/>
                    <a:gd name="connsiteY6" fmla="*/ 771073 h 1016771"/>
                    <a:gd name="connsiteX7" fmla="*/ 129473 w 761692"/>
                    <a:gd name="connsiteY7" fmla="*/ 782940 h 1016771"/>
                    <a:gd name="connsiteX8" fmla="*/ 132864 w 761692"/>
                    <a:gd name="connsiteY8" fmla="*/ 793112 h 1016771"/>
                    <a:gd name="connsiteX9" fmla="*/ 136254 w 761692"/>
                    <a:gd name="connsiteY9" fmla="*/ 810066 h 1016771"/>
                    <a:gd name="connsiteX10" fmla="*/ 139058 w 761692"/>
                    <a:gd name="connsiteY10" fmla="*/ 818476 h 1016771"/>
                    <a:gd name="connsiteX11" fmla="*/ 138167 w 761692"/>
                    <a:gd name="connsiteY11" fmla="*/ 818377 h 1016771"/>
                    <a:gd name="connsiteX12" fmla="*/ 134625 w 761692"/>
                    <a:gd name="connsiteY12" fmla="*/ 807749 h 1016771"/>
                    <a:gd name="connsiteX13" fmla="*/ 131082 w 761692"/>
                    <a:gd name="connsiteY13" fmla="*/ 790035 h 1016771"/>
                    <a:gd name="connsiteX14" fmla="*/ 127539 w 761692"/>
                    <a:gd name="connsiteY14" fmla="*/ 779407 h 1016771"/>
                    <a:gd name="connsiteX15" fmla="*/ 123996 w 761692"/>
                    <a:gd name="connsiteY15" fmla="*/ 767007 h 1016771"/>
                    <a:gd name="connsiteX16" fmla="*/ 120454 w 761692"/>
                    <a:gd name="connsiteY16" fmla="*/ 754607 h 1016771"/>
                    <a:gd name="connsiteX17" fmla="*/ 116476 w 761692"/>
                    <a:gd name="connsiteY17" fmla="*/ 741349 h 1016771"/>
                    <a:gd name="connsiteX18" fmla="*/ 554441 w 761692"/>
                    <a:gd name="connsiteY18" fmla="*/ 0 h 1016771"/>
                    <a:gd name="connsiteX19" fmla="*/ 570383 w 761692"/>
                    <a:gd name="connsiteY19" fmla="*/ 3543 h 1016771"/>
                    <a:gd name="connsiteX20" fmla="*/ 577469 w 761692"/>
                    <a:gd name="connsiteY20" fmla="*/ 8857 h 1016771"/>
                    <a:gd name="connsiteX21" fmla="*/ 582783 w 761692"/>
                    <a:gd name="connsiteY21" fmla="*/ 17714 h 1016771"/>
                    <a:gd name="connsiteX22" fmla="*/ 582783 w 761692"/>
                    <a:gd name="connsiteY22" fmla="*/ 24799 h 1016771"/>
                    <a:gd name="connsiteX23" fmla="*/ 588097 w 761692"/>
                    <a:gd name="connsiteY23" fmla="*/ 33656 h 1016771"/>
                    <a:gd name="connsiteX24" fmla="*/ 598725 w 761692"/>
                    <a:gd name="connsiteY24" fmla="*/ 31885 h 1016771"/>
                    <a:gd name="connsiteX25" fmla="*/ 612896 w 761692"/>
                    <a:gd name="connsiteY25" fmla="*/ 37199 h 1016771"/>
                    <a:gd name="connsiteX26" fmla="*/ 618211 w 761692"/>
                    <a:gd name="connsiteY26" fmla="*/ 46056 h 1016771"/>
                    <a:gd name="connsiteX27" fmla="*/ 619982 w 761692"/>
                    <a:gd name="connsiteY27" fmla="*/ 54913 h 1016771"/>
                    <a:gd name="connsiteX28" fmla="*/ 618211 w 761692"/>
                    <a:gd name="connsiteY28" fmla="*/ 74398 h 1016771"/>
                    <a:gd name="connsiteX29" fmla="*/ 616439 w 761692"/>
                    <a:gd name="connsiteY29" fmla="*/ 85026 h 1016771"/>
                    <a:gd name="connsiteX30" fmla="*/ 621753 w 761692"/>
                    <a:gd name="connsiteY30" fmla="*/ 97426 h 1016771"/>
                    <a:gd name="connsiteX31" fmla="*/ 637696 w 761692"/>
                    <a:gd name="connsiteY31" fmla="*/ 113368 h 1016771"/>
                    <a:gd name="connsiteX32" fmla="*/ 644781 w 761692"/>
                    <a:gd name="connsiteY32" fmla="*/ 120454 h 1016771"/>
                    <a:gd name="connsiteX33" fmla="*/ 650095 w 761692"/>
                    <a:gd name="connsiteY33" fmla="*/ 136396 h 1016771"/>
                    <a:gd name="connsiteX34" fmla="*/ 655409 w 761692"/>
                    <a:gd name="connsiteY34" fmla="*/ 155881 h 1016771"/>
                    <a:gd name="connsiteX35" fmla="*/ 662495 w 761692"/>
                    <a:gd name="connsiteY35" fmla="*/ 171824 h 1016771"/>
                    <a:gd name="connsiteX36" fmla="*/ 660724 w 761692"/>
                    <a:gd name="connsiteY36" fmla="*/ 185995 h 1016771"/>
                    <a:gd name="connsiteX37" fmla="*/ 635924 w 761692"/>
                    <a:gd name="connsiteY37" fmla="*/ 194852 h 1016771"/>
                    <a:gd name="connsiteX38" fmla="*/ 619982 w 761692"/>
                    <a:gd name="connsiteY38" fmla="*/ 207251 h 1016771"/>
                    <a:gd name="connsiteX39" fmla="*/ 614668 w 761692"/>
                    <a:gd name="connsiteY39" fmla="*/ 223194 h 1016771"/>
                    <a:gd name="connsiteX40" fmla="*/ 618211 w 761692"/>
                    <a:gd name="connsiteY40" fmla="*/ 242679 h 1016771"/>
                    <a:gd name="connsiteX41" fmla="*/ 612896 w 761692"/>
                    <a:gd name="connsiteY41" fmla="*/ 256850 h 1016771"/>
                    <a:gd name="connsiteX42" fmla="*/ 625296 w 761692"/>
                    <a:gd name="connsiteY42" fmla="*/ 267478 h 1016771"/>
                    <a:gd name="connsiteX43" fmla="*/ 641238 w 761692"/>
                    <a:gd name="connsiteY43" fmla="*/ 269250 h 1016771"/>
                    <a:gd name="connsiteX44" fmla="*/ 658952 w 761692"/>
                    <a:gd name="connsiteY44" fmla="*/ 286963 h 1016771"/>
                    <a:gd name="connsiteX45" fmla="*/ 653638 w 761692"/>
                    <a:gd name="connsiteY45" fmla="*/ 309991 h 1016771"/>
                    <a:gd name="connsiteX46" fmla="*/ 653638 w 761692"/>
                    <a:gd name="connsiteY46" fmla="*/ 329476 h 1016771"/>
                    <a:gd name="connsiteX47" fmla="*/ 643010 w 761692"/>
                    <a:gd name="connsiteY47" fmla="*/ 338333 h 1016771"/>
                    <a:gd name="connsiteX48" fmla="*/ 632382 w 761692"/>
                    <a:gd name="connsiteY48" fmla="*/ 338333 h 1016771"/>
                    <a:gd name="connsiteX49" fmla="*/ 618211 w 761692"/>
                    <a:gd name="connsiteY49" fmla="*/ 357819 h 1016771"/>
                    <a:gd name="connsiteX50" fmla="*/ 609354 w 761692"/>
                    <a:gd name="connsiteY50" fmla="*/ 361361 h 1016771"/>
                    <a:gd name="connsiteX51" fmla="*/ 596954 w 761692"/>
                    <a:gd name="connsiteY51" fmla="*/ 363133 h 1016771"/>
                    <a:gd name="connsiteX52" fmla="*/ 581012 w 761692"/>
                    <a:gd name="connsiteY52" fmla="*/ 379075 h 1016771"/>
                    <a:gd name="connsiteX53" fmla="*/ 589868 w 761692"/>
                    <a:gd name="connsiteY53" fmla="*/ 393246 h 1016771"/>
                    <a:gd name="connsiteX54" fmla="*/ 586326 w 761692"/>
                    <a:gd name="connsiteY54" fmla="*/ 409189 h 1016771"/>
                    <a:gd name="connsiteX55" fmla="*/ 570383 w 761692"/>
                    <a:gd name="connsiteY55" fmla="*/ 398560 h 1016771"/>
                    <a:gd name="connsiteX56" fmla="*/ 550898 w 761692"/>
                    <a:gd name="connsiteY56" fmla="*/ 405646 h 1016771"/>
                    <a:gd name="connsiteX57" fmla="*/ 531413 w 761692"/>
                    <a:gd name="connsiteY57" fmla="*/ 425131 h 1016771"/>
                    <a:gd name="connsiteX58" fmla="*/ 543813 w 761692"/>
                    <a:gd name="connsiteY58" fmla="*/ 444616 h 1016771"/>
                    <a:gd name="connsiteX59" fmla="*/ 557984 w 761692"/>
                    <a:gd name="connsiteY59" fmla="*/ 462330 h 1016771"/>
                    <a:gd name="connsiteX60" fmla="*/ 570383 w 761692"/>
                    <a:gd name="connsiteY60" fmla="*/ 478272 h 1016771"/>
                    <a:gd name="connsiteX61" fmla="*/ 579240 w 761692"/>
                    <a:gd name="connsiteY61" fmla="*/ 485358 h 1016771"/>
                    <a:gd name="connsiteX62" fmla="*/ 602268 w 761692"/>
                    <a:gd name="connsiteY62" fmla="*/ 483586 h 1016771"/>
                    <a:gd name="connsiteX63" fmla="*/ 623525 w 761692"/>
                    <a:gd name="connsiteY63" fmla="*/ 474730 h 1016771"/>
                    <a:gd name="connsiteX64" fmla="*/ 639467 w 761692"/>
                    <a:gd name="connsiteY64" fmla="*/ 464101 h 1016771"/>
                    <a:gd name="connsiteX65" fmla="*/ 662495 w 761692"/>
                    <a:gd name="connsiteY65" fmla="*/ 464101 h 1016771"/>
                    <a:gd name="connsiteX66" fmla="*/ 673123 w 761692"/>
                    <a:gd name="connsiteY66" fmla="*/ 464101 h 1016771"/>
                    <a:gd name="connsiteX67" fmla="*/ 681980 w 761692"/>
                    <a:gd name="connsiteY67" fmla="*/ 467644 h 1016771"/>
                    <a:gd name="connsiteX68" fmla="*/ 703237 w 761692"/>
                    <a:gd name="connsiteY68" fmla="*/ 471187 h 1016771"/>
                    <a:gd name="connsiteX69" fmla="*/ 708551 w 761692"/>
                    <a:gd name="connsiteY69" fmla="*/ 474730 h 1016771"/>
                    <a:gd name="connsiteX70" fmla="*/ 722722 w 761692"/>
                    <a:gd name="connsiteY70" fmla="*/ 501300 h 1016771"/>
                    <a:gd name="connsiteX71" fmla="*/ 724493 w 761692"/>
                    <a:gd name="connsiteY71" fmla="*/ 522557 h 1016771"/>
                    <a:gd name="connsiteX72" fmla="*/ 722722 w 761692"/>
                    <a:gd name="connsiteY72" fmla="*/ 540271 h 1016771"/>
                    <a:gd name="connsiteX73" fmla="*/ 735121 w 761692"/>
                    <a:gd name="connsiteY73" fmla="*/ 552670 h 1016771"/>
                    <a:gd name="connsiteX74" fmla="*/ 735121 w 761692"/>
                    <a:gd name="connsiteY74" fmla="*/ 570384 h 1016771"/>
                    <a:gd name="connsiteX75" fmla="*/ 751064 w 761692"/>
                    <a:gd name="connsiteY75" fmla="*/ 581012 h 1016771"/>
                    <a:gd name="connsiteX76" fmla="*/ 761692 w 761692"/>
                    <a:gd name="connsiteY76" fmla="*/ 604040 h 1016771"/>
                    <a:gd name="connsiteX77" fmla="*/ 747521 w 761692"/>
                    <a:gd name="connsiteY77" fmla="*/ 616440 h 1016771"/>
                    <a:gd name="connsiteX78" fmla="*/ 728036 w 761692"/>
                    <a:gd name="connsiteY78" fmla="*/ 627068 h 1016771"/>
                    <a:gd name="connsiteX79" fmla="*/ 726264 w 761692"/>
                    <a:gd name="connsiteY79" fmla="*/ 650096 h 1016771"/>
                    <a:gd name="connsiteX80" fmla="*/ 728036 w 761692"/>
                    <a:gd name="connsiteY80" fmla="*/ 673124 h 1016771"/>
                    <a:gd name="connsiteX81" fmla="*/ 742207 w 761692"/>
                    <a:gd name="connsiteY81" fmla="*/ 689066 h 1016771"/>
                    <a:gd name="connsiteX82" fmla="*/ 742207 w 761692"/>
                    <a:gd name="connsiteY82" fmla="*/ 712094 h 1016771"/>
                    <a:gd name="connsiteX83" fmla="*/ 740435 w 761692"/>
                    <a:gd name="connsiteY83" fmla="*/ 735122 h 1016771"/>
                    <a:gd name="connsiteX84" fmla="*/ 742207 w 761692"/>
                    <a:gd name="connsiteY84" fmla="*/ 751065 h 1016771"/>
                    <a:gd name="connsiteX85" fmla="*/ 747521 w 761692"/>
                    <a:gd name="connsiteY85" fmla="*/ 768778 h 1016771"/>
                    <a:gd name="connsiteX86" fmla="*/ 759921 w 761692"/>
                    <a:gd name="connsiteY86" fmla="*/ 777635 h 1016771"/>
                    <a:gd name="connsiteX87" fmla="*/ 758149 w 761692"/>
                    <a:gd name="connsiteY87" fmla="*/ 802434 h 1016771"/>
                    <a:gd name="connsiteX88" fmla="*/ 752835 w 761692"/>
                    <a:gd name="connsiteY88" fmla="*/ 814834 h 1016771"/>
                    <a:gd name="connsiteX89" fmla="*/ 743978 w 761692"/>
                    <a:gd name="connsiteY89" fmla="*/ 827234 h 1016771"/>
                    <a:gd name="connsiteX90" fmla="*/ 743978 w 761692"/>
                    <a:gd name="connsiteY90" fmla="*/ 837862 h 1016771"/>
                    <a:gd name="connsiteX91" fmla="*/ 747521 w 761692"/>
                    <a:gd name="connsiteY91" fmla="*/ 853804 h 1016771"/>
                    <a:gd name="connsiteX92" fmla="*/ 733350 w 761692"/>
                    <a:gd name="connsiteY92" fmla="*/ 867975 h 1016771"/>
                    <a:gd name="connsiteX93" fmla="*/ 724493 w 761692"/>
                    <a:gd name="connsiteY93" fmla="*/ 880375 h 1016771"/>
                    <a:gd name="connsiteX94" fmla="*/ 722722 w 761692"/>
                    <a:gd name="connsiteY94" fmla="*/ 899860 h 1016771"/>
                    <a:gd name="connsiteX95" fmla="*/ 722722 w 761692"/>
                    <a:gd name="connsiteY95" fmla="*/ 919345 h 1016771"/>
                    <a:gd name="connsiteX96" fmla="*/ 715636 w 761692"/>
                    <a:gd name="connsiteY96" fmla="*/ 940602 h 1016771"/>
                    <a:gd name="connsiteX97" fmla="*/ 708551 w 761692"/>
                    <a:gd name="connsiteY97" fmla="*/ 954773 h 1016771"/>
                    <a:gd name="connsiteX98" fmla="*/ 699694 w 761692"/>
                    <a:gd name="connsiteY98" fmla="*/ 965401 h 1016771"/>
                    <a:gd name="connsiteX99" fmla="*/ 692608 w 761692"/>
                    <a:gd name="connsiteY99" fmla="*/ 984886 h 1016771"/>
                    <a:gd name="connsiteX100" fmla="*/ 683751 w 761692"/>
                    <a:gd name="connsiteY100" fmla="*/ 997286 h 1016771"/>
                    <a:gd name="connsiteX101" fmla="*/ 673123 w 761692"/>
                    <a:gd name="connsiteY101" fmla="*/ 1002600 h 1016771"/>
                    <a:gd name="connsiteX102" fmla="*/ 662495 w 761692"/>
                    <a:gd name="connsiteY102" fmla="*/ 1013228 h 1016771"/>
                    <a:gd name="connsiteX103" fmla="*/ 644781 w 761692"/>
                    <a:gd name="connsiteY103" fmla="*/ 1016771 h 1016771"/>
                    <a:gd name="connsiteX104" fmla="*/ 635924 w 761692"/>
                    <a:gd name="connsiteY104" fmla="*/ 1004372 h 1016771"/>
                    <a:gd name="connsiteX105" fmla="*/ 623525 w 761692"/>
                    <a:gd name="connsiteY105" fmla="*/ 997286 h 1016771"/>
                    <a:gd name="connsiteX106" fmla="*/ 614668 w 761692"/>
                    <a:gd name="connsiteY106" fmla="*/ 986658 h 1016771"/>
                    <a:gd name="connsiteX107" fmla="*/ 593411 w 761692"/>
                    <a:gd name="connsiteY107" fmla="*/ 970715 h 1016771"/>
                    <a:gd name="connsiteX108" fmla="*/ 582783 w 761692"/>
                    <a:gd name="connsiteY108" fmla="*/ 965401 h 1016771"/>
                    <a:gd name="connsiteX109" fmla="*/ 531413 w 761692"/>
                    <a:gd name="connsiteY109" fmla="*/ 965401 h 1016771"/>
                    <a:gd name="connsiteX110" fmla="*/ 511928 w 761692"/>
                    <a:gd name="connsiteY110" fmla="*/ 965401 h 1016771"/>
                    <a:gd name="connsiteX111" fmla="*/ 492443 w 761692"/>
                    <a:gd name="connsiteY111" fmla="*/ 963630 h 1016771"/>
                    <a:gd name="connsiteX112" fmla="*/ 483586 w 761692"/>
                    <a:gd name="connsiteY112" fmla="*/ 958316 h 1016771"/>
                    <a:gd name="connsiteX113" fmla="*/ 469415 w 761692"/>
                    <a:gd name="connsiteY113" fmla="*/ 954773 h 1016771"/>
                    <a:gd name="connsiteX114" fmla="*/ 460558 w 761692"/>
                    <a:gd name="connsiteY114" fmla="*/ 942373 h 1016771"/>
                    <a:gd name="connsiteX115" fmla="*/ 446387 w 761692"/>
                    <a:gd name="connsiteY115" fmla="*/ 935288 h 1016771"/>
                    <a:gd name="connsiteX116" fmla="*/ 428673 w 761692"/>
                    <a:gd name="connsiteY116" fmla="*/ 928202 h 1016771"/>
                    <a:gd name="connsiteX117" fmla="*/ 418045 w 761692"/>
                    <a:gd name="connsiteY117" fmla="*/ 917574 h 1016771"/>
                    <a:gd name="connsiteX118" fmla="*/ 421588 w 761692"/>
                    <a:gd name="connsiteY118" fmla="*/ 903403 h 1016771"/>
                    <a:gd name="connsiteX119" fmla="*/ 418045 w 761692"/>
                    <a:gd name="connsiteY119" fmla="*/ 898089 h 1016771"/>
                    <a:gd name="connsiteX120" fmla="*/ 396788 w 761692"/>
                    <a:gd name="connsiteY120" fmla="*/ 898089 h 1016771"/>
                    <a:gd name="connsiteX121" fmla="*/ 382617 w 761692"/>
                    <a:gd name="connsiteY121" fmla="*/ 896318 h 1016771"/>
                    <a:gd name="connsiteX122" fmla="*/ 380846 w 761692"/>
                    <a:gd name="connsiteY122" fmla="*/ 906946 h 1016771"/>
                    <a:gd name="connsiteX123" fmla="*/ 373601 w 761692"/>
                    <a:gd name="connsiteY123" fmla="*/ 894832 h 1016771"/>
                    <a:gd name="connsiteX124" fmla="*/ 387164 w 761692"/>
                    <a:gd name="connsiteY124" fmla="*/ 896527 h 1016771"/>
                    <a:gd name="connsiteX125" fmla="*/ 383773 w 761692"/>
                    <a:gd name="connsiteY125" fmla="*/ 886355 h 1016771"/>
                    <a:gd name="connsiteX126" fmla="*/ 387164 w 761692"/>
                    <a:gd name="connsiteY126" fmla="*/ 876183 h 1016771"/>
                    <a:gd name="connsiteX127" fmla="*/ 388859 w 761692"/>
                    <a:gd name="connsiteY127" fmla="*/ 867707 h 1016771"/>
                    <a:gd name="connsiteX128" fmla="*/ 380382 w 761692"/>
                    <a:gd name="connsiteY128" fmla="*/ 859230 h 1016771"/>
                    <a:gd name="connsiteX129" fmla="*/ 373601 w 761692"/>
                    <a:gd name="connsiteY129" fmla="*/ 849058 h 1016771"/>
                    <a:gd name="connsiteX130" fmla="*/ 380382 w 761692"/>
                    <a:gd name="connsiteY130" fmla="*/ 838886 h 1016771"/>
                    <a:gd name="connsiteX131" fmla="*/ 383773 w 761692"/>
                    <a:gd name="connsiteY131" fmla="*/ 833800 h 1016771"/>
                    <a:gd name="connsiteX132" fmla="*/ 388859 w 761692"/>
                    <a:gd name="connsiteY132" fmla="*/ 825324 h 1016771"/>
                    <a:gd name="connsiteX133" fmla="*/ 387164 w 761692"/>
                    <a:gd name="connsiteY133" fmla="*/ 810066 h 1016771"/>
                    <a:gd name="connsiteX134" fmla="*/ 387164 w 761692"/>
                    <a:gd name="connsiteY134" fmla="*/ 796503 h 1016771"/>
                    <a:gd name="connsiteX135" fmla="*/ 378687 w 761692"/>
                    <a:gd name="connsiteY135" fmla="*/ 789722 h 1016771"/>
                    <a:gd name="connsiteX136" fmla="*/ 366820 w 761692"/>
                    <a:gd name="connsiteY136" fmla="*/ 782940 h 1016771"/>
                    <a:gd name="connsiteX137" fmla="*/ 356648 w 761692"/>
                    <a:gd name="connsiteY137" fmla="*/ 781245 h 1016771"/>
                    <a:gd name="connsiteX138" fmla="*/ 349866 w 761692"/>
                    <a:gd name="connsiteY138" fmla="*/ 771073 h 1016771"/>
                    <a:gd name="connsiteX139" fmla="*/ 349866 w 761692"/>
                    <a:gd name="connsiteY139" fmla="*/ 752425 h 1016771"/>
                    <a:gd name="connsiteX140" fmla="*/ 353257 w 761692"/>
                    <a:gd name="connsiteY140" fmla="*/ 743948 h 1016771"/>
                    <a:gd name="connsiteX141" fmla="*/ 354952 w 761692"/>
                    <a:gd name="connsiteY141" fmla="*/ 730385 h 1016771"/>
                    <a:gd name="connsiteX142" fmla="*/ 353257 w 761692"/>
                    <a:gd name="connsiteY142" fmla="*/ 713432 h 1016771"/>
                    <a:gd name="connsiteX143" fmla="*/ 346476 w 761692"/>
                    <a:gd name="connsiteY143" fmla="*/ 701565 h 1016771"/>
                    <a:gd name="connsiteX144" fmla="*/ 332913 w 761692"/>
                    <a:gd name="connsiteY144" fmla="*/ 689697 h 1016771"/>
                    <a:gd name="connsiteX145" fmla="*/ 324436 w 761692"/>
                    <a:gd name="connsiteY145" fmla="*/ 681221 h 1016771"/>
                    <a:gd name="connsiteX146" fmla="*/ 314264 w 761692"/>
                    <a:gd name="connsiteY146" fmla="*/ 676135 h 1016771"/>
                    <a:gd name="connsiteX147" fmla="*/ 293920 w 761692"/>
                    <a:gd name="connsiteY147" fmla="*/ 669354 h 1016771"/>
                    <a:gd name="connsiteX148" fmla="*/ 282053 w 761692"/>
                    <a:gd name="connsiteY148" fmla="*/ 667658 h 1016771"/>
                    <a:gd name="connsiteX149" fmla="*/ 266795 w 761692"/>
                    <a:gd name="connsiteY149" fmla="*/ 672744 h 1016771"/>
                    <a:gd name="connsiteX150" fmla="*/ 265100 w 761692"/>
                    <a:gd name="connsiteY150" fmla="*/ 672744 h 1016771"/>
                    <a:gd name="connsiteX151" fmla="*/ 263404 w 761692"/>
                    <a:gd name="connsiteY151" fmla="*/ 671049 h 1016771"/>
                    <a:gd name="connsiteX152" fmla="*/ 260014 w 761692"/>
                    <a:gd name="connsiteY152" fmla="*/ 671049 h 1016771"/>
                    <a:gd name="connsiteX153" fmla="*/ 258318 w 761692"/>
                    <a:gd name="connsiteY153" fmla="*/ 671049 h 1016771"/>
                    <a:gd name="connsiteX154" fmla="*/ 253232 w 761692"/>
                    <a:gd name="connsiteY154" fmla="*/ 671049 h 1016771"/>
                    <a:gd name="connsiteX155" fmla="*/ 248146 w 761692"/>
                    <a:gd name="connsiteY155" fmla="*/ 672744 h 1016771"/>
                    <a:gd name="connsiteX156" fmla="*/ 248146 w 761692"/>
                    <a:gd name="connsiteY156" fmla="*/ 674440 h 1016771"/>
                    <a:gd name="connsiteX157" fmla="*/ 246451 w 761692"/>
                    <a:gd name="connsiteY157" fmla="*/ 674440 h 1016771"/>
                    <a:gd name="connsiteX158" fmla="*/ 236279 w 761692"/>
                    <a:gd name="connsiteY158" fmla="*/ 679526 h 1016771"/>
                    <a:gd name="connsiteX159" fmla="*/ 226107 w 761692"/>
                    <a:gd name="connsiteY159" fmla="*/ 684612 h 1016771"/>
                    <a:gd name="connsiteX160" fmla="*/ 217630 w 761692"/>
                    <a:gd name="connsiteY160" fmla="*/ 684612 h 1016771"/>
                    <a:gd name="connsiteX161" fmla="*/ 207458 w 761692"/>
                    <a:gd name="connsiteY161" fmla="*/ 693088 h 1016771"/>
                    <a:gd name="connsiteX162" fmla="*/ 198982 w 761692"/>
                    <a:gd name="connsiteY162" fmla="*/ 694783 h 1016771"/>
                    <a:gd name="connsiteX163" fmla="*/ 192200 w 761692"/>
                    <a:gd name="connsiteY163" fmla="*/ 699869 h 1016771"/>
                    <a:gd name="connsiteX164" fmla="*/ 178638 w 761692"/>
                    <a:gd name="connsiteY164" fmla="*/ 706651 h 1016771"/>
                    <a:gd name="connsiteX165" fmla="*/ 163380 w 761692"/>
                    <a:gd name="connsiteY165" fmla="*/ 710041 h 1016771"/>
                    <a:gd name="connsiteX166" fmla="*/ 141340 w 761692"/>
                    <a:gd name="connsiteY166" fmla="*/ 710041 h 1016771"/>
                    <a:gd name="connsiteX167" fmla="*/ 134559 w 761692"/>
                    <a:gd name="connsiteY167" fmla="*/ 716823 h 1016771"/>
                    <a:gd name="connsiteX168" fmla="*/ 127778 w 761692"/>
                    <a:gd name="connsiteY168" fmla="*/ 718518 h 1016771"/>
                    <a:gd name="connsiteX169" fmla="*/ 120996 w 761692"/>
                    <a:gd name="connsiteY169" fmla="*/ 725299 h 1016771"/>
                    <a:gd name="connsiteX170" fmla="*/ 111172 w 761692"/>
                    <a:gd name="connsiteY170" fmla="*/ 733720 h 1016771"/>
                    <a:gd name="connsiteX171" fmla="*/ 106283 w 761692"/>
                    <a:gd name="connsiteY171" fmla="*/ 729808 h 1016771"/>
                    <a:gd name="connsiteX172" fmla="*/ 92112 w 761692"/>
                    <a:gd name="connsiteY172" fmla="*/ 724494 h 1016771"/>
                    <a:gd name="connsiteX173" fmla="*/ 77941 w 761692"/>
                    <a:gd name="connsiteY173" fmla="*/ 726265 h 1016771"/>
                    <a:gd name="connsiteX174" fmla="*/ 70855 w 761692"/>
                    <a:gd name="connsiteY174" fmla="*/ 719180 h 1016771"/>
                    <a:gd name="connsiteX175" fmla="*/ 70855 w 761692"/>
                    <a:gd name="connsiteY175" fmla="*/ 699695 h 1016771"/>
                    <a:gd name="connsiteX176" fmla="*/ 81483 w 761692"/>
                    <a:gd name="connsiteY176" fmla="*/ 685524 h 1016771"/>
                    <a:gd name="connsiteX177" fmla="*/ 85026 w 761692"/>
                    <a:gd name="connsiteY177" fmla="*/ 673124 h 1016771"/>
                    <a:gd name="connsiteX178" fmla="*/ 86797 w 761692"/>
                    <a:gd name="connsiteY178" fmla="*/ 660724 h 1016771"/>
                    <a:gd name="connsiteX179" fmla="*/ 97426 w 761692"/>
                    <a:gd name="connsiteY179" fmla="*/ 650096 h 1016771"/>
                    <a:gd name="connsiteX180" fmla="*/ 102740 w 761692"/>
                    <a:gd name="connsiteY180" fmla="*/ 635925 h 1016771"/>
                    <a:gd name="connsiteX181" fmla="*/ 113368 w 761692"/>
                    <a:gd name="connsiteY181" fmla="*/ 625297 h 1016771"/>
                    <a:gd name="connsiteX182" fmla="*/ 115139 w 761692"/>
                    <a:gd name="connsiteY182" fmla="*/ 612897 h 1016771"/>
                    <a:gd name="connsiteX183" fmla="*/ 127539 w 761692"/>
                    <a:gd name="connsiteY183" fmla="*/ 609354 h 1016771"/>
                    <a:gd name="connsiteX184" fmla="*/ 136396 w 761692"/>
                    <a:gd name="connsiteY184" fmla="*/ 604040 h 1016771"/>
                    <a:gd name="connsiteX185" fmla="*/ 132853 w 761692"/>
                    <a:gd name="connsiteY185" fmla="*/ 593412 h 1016771"/>
                    <a:gd name="connsiteX186" fmla="*/ 134625 w 761692"/>
                    <a:gd name="connsiteY186" fmla="*/ 584555 h 1016771"/>
                    <a:gd name="connsiteX187" fmla="*/ 131082 w 761692"/>
                    <a:gd name="connsiteY187" fmla="*/ 575698 h 1016771"/>
                    <a:gd name="connsiteX188" fmla="*/ 120454 w 761692"/>
                    <a:gd name="connsiteY188" fmla="*/ 568613 h 1016771"/>
                    <a:gd name="connsiteX189" fmla="*/ 125768 w 761692"/>
                    <a:gd name="connsiteY189" fmla="*/ 552670 h 1016771"/>
                    <a:gd name="connsiteX190" fmla="*/ 118682 w 761692"/>
                    <a:gd name="connsiteY190" fmla="*/ 543813 h 1016771"/>
                    <a:gd name="connsiteX191" fmla="*/ 90340 w 761692"/>
                    <a:gd name="connsiteY191" fmla="*/ 543813 h 1016771"/>
                    <a:gd name="connsiteX192" fmla="*/ 86797 w 761692"/>
                    <a:gd name="connsiteY192" fmla="*/ 542042 h 1016771"/>
                    <a:gd name="connsiteX193" fmla="*/ 83255 w 761692"/>
                    <a:gd name="connsiteY193" fmla="*/ 542042 h 1016771"/>
                    <a:gd name="connsiteX194" fmla="*/ 81483 w 761692"/>
                    <a:gd name="connsiteY194" fmla="*/ 540271 h 1016771"/>
                    <a:gd name="connsiteX195" fmla="*/ 81483 w 761692"/>
                    <a:gd name="connsiteY195" fmla="*/ 536728 h 1016771"/>
                    <a:gd name="connsiteX196" fmla="*/ 79712 w 761692"/>
                    <a:gd name="connsiteY196" fmla="*/ 531414 h 1016771"/>
                    <a:gd name="connsiteX197" fmla="*/ 77941 w 761692"/>
                    <a:gd name="connsiteY197" fmla="*/ 529642 h 1016771"/>
                    <a:gd name="connsiteX198" fmla="*/ 70855 w 761692"/>
                    <a:gd name="connsiteY198" fmla="*/ 527871 h 1016771"/>
                    <a:gd name="connsiteX199" fmla="*/ 60227 w 761692"/>
                    <a:gd name="connsiteY199" fmla="*/ 536728 h 1016771"/>
                    <a:gd name="connsiteX200" fmla="*/ 47827 w 761692"/>
                    <a:gd name="connsiteY200" fmla="*/ 526100 h 1016771"/>
                    <a:gd name="connsiteX201" fmla="*/ 42513 w 761692"/>
                    <a:gd name="connsiteY201" fmla="*/ 515471 h 1016771"/>
                    <a:gd name="connsiteX202" fmla="*/ 33656 w 761692"/>
                    <a:gd name="connsiteY202" fmla="*/ 506614 h 1016771"/>
                    <a:gd name="connsiteX203" fmla="*/ 31885 w 761692"/>
                    <a:gd name="connsiteY203" fmla="*/ 490672 h 1016771"/>
                    <a:gd name="connsiteX204" fmla="*/ 26571 w 761692"/>
                    <a:gd name="connsiteY204" fmla="*/ 476501 h 1016771"/>
                    <a:gd name="connsiteX205" fmla="*/ 24799 w 761692"/>
                    <a:gd name="connsiteY205" fmla="*/ 471187 h 1016771"/>
                    <a:gd name="connsiteX206" fmla="*/ 12400 w 761692"/>
                    <a:gd name="connsiteY206" fmla="*/ 472958 h 1016771"/>
                    <a:gd name="connsiteX207" fmla="*/ 7086 w 761692"/>
                    <a:gd name="connsiteY207" fmla="*/ 464101 h 1016771"/>
                    <a:gd name="connsiteX208" fmla="*/ 8857 w 761692"/>
                    <a:gd name="connsiteY208" fmla="*/ 446388 h 1016771"/>
                    <a:gd name="connsiteX209" fmla="*/ 3543 w 761692"/>
                    <a:gd name="connsiteY209" fmla="*/ 435759 h 1016771"/>
                    <a:gd name="connsiteX210" fmla="*/ 5314 w 761692"/>
                    <a:gd name="connsiteY210" fmla="*/ 412731 h 1016771"/>
                    <a:gd name="connsiteX211" fmla="*/ 0 w 761692"/>
                    <a:gd name="connsiteY211" fmla="*/ 396789 h 1016771"/>
                    <a:gd name="connsiteX212" fmla="*/ 3543 w 761692"/>
                    <a:gd name="connsiteY212" fmla="*/ 384389 h 1016771"/>
                    <a:gd name="connsiteX213" fmla="*/ 14171 w 761692"/>
                    <a:gd name="connsiteY213" fmla="*/ 380846 h 1016771"/>
                    <a:gd name="connsiteX214" fmla="*/ 24799 w 761692"/>
                    <a:gd name="connsiteY214" fmla="*/ 364904 h 1016771"/>
                    <a:gd name="connsiteX215" fmla="*/ 30113 w 761692"/>
                    <a:gd name="connsiteY215" fmla="*/ 350733 h 1016771"/>
                    <a:gd name="connsiteX216" fmla="*/ 35428 w 761692"/>
                    <a:gd name="connsiteY216" fmla="*/ 341876 h 1016771"/>
                    <a:gd name="connsiteX217" fmla="*/ 42513 w 761692"/>
                    <a:gd name="connsiteY217" fmla="*/ 327705 h 1016771"/>
                    <a:gd name="connsiteX218" fmla="*/ 42513 w 761692"/>
                    <a:gd name="connsiteY218" fmla="*/ 315305 h 1016771"/>
                    <a:gd name="connsiteX219" fmla="*/ 56684 w 761692"/>
                    <a:gd name="connsiteY219" fmla="*/ 309991 h 1016771"/>
                    <a:gd name="connsiteX220" fmla="*/ 60227 w 761692"/>
                    <a:gd name="connsiteY220" fmla="*/ 309991 h 1016771"/>
                    <a:gd name="connsiteX221" fmla="*/ 61998 w 761692"/>
                    <a:gd name="connsiteY221" fmla="*/ 311763 h 1016771"/>
                    <a:gd name="connsiteX222" fmla="*/ 67312 w 761692"/>
                    <a:gd name="connsiteY222" fmla="*/ 311763 h 1016771"/>
                    <a:gd name="connsiteX223" fmla="*/ 67312 w 761692"/>
                    <a:gd name="connsiteY223" fmla="*/ 309991 h 1016771"/>
                    <a:gd name="connsiteX224" fmla="*/ 67312 w 761692"/>
                    <a:gd name="connsiteY224" fmla="*/ 308220 h 1016771"/>
                    <a:gd name="connsiteX225" fmla="*/ 69084 w 761692"/>
                    <a:gd name="connsiteY225" fmla="*/ 302906 h 1016771"/>
                    <a:gd name="connsiteX226" fmla="*/ 70855 w 761692"/>
                    <a:gd name="connsiteY226" fmla="*/ 301134 h 1016771"/>
                    <a:gd name="connsiteX227" fmla="*/ 70855 w 761692"/>
                    <a:gd name="connsiteY227" fmla="*/ 299363 h 1016771"/>
                    <a:gd name="connsiteX228" fmla="*/ 77941 w 761692"/>
                    <a:gd name="connsiteY228" fmla="*/ 295820 h 1016771"/>
                    <a:gd name="connsiteX229" fmla="*/ 85026 w 761692"/>
                    <a:gd name="connsiteY229" fmla="*/ 295820 h 1016771"/>
                    <a:gd name="connsiteX230" fmla="*/ 93883 w 761692"/>
                    <a:gd name="connsiteY230" fmla="*/ 297592 h 1016771"/>
                    <a:gd name="connsiteX231" fmla="*/ 100968 w 761692"/>
                    <a:gd name="connsiteY231" fmla="*/ 288735 h 1016771"/>
                    <a:gd name="connsiteX232" fmla="*/ 97426 w 761692"/>
                    <a:gd name="connsiteY232" fmla="*/ 279878 h 1016771"/>
                    <a:gd name="connsiteX233" fmla="*/ 85026 w 761692"/>
                    <a:gd name="connsiteY233" fmla="*/ 276335 h 1016771"/>
                    <a:gd name="connsiteX234" fmla="*/ 76169 w 761692"/>
                    <a:gd name="connsiteY234" fmla="*/ 271021 h 1016771"/>
                    <a:gd name="connsiteX235" fmla="*/ 76169 w 761692"/>
                    <a:gd name="connsiteY235" fmla="*/ 262164 h 1016771"/>
                    <a:gd name="connsiteX236" fmla="*/ 81483 w 761692"/>
                    <a:gd name="connsiteY236" fmla="*/ 251536 h 1016771"/>
                    <a:gd name="connsiteX237" fmla="*/ 86797 w 761692"/>
                    <a:gd name="connsiteY237" fmla="*/ 255079 h 1016771"/>
                    <a:gd name="connsiteX238" fmla="*/ 104511 w 761692"/>
                    <a:gd name="connsiteY238" fmla="*/ 262164 h 1016771"/>
                    <a:gd name="connsiteX239" fmla="*/ 116911 w 761692"/>
                    <a:gd name="connsiteY239" fmla="*/ 265707 h 1016771"/>
                    <a:gd name="connsiteX240" fmla="*/ 132853 w 761692"/>
                    <a:gd name="connsiteY240" fmla="*/ 269250 h 1016771"/>
                    <a:gd name="connsiteX241" fmla="*/ 138167 w 761692"/>
                    <a:gd name="connsiteY241" fmla="*/ 265707 h 1016771"/>
                    <a:gd name="connsiteX242" fmla="*/ 150567 w 761692"/>
                    <a:gd name="connsiteY242" fmla="*/ 255079 h 1016771"/>
                    <a:gd name="connsiteX243" fmla="*/ 166509 w 761692"/>
                    <a:gd name="connsiteY243" fmla="*/ 255079 h 1016771"/>
                    <a:gd name="connsiteX244" fmla="*/ 166509 w 761692"/>
                    <a:gd name="connsiteY244" fmla="*/ 265707 h 1016771"/>
                    <a:gd name="connsiteX245" fmla="*/ 177138 w 761692"/>
                    <a:gd name="connsiteY245" fmla="*/ 272792 h 1016771"/>
                    <a:gd name="connsiteX246" fmla="*/ 194851 w 761692"/>
                    <a:gd name="connsiteY246" fmla="*/ 276335 h 1016771"/>
                    <a:gd name="connsiteX247" fmla="*/ 209022 w 761692"/>
                    <a:gd name="connsiteY247" fmla="*/ 279878 h 1016771"/>
                    <a:gd name="connsiteX248" fmla="*/ 221422 w 761692"/>
                    <a:gd name="connsiteY248" fmla="*/ 276335 h 1016771"/>
                    <a:gd name="connsiteX249" fmla="*/ 226736 w 761692"/>
                    <a:gd name="connsiteY249" fmla="*/ 269250 h 1016771"/>
                    <a:gd name="connsiteX250" fmla="*/ 226736 w 761692"/>
                    <a:gd name="connsiteY250" fmla="*/ 251536 h 1016771"/>
                    <a:gd name="connsiteX251" fmla="*/ 224965 w 761692"/>
                    <a:gd name="connsiteY251" fmla="*/ 239136 h 1016771"/>
                    <a:gd name="connsiteX252" fmla="*/ 214337 w 761692"/>
                    <a:gd name="connsiteY252" fmla="*/ 230279 h 1016771"/>
                    <a:gd name="connsiteX253" fmla="*/ 210794 w 761692"/>
                    <a:gd name="connsiteY253" fmla="*/ 217880 h 1016771"/>
                    <a:gd name="connsiteX254" fmla="*/ 221422 w 761692"/>
                    <a:gd name="connsiteY254" fmla="*/ 207251 h 1016771"/>
                    <a:gd name="connsiteX255" fmla="*/ 235593 w 761692"/>
                    <a:gd name="connsiteY255" fmla="*/ 214337 h 1016771"/>
                    <a:gd name="connsiteX256" fmla="*/ 246221 w 761692"/>
                    <a:gd name="connsiteY256" fmla="*/ 219651 h 1016771"/>
                    <a:gd name="connsiteX257" fmla="*/ 253307 w 761692"/>
                    <a:gd name="connsiteY257" fmla="*/ 221422 h 1016771"/>
                    <a:gd name="connsiteX258" fmla="*/ 262164 w 761692"/>
                    <a:gd name="connsiteY258" fmla="*/ 210794 h 1016771"/>
                    <a:gd name="connsiteX259" fmla="*/ 263935 w 761692"/>
                    <a:gd name="connsiteY259" fmla="*/ 201937 h 1016771"/>
                    <a:gd name="connsiteX260" fmla="*/ 274563 w 761692"/>
                    <a:gd name="connsiteY260" fmla="*/ 189538 h 1016771"/>
                    <a:gd name="connsiteX261" fmla="*/ 283420 w 761692"/>
                    <a:gd name="connsiteY261" fmla="*/ 178909 h 1016771"/>
                    <a:gd name="connsiteX262" fmla="*/ 286963 w 761692"/>
                    <a:gd name="connsiteY262" fmla="*/ 173595 h 1016771"/>
                    <a:gd name="connsiteX263" fmla="*/ 311762 w 761692"/>
                    <a:gd name="connsiteY263" fmla="*/ 168281 h 1016771"/>
                    <a:gd name="connsiteX264" fmla="*/ 325933 w 761692"/>
                    <a:gd name="connsiteY264" fmla="*/ 164738 h 1016771"/>
                    <a:gd name="connsiteX265" fmla="*/ 336562 w 761692"/>
                    <a:gd name="connsiteY265" fmla="*/ 159424 h 1016771"/>
                    <a:gd name="connsiteX266" fmla="*/ 348961 w 761692"/>
                    <a:gd name="connsiteY266" fmla="*/ 145253 h 1016771"/>
                    <a:gd name="connsiteX267" fmla="*/ 359589 w 761692"/>
                    <a:gd name="connsiteY267" fmla="*/ 143482 h 1016771"/>
                    <a:gd name="connsiteX268" fmla="*/ 371989 w 761692"/>
                    <a:gd name="connsiteY268" fmla="*/ 143482 h 1016771"/>
                    <a:gd name="connsiteX269" fmla="*/ 391474 w 761692"/>
                    <a:gd name="connsiteY269" fmla="*/ 143482 h 1016771"/>
                    <a:gd name="connsiteX270" fmla="*/ 396788 w 761692"/>
                    <a:gd name="connsiteY270" fmla="*/ 141710 h 1016771"/>
                    <a:gd name="connsiteX271" fmla="*/ 403874 w 761692"/>
                    <a:gd name="connsiteY271" fmla="*/ 134625 h 1016771"/>
                    <a:gd name="connsiteX272" fmla="*/ 409188 w 761692"/>
                    <a:gd name="connsiteY272" fmla="*/ 129311 h 1016771"/>
                    <a:gd name="connsiteX273" fmla="*/ 409188 w 761692"/>
                    <a:gd name="connsiteY273" fmla="*/ 123997 h 1016771"/>
                    <a:gd name="connsiteX274" fmla="*/ 414502 w 761692"/>
                    <a:gd name="connsiteY274" fmla="*/ 115140 h 1016771"/>
                    <a:gd name="connsiteX275" fmla="*/ 428673 w 761692"/>
                    <a:gd name="connsiteY275" fmla="*/ 115140 h 1016771"/>
                    <a:gd name="connsiteX276" fmla="*/ 432216 w 761692"/>
                    <a:gd name="connsiteY276" fmla="*/ 109826 h 1016771"/>
                    <a:gd name="connsiteX277" fmla="*/ 437530 w 761692"/>
                    <a:gd name="connsiteY277" fmla="*/ 100969 h 1016771"/>
                    <a:gd name="connsiteX278" fmla="*/ 448158 w 761692"/>
                    <a:gd name="connsiteY278" fmla="*/ 99197 h 1016771"/>
                    <a:gd name="connsiteX279" fmla="*/ 460558 w 761692"/>
                    <a:gd name="connsiteY279" fmla="*/ 97426 h 1016771"/>
                    <a:gd name="connsiteX280" fmla="*/ 472958 w 761692"/>
                    <a:gd name="connsiteY280" fmla="*/ 93883 h 1016771"/>
                    <a:gd name="connsiteX281" fmla="*/ 492443 w 761692"/>
                    <a:gd name="connsiteY281" fmla="*/ 93883 h 1016771"/>
                    <a:gd name="connsiteX282" fmla="*/ 501300 w 761692"/>
                    <a:gd name="connsiteY282" fmla="*/ 83255 h 1016771"/>
                    <a:gd name="connsiteX283" fmla="*/ 517242 w 761692"/>
                    <a:gd name="connsiteY283" fmla="*/ 81484 h 1016771"/>
                    <a:gd name="connsiteX284" fmla="*/ 522556 w 761692"/>
                    <a:gd name="connsiteY284" fmla="*/ 81484 h 1016771"/>
                    <a:gd name="connsiteX285" fmla="*/ 522556 w 761692"/>
                    <a:gd name="connsiteY285" fmla="*/ 60227 h 1016771"/>
                    <a:gd name="connsiteX286" fmla="*/ 526099 w 761692"/>
                    <a:gd name="connsiteY286" fmla="*/ 54913 h 1016771"/>
                    <a:gd name="connsiteX287" fmla="*/ 529642 w 761692"/>
                    <a:gd name="connsiteY287" fmla="*/ 46056 h 1016771"/>
                    <a:gd name="connsiteX288" fmla="*/ 538499 w 761692"/>
                    <a:gd name="connsiteY288" fmla="*/ 40742 h 1016771"/>
                    <a:gd name="connsiteX289" fmla="*/ 540270 w 761692"/>
                    <a:gd name="connsiteY289" fmla="*/ 30114 h 1016771"/>
                    <a:gd name="connsiteX290" fmla="*/ 536727 w 761692"/>
                    <a:gd name="connsiteY290" fmla="*/ 19485 h 1016771"/>
                    <a:gd name="connsiteX291" fmla="*/ 543813 w 761692"/>
                    <a:gd name="connsiteY291" fmla="*/ 5314 h 1016771"/>
                    <a:gd name="connsiteX292" fmla="*/ 554441 w 761692"/>
                    <a:gd name="connsiteY292" fmla="*/ 0 h 1016771"/>
                    <a:gd name="connsiteX0" fmla="*/ 116476 w 761692"/>
                    <a:gd name="connsiteY0" fmla="*/ 741349 h 1016771"/>
                    <a:gd name="connsiteX1" fmla="*/ 117606 w 761692"/>
                    <a:gd name="connsiteY1" fmla="*/ 742253 h 1016771"/>
                    <a:gd name="connsiteX2" fmla="*/ 122692 w 761692"/>
                    <a:gd name="connsiteY2" fmla="*/ 759206 h 1016771"/>
                    <a:gd name="connsiteX3" fmla="*/ 126082 w 761692"/>
                    <a:gd name="connsiteY3" fmla="*/ 771073 h 1016771"/>
                    <a:gd name="connsiteX4" fmla="*/ 129473 w 761692"/>
                    <a:gd name="connsiteY4" fmla="*/ 782940 h 1016771"/>
                    <a:gd name="connsiteX5" fmla="*/ 132864 w 761692"/>
                    <a:gd name="connsiteY5" fmla="*/ 793112 h 1016771"/>
                    <a:gd name="connsiteX6" fmla="*/ 136254 w 761692"/>
                    <a:gd name="connsiteY6" fmla="*/ 810066 h 1016771"/>
                    <a:gd name="connsiteX7" fmla="*/ 139058 w 761692"/>
                    <a:gd name="connsiteY7" fmla="*/ 818476 h 1016771"/>
                    <a:gd name="connsiteX8" fmla="*/ 138167 w 761692"/>
                    <a:gd name="connsiteY8" fmla="*/ 818377 h 1016771"/>
                    <a:gd name="connsiteX9" fmla="*/ 134625 w 761692"/>
                    <a:gd name="connsiteY9" fmla="*/ 807749 h 1016771"/>
                    <a:gd name="connsiteX10" fmla="*/ 131082 w 761692"/>
                    <a:gd name="connsiteY10" fmla="*/ 790035 h 1016771"/>
                    <a:gd name="connsiteX11" fmla="*/ 127539 w 761692"/>
                    <a:gd name="connsiteY11" fmla="*/ 779407 h 1016771"/>
                    <a:gd name="connsiteX12" fmla="*/ 123996 w 761692"/>
                    <a:gd name="connsiteY12" fmla="*/ 767007 h 1016771"/>
                    <a:gd name="connsiteX13" fmla="*/ 120454 w 761692"/>
                    <a:gd name="connsiteY13" fmla="*/ 754607 h 1016771"/>
                    <a:gd name="connsiteX14" fmla="*/ 116476 w 761692"/>
                    <a:gd name="connsiteY14" fmla="*/ 741349 h 1016771"/>
                    <a:gd name="connsiteX15" fmla="*/ 554441 w 761692"/>
                    <a:gd name="connsiteY15" fmla="*/ 0 h 1016771"/>
                    <a:gd name="connsiteX16" fmla="*/ 570383 w 761692"/>
                    <a:gd name="connsiteY16" fmla="*/ 3543 h 1016771"/>
                    <a:gd name="connsiteX17" fmla="*/ 577469 w 761692"/>
                    <a:gd name="connsiteY17" fmla="*/ 8857 h 1016771"/>
                    <a:gd name="connsiteX18" fmla="*/ 582783 w 761692"/>
                    <a:gd name="connsiteY18" fmla="*/ 17714 h 1016771"/>
                    <a:gd name="connsiteX19" fmla="*/ 582783 w 761692"/>
                    <a:gd name="connsiteY19" fmla="*/ 24799 h 1016771"/>
                    <a:gd name="connsiteX20" fmla="*/ 588097 w 761692"/>
                    <a:gd name="connsiteY20" fmla="*/ 33656 h 1016771"/>
                    <a:gd name="connsiteX21" fmla="*/ 598725 w 761692"/>
                    <a:gd name="connsiteY21" fmla="*/ 31885 h 1016771"/>
                    <a:gd name="connsiteX22" fmla="*/ 612896 w 761692"/>
                    <a:gd name="connsiteY22" fmla="*/ 37199 h 1016771"/>
                    <a:gd name="connsiteX23" fmla="*/ 618211 w 761692"/>
                    <a:gd name="connsiteY23" fmla="*/ 46056 h 1016771"/>
                    <a:gd name="connsiteX24" fmla="*/ 619982 w 761692"/>
                    <a:gd name="connsiteY24" fmla="*/ 54913 h 1016771"/>
                    <a:gd name="connsiteX25" fmla="*/ 618211 w 761692"/>
                    <a:gd name="connsiteY25" fmla="*/ 74398 h 1016771"/>
                    <a:gd name="connsiteX26" fmla="*/ 616439 w 761692"/>
                    <a:gd name="connsiteY26" fmla="*/ 85026 h 1016771"/>
                    <a:gd name="connsiteX27" fmla="*/ 621753 w 761692"/>
                    <a:gd name="connsiteY27" fmla="*/ 97426 h 1016771"/>
                    <a:gd name="connsiteX28" fmla="*/ 637696 w 761692"/>
                    <a:gd name="connsiteY28" fmla="*/ 113368 h 1016771"/>
                    <a:gd name="connsiteX29" fmla="*/ 644781 w 761692"/>
                    <a:gd name="connsiteY29" fmla="*/ 120454 h 1016771"/>
                    <a:gd name="connsiteX30" fmla="*/ 650095 w 761692"/>
                    <a:gd name="connsiteY30" fmla="*/ 136396 h 1016771"/>
                    <a:gd name="connsiteX31" fmla="*/ 655409 w 761692"/>
                    <a:gd name="connsiteY31" fmla="*/ 155881 h 1016771"/>
                    <a:gd name="connsiteX32" fmla="*/ 662495 w 761692"/>
                    <a:gd name="connsiteY32" fmla="*/ 171824 h 1016771"/>
                    <a:gd name="connsiteX33" fmla="*/ 660724 w 761692"/>
                    <a:gd name="connsiteY33" fmla="*/ 185995 h 1016771"/>
                    <a:gd name="connsiteX34" fmla="*/ 635924 w 761692"/>
                    <a:gd name="connsiteY34" fmla="*/ 194852 h 1016771"/>
                    <a:gd name="connsiteX35" fmla="*/ 619982 w 761692"/>
                    <a:gd name="connsiteY35" fmla="*/ 207251 h 1016771"/>
                    <a:gd name="connsiteX36" fmla="*/ 614668 w 761692"/>
                    <a:gd name="connsiteY36" fmla="*/ 223194 h 1016771"/>
                    <a:gd name="connsiteX37" fmla="*/ 618211 w 761692"/>
                    <a:gd name="connsiteY37" fmla="*/ 242679 h 1016771"/>
                    <a:gd name="connsiteX38" fmla="*/ 612896 w 761692"/>
                    <a:gd name="connsiteY38" fmla="*/ 256850 h 1016771"/>
                    <a:gd name="connsiteX39" fmla="*/ 625296 w 761692"/>
                    <a:gd name="connsiteY39" fmla="*/ 267478 h 1016771"/>
                    <a:gd name="connsiteX40" fmla="*/ 641238 w 761692"/>
                    <a:gd name="connsiteY40" fmla="*/ 269250 h 1016771"/>
                    <a:gd name="connsiteX41" fmla="*/ 658952 w 761692"/>
                    <a:gd name="connsiteY41" fmla="*/ 286963 h 1016771"/>
                    <a:gd name="connsiteX42" fmla="*/ 653638 w 761692"/>
                    <a:gd name="connsiteY42" fmla="*/ 309991 h 1016771"/>
                    <a:gd name="connsiteX43" fmla="*/ 653638 w 761692"/>
                    <a:gd name="connsiteY43" fmla="*/ 329476 h 1016771"/>
                    <a:gd name="connsiteX44" fmla="*/ 643010 w 761692"/>
                    <a:gd name="connsiteY44" fmla="*/ 338333 h 1016771"/>
                    <a:gd name="connsiteX45" fmla="*/ 632382 w 761692"/>
                    <a:gd name="connsiteY45" fmla="*/ 338333 h 1016771"/>
                    <a:gd name="connsiteX46" fmla="*/ 618211 w 761692"/>
                    <a:gd name="connsiteY46" fmla="*/ 357819 h 1016771"/>
                    <a:gd name="connsiteX47" fmla="*/ 609354 w 761692"/>
                    <a:gd name="connsiteY47" fmla="*/ 361361 h 1016771"/>
                    <a:gd name="connsiteX48" fmla="*/ 596954 w 761692"/>
                    <a:gd name="connsiteY48" fmla="*/ 363133 h 1016771"/>
                    <a:gd name="connsiteX49" fmla="*/ 581012 w 761692"/>
                    <a:gd name="connsiteY49" fmla="*/ 379075 h 1016771"/>
                    <a:gd name="connsiteX50" fmla="*/ 589868 w 761692"/>
                    <a:gd name="connsiteY50" fmla="*/ 393246 h 1016771"/>
                    <a:gd name="connsiteX51" fmla="*/ 586326 w 761692"/>
                    <a:gd name="connsiteY51" fmla="*/ 409189 h 1016771"/>
                    <a:gd name="connsiteX52" fmla="*/ 570383 w 761692"/>
                    <a:gd name="connsiteY52" fmla="*/ 398560 h 1016771"/>
                    <a:gd name="connsiteX53" fmla="*/ 550898 w 761692"/>
                    <a:gd name="connsiteY53" fmla="*/ 405646 h 1016771"/>
                    <a:gd name="connsiteX54" fmla="*/ 531413 w 761692"/>
                    <a:gd name="connsiteY54" fmla="*/ 425131 h 1016771"/>
                    <a:gd name="connsiteX55" fmla="*/ 543813 w 761692"/>
                    <a:gd name="connsiteY55" fmla="*/ 444616 h 1016771"/>
                    <a:gd name="connsiteX56" fmla="*/ 557984 w 761692"/>
                    <a:gd name="connsiteY56" fmla="*/ 462330 h 1016771"/>
                    <a:gd name="connsiteX57" fmla="*/ 570383 w 761692"/>
                    <a:gd name="connsiteY57" fmla="*/ 478272 h 1016771"/>
                    <a:gd name="connsiteX58" fmla="*/ 579240 w 761692"/>
                    <a:gd name="connsiteY58" fmla="*/ 485358 h 1016771"/>
                    <a:gd name="connsiteX59" fmla="*/ 602268 w 761692"/>
                    <a:gd name="connsiteY59" fmla="*/ 483586 h 1016771"/>
                    <a:gd name="connsiteX60" fmla="*/ 623525 w 761692"/>
                    <a:gd name="connsiteY60" fmla="*/ 474730 h 1016771"/>
                    <a:gd name="connsiteX61" fmla="*/ 639467 w 761692"/>
                    <a:gd name="connsiteY61" fmla="*/ 464101 h 1016771"/>
                    <a:gd name="connsiteX62" fmla="*/ 662495 w 761692"/>
                    <a:gd name="connsiteY62" fmla="*/ 464101 h 1016771"/>
                    <a:gd name="connsiteX63" fmla="*/ 673123 w 761692"/>
                    <a:gd name="connsiteY63" fmla="*/ 464101 h 1016771"/>
                    <a:gd name="connsiteX64" fmla="*/ 681980 w 761692"/>
                    <a:gd name="connsiteY64" fmla="*/ 467644 h 1016771"/>
                    <a:gd name="connsiteX65" fmla="*/ 703237 w 761692"/>
                    <a:gd name="connsiteY65" fmla="*/ 471187 h 1016771"/>
                    <a:gd name="connsiteX66" fmla="*/ 708551 w 761692"/>
                    <a:gd name="connsiteY66" fmla="*/ 474730 h 1016771"/>
                    <a:gd name="connsiteX67" fmla="*/ 722722 w 761692"/>
                    <a:gd name="connsiteY67" fmla="*/ 501300 h 1016771"/>
                    <a:gd name="connsiteX68" fmla="*/ 724493 w 761692"/>
                    <a:gd name="connsiteY68" fmla="*/ 522557 h 1016771"/>
                    <a:gd name="connsiteX69" fmla="*/ 722722 w 761692"/>
                    <a:gd name="connsiteY69" fmla="*/ 540271 h 1016771"/>
                    <a:gd name="connsiteX70" fmla="*/ 735121 w 761692"/>
                    <a:gd name="connsiteY70" fmla="*/ 552670 h 1016771"/>
                    <a:gd name="connsiteX71" fmla="*/ 735121 w 761692"/>
                    <a:gd name="connsiteY71" fmla="*/ 570384 h 1016771"/>
                    <a:gd name="connsiteX72" fmla="*/ 751064 w 761692"/>
                    <a:gd name="connsiteY72" fmla="*/ 581012 h 1016771"/>
                    <a:gd name="connsiteX73" fmla="*/ 761692 w 761692"/>
                    <a:gd name="connsiteY73" fmla="*/ 604040 h 1016771"/>
                    <a:gd name="connsiteX74" fmla="*/ 747521 w 761692"/>
                    <a:gd name="connsiteY74" fmla="*/ 616440 h 1016771"/>
                    <a:gd name="connsiteX75" fmla="*/ 728036 w 761692"/>
                    <a:gd name="connsiteY75" fmla="*/ 627068 h 1016771"/>
                    <a:gd name="connsiteX76" fmla="*/ 726264 w 761692"/>
                    <a:gd name="connsiteY76" fmla="*/ 650096 h 1016771"/>
                    <a:gd name="connsiteX77" fmla="*/ 728036 w 761692"/>
                    <a:gd name="connsiteY77" fmla="*/ 673124 h 1016771"/>
                    <a:gd name="connsiteX78" fmla="*/ 742207 w 761692"/>
                    <a:gd name="connsiteY78" fmla="*/ 689066 h 1016771"/>
                    <a:gd name="connsiteX79" fmla="*/ 742207 w 761692"/>
                    <a:gd name="connsiteY79" fmla="*/ 712094 h 1016771"/>
                    <a:gd name="connsiteX80" fmla="*/ 740435 w 761692"/>
                    <a:gd name="connsiteY80" fmla="*/ 735122 h 1016771"/>
                    <a:gd name="connsiteX81" fmla="*/ 742207 w 761692"/>
                    <a:gd name="connsiteY81" fmla="*/ 751065 h 1016771"/>
                    <a:gd name="connsiteX82" fmla="*/ 747521 w 761692"/>
                    <a:gd name="connsiteY82" fmla="*/ 768778 h 1016771"/>
                    <a:gd name="connsiteX83" fmla="*/ 759921 w 761692"/>
                    <a:gd name="connsiteY83" fmla="*/ 777635 h 1016771"/>
                    <a:gd name="connsiteX84" fmla="*/ 758149 w 761692"/>
                    <a:gd name="connsiteY84" fmla="*/ 802434 h 1016771"/>
                    <a:gd name="connsiteX85" fmla="*/ 752835 w 761692"/>
                    <a:gd name="connsiteY85" fmla="*/ 814834 h 1016771"/>
                    <a:gd name="connsiteX86" fmla="*/ 743978 w 761692"/>
                    <a:gd name="connsiteY86" fmla="*/ 827234 h 1016771"/>
                    <a:gd name="connsiteX87" fmla="*/ 743978 w 761692"/>
                    <a:gd name="connsiteY87" fmla="*/ 837862 h 1016771"/>
                    <a:gd name="connsiteX88" fmla="*/ 747521 w 761692"/>
                    <a:gd name="connsiteY88" fmla="*/ 853804 h 1016771"/>
                    <a:gd name="connsiteX89" fmla="*/ 733350 w 761692"/>
                    <a:gd name="connsiteY89" fmla="*/ 867975 h 1016771"/>
                    <a:gd name="connsiteX90" fmla="*/ 724493 w 761692"/>
                    <a:gd name="connsiteY90" fmla="*/ 880375 h 1016771"/>
                    <a:gd name="connsiteX91" fmla="*/ 722722 w 761692"/>
                    <a:gd name="connsiteY91" fmla="*/ 899860 h 1016771"/>
                    <a:gd name="connsiteX92" fmla="*/ 722722 w 761692"/>
                    <a:gd name="connsiteY92" fmla="*/ 919345 h 1016771"/>
                    <a:gd name="connsiteX93" fmla="*/ 715636 w 761692"/>
                    <a:gd name="connsiteY93" fmla="*/ 940602 h 1016771"/>
                    <a:gd name="connsiteX94" fmla="*/ 708551 w 761692"/>
                    <a:gd name="connsiteY94" fmla="*/ 954773 h 1016771"/>
                    <a:gd name="connsiteX95" fmla="*/ 699694 w 761692"/>
                    <a:gd name="connsiteY95" fmla="*/ 965401 h 1016771"/>
                    <a:gd name="connsiteX96" fmla="*/ 692608 w 761692"/>
                    <a:gd name="connsiteY96" fmla="*/ 984886 h 1016771"/>
                    <a:gd name="connsiteX97" fmla="*/ 683751 w 761692"/>
                    <a:gd name="connsiteY97" fmla="*/ 997286 h 1016771"/>
                    <a:gd name="connsiteX98" fmla="*/ 673123 w 761692"/>
                    <a:gd name="connsiteY98" fmla="*/ 1002600 h 1016771"/>
                    <a:gd name="connsiteX99" fmla="*/ 662495 w 761692"/>
                    <a:gd name="connsiteY99" fmla="*/ 1013228 h 1016771"/>
                    <a:gd name="connsiteX100" fmla="*/ 644781 w 761692"/>
                    <a:gd name="connsiteY100" fmla="*/ 1016771 h 1016771"/>
                    <a:gd name="connsiteX101" fmla="*/ 635924 w 761692"/>
                    <a:gd name="connsiteY101" fmla="*/ 1004372 h 1016771"/>
                    <a:gd name="connsiteX102" fmla="*/ 623525 w 761692"/>
                    <a:gd name="connsiteY102" fmla="*/ 997286 h 1016771"/>
                    <a:gd name="connsiteX103" fmla="*/ 614668 w 761692"/>
                    <a:gd name="connsiteY103" fmla="*/ 986658 h 1016771"/>
                    <a:gd name="connsiteX104" fmla="*/ 593411 w 761692"/>
                    <a:gd name="connsiteY104" fmla="*/ 970715 h 1016771"/>
                    <a:gd name="connsiteX105" fmla="*/ 582783 w 761692"/>
                    <a:gd name="connsiteY105" fmla="*/ 965401 h 1016771"/>
                    <a:gd name="connsiteX106" fmla="*/ 531413 w 761692"/>
                    <a:gd name="connsiteY106" fmla="*/ 965401 h 1016771"/>
                    <a:gd name="connsiteX107" fmla="*/ 511928 w 761692"/>
                    <a:gd name="connsiteY107" fmla="*/ 965401 h 1016771"/>
                    <a:gd name="connsiteX108" fmla="*/ 492443 w 761692"/>
                    <a:gd name="connsiteY108" fmla="*/ 963630 h 1016771"/>
                    <a:gd name="connsiteX109" fmla="*/ 483586 w 761692"/>
                    <a:gd name="connsiteY109" fmla="*/ 958316 h 1016771"/>
                    <a:gd name="connsiteX110" fmla="*/ 469415 w 761692"/>
                    <a:gd name="connsiteY110" fmla="*/ 954773 h 1016771"/>
                    <a:gd name="connsiteX111" fmla="*/ 460558 w 761692"/>
                    <a:gd name="connsiteY111" fmla="*/ 942373 h 1016771"/>
                    <a:gd name="connsiteX112" fmla="*/ 446387 w 761692"/>
                    <a:gd name="connsiteY112" fmla="*/ 935288 h 1016771"/>
                    <a:gd name="connsiteX113" fmla="*/ 428673 w 761692"/>
                    <a:gd name="connsiteY113" fmla="*/ 928202 h 1016771"/>
                    <a:gd name="connsiteX114" fmla="*/ 418045 w 761692"/>
                    <a:gd name="connsiteY114" fmla="*/ 917574 h 1016771"/>
                    <a:gd name="connsiteX115" fmla="*/ 421588 w 761692"/>
                    <a:gd name="connsiteY115" fmla="*/ 903403 h 1016771"/>
                    <a:gd name="connsiteX116" fmla="*/ 418045 w 761692"/>
                    <a:gd name="connsiteY116" fmla="*/ 898089 h 1016771"/>
                    <a:gd name="connsiteX117" fmla="*/ 396788 w 761692"/>
                    <a:gd name="connsiteY117" fmla="*/ 898089 h 1016771"/>
                    <a:gd name="connsiteX118" fmla="*/ 382617 w 761692"/>
                    <a:gd name="connsiteY118" fmla="*/ 896318 h 1016771"/>
                    <a:gd name="connsiteX119" fmla="*/ 380846 w 761692"/>
                    <a:gd name="connsiteY119" fmla="*/ 906946 h 1016771"/>
                    <a:gd name="connsiteX120" fmla="*/ 373601 w 761692"/>
                    <a:gd name="connsiteY120" fmla="*/ 894832 h 1016771"/>
                    <a:gd name="connsiteX121" fmla="*/ 387164 w 761692"/>
                    <a:gd name="connsiteY121" fmla="*/ 896527 h 1016771"/>
                    <a:gd name="connsiteX122" fmla="*/ 383773 w 761692"/>
                    <a:gd name="connsiteY122" fmla="*/ 886355 h 1016771"/>
                    <a:gd name="connsiteX123" fmla="*/ 387164 w 761692"/>
                    <a:gd name="connsiteY123" fmla="*/ 876183 h 1016771"/>
                    <a:gd name="connsiteX124" fmla="*/ 388859 w 761692"/>
                    <a:gd name="connsiteY124" fmla="*/ 867707 h 1016771"/>
                    <a:gd name="connsiteX125" fmla="*/ 380382 w 761692"/>
                    <a:gd name="connsiteY125" fmla="*/ 859230 h 1016771"/>
                    <a:gd name="connsiteX126" fmla="*/ 373601 w 761692"/>
                    <a:gd name="connsiteY126" fmla="*/ 849058 h 1016771"/>
                    <a:gd name="connsiteX127" fmla="*/ 380382 w 761692"/>
                    <a:gd name="connsiteY127" fmla="*/ 838886 h 1016771"/>
                    <a:gd name="connsiteX128" fmla="*/ 383773 w 761692"/>
                    <a:gd name="connsiteY128" fmla="*/ 833800 h 1016771"/>
                    <a:gd name="connsiteX129" fmla="*/ 388859 w 761692"/>
                    <a:gd name="connsiteY129" fmla="*/ 825324 h 1016771"/>
                    <a:gd name="connsiteX130" fmla="*/ 387164 w 761692"/>
                    <a:gd name="connsiteY130" fmla="*/ 810066 h 1016771"/>
                    <a:gd name="connsiteX131" fmla="*/ 387164 w 761692"/>
                    <a:gd name="connsiteY131" fmla="*/ 796503 h 1016771"/>
                    <a:gd name="connsiteX132" fmla="*/ 378687 w 761692"/>
                    <a:gd name="connsiteY132" fmla="*/ 789722 h 1016771"/>
                    <a:gd name="connsiteX133" fmla="*/ 366820 w 761692"/>
                    <a:gd name="connsiteY133" fmla="*/ 782940 h 1016771"/>
                    <a:gd name="connsiteX134" fmla="*/ 356648 w 761692"/>
                    <a:gd name="connsiteY134" fmla="*/ 781245 h 1016771"/>
                    <a:gd name="connsiteX135" fmla="*/ 349866 w 761692"/>
                    <a:gd name="connsiteY135" fmla="*/ 771073 h 1016771"/>
                    <a:gd name="connsiteX136" fmla="*/ 349866 w 761692"/>
                    <a:gd name="connsiteY136" fmla="*/ 752425 h 1016771"/>
                    <a:gd name="connsiteX137" fmla="*/ 353257 w 761692"/>
                    <a:gd name="connsiteY137" fmla="*/ 743948 h 1016771"/>
                    <a:gd name="connsiteX138" fmla="*/ 354952 w 761692"/>
                    <a:gd name="connsiteY138" fmla="*/ 730385 h 1016771"/>
                    <a:gd name="connsiteX139" fmla="*/ 353257 w 761692"/>
                    <a:gd name="connsiteY139" fmla="*/ 713432 h 1016771"/>
                    <a:gd name="connsiteX140" fmla="*/ 346476 w 761692"/>
                    <a:gd name="connsiteY140" fmla="*/ 701565 h 1016771"/>
                    <a:gd name="connsiteX141" fmla="*/ 332913 w 761692"/>
                    <a:gd name="connsiteY141" fmla="*/ 689697 h 1016771"/>
                    <a:gd name="connsiteX142" fmla="*/ 324436 w 761692"/>
                    <a:gd name="connsiteY142" fmla="*/ 681221 h 1016771"/>
                    <a:gd name="connsiteX143" fmla="*/ 314264 w 761692"/>
                    <a:gd name="connsiteY143" fmla="*/ 676135 h 1016771"/>
                    <a:gd name="connsiteX144" fmla="*/ 293920 w 761692"/>
                    <a:gd name="connsiteY144" fmla="*/ 669354 h 1016771"/>
                    <a:gd name="connsiteX145" fmla="*/ 282053 w 761692"/>
                    <a:gd name="connsiteY145" fmla="*/ 667658 h 1016771"/>
                    <a:gd name="connsiteX146" fmla="*/ 266795 w 761692"/>
                    <a:gd name="connsiteY146" fmla="*/ 672744 h 1016771"/>
                    <a:gd name="connsiteX147" fmla="*/ 265100 w 761692"/>
                    <a:gd name="connsiteY147" fmla="*/ 672744 h 1016771"/>
                    <a:gd name="connsiteX148" fmla="*/ 263404 w 761692"/>
                    <a:gd name="connsiteY148" fmla="*/ 671049 h 1016771"/>
                    <a:gd name="connsiteX149" fmla="*/ 260014 w 761692"/>
                    <a:gd name="connsiteY149" fmla="*/ 671049 h 1016771"/>
                    <a:gd name="connsiteX150" fmla="*/ 258318 w 761692"/>
                    <a:gd name="connsiteY150" fmla="*/ 671049 h 1016771"/>
                    <a:gd name="connsiteX151" fmla="*/ 253232 w 761692"/>
                    <a:gd name="connsiteY151" fmla="*/ 671049 h 1016771"/>
                    <a:gd name="connsiteX152" fmla="*/ 248146 w 761692"/>
                    <a:gd name="connsiteY152" fmla="*/ 672744 h 1016771"/>
                    <a:gd name="connsiteX153" fmla="*/ 248146 w 761692"/>
                    <a:gd name="connsiteY153" fmla="*/ 674440 h 1016771"/>
                    <a:gd name="connsiteX154" fmla="*/ 246451 w 761692"/>
                    <a:gd name="connsiteY154" fmla="*/ 674440 h 1016771"/>
                    <a:gd name="connsiteX155" fmla="*/ 236279 w 761692"/>
                    <a:gd name="connsiteY155" fmla="*/ 679526 h 1016771"/>
                    <a:gd name="connsiteX156" fmla="*/ 226107 w 761692"/>
                    <a:gd name="connsiteY156" fmla="*/ 684612 h 1016771"/>
                    <a:gd name="connsiteX157" fmla="*/ 217630 w 761692"/>
                    <a:gd name="connsiteY157" fmla="*/ 684612 h 1016771"/>
                    <a:gd name="connsiteX158" fmla="*/ 207458 w 761692"/>
                    <a:gd name="connsiteY158" fmla="*/ 693088 h 1016771"/>
                    <a:gd name="connsiteX159" fmla="*/ 198982 w 761692"/>
                    <a:gd name="connsiteY159" fmla="*/ 694783 h 1016771"/>
                    <a:gd name="connsiteX160" fmla="*/ 192200 w 761692"/>
                    <a:gd name="connsiteY160" fmla="*/ 699869 h 1016771"/>
                    <a:gd name="connsiteX161" fmla="*/ 178638 w 761692"/>
                    <a:gd name="connsiteY161" fmla="*/ 706651 h 1016771"/>
                    <a:gd name="connsiteX162" fmla="*/ 163380 w 761692"/>
                    <a:gd name="connsiteY162" fmla="*/ 710041 h 1016771"/>
                    <a:gd name="connsiteX163" fmla="*/ 141340 w 761692"/>
                    <a:gd name="connsiteY163" fmla="*/ 710041 h 1016771"/>
                    <a:gd name="connsiteX164" fmla="*/ 134559 w 761692"/>
                    <a:gd name="connsiteY164" fmla="*/ 716823 h 1016771"/>
                    <a:gd name="connsiteX165" fmla="*/ 127778 w 761692"/>
                    <a:gd name="connsiteY165" fmla="*/ 718518 h 1016771"/>
                    <a:gd name="connsiteX166" fmla="*/ 120996 w 761692"/>
                    <a:gd name="connsiteY166" fmla="*/ 725299 h 1016771"/>
                    <a:gd name="connsiteX167" fmla="*/ 111172 w 761692"/>
                    <a:gd name="connsiteY167" fmla="*/ 733720 h 1016771"/>
                    <a:gd name="connsiteX168" fmla="*/ 106283 w 761692"/>
                    <a:gd name="connsiteY168" fmla="*/ 729808 h 1016771"/>
                    <a:gd name="connsiteX169" fmla="*/ 92112 w 761692"/>
                    <a:gd name="connsiteY169" fmla="*/ 724494 h 1016771"/>
                    <a:gd name="connsiteX170" fmla="*/ 77941 w 761692"/>
                    <a:gd name="connsiteY170" fmla="*/ 726265 h 1016771"/>
                    <a:gd name="connsiteX171" fmla="*/ 70855 w 761692"/>
                    <a:gd name="connsiteY171" fmla="*/ 719180 h 1016771"/>
                    <a:gd name="connsiteX172" fmla="*/ 70855 w 761692"/>
                    <a:gd name="connsiteY172" fmla="*/ 699695 h 1016771"/>
                    <a:gd name="connsiteX173" fmla="*/ 81483 w 761692"/>
                    <a:gd name="connsiteY173" fmla="*/ 685524 h 1016771"/>
                    <a:gd name="connsiteX174" fmla="*/ 85026 w 761692"/>
                    <a:gd name="connsiteY174" fmla="*/ 673124 h 1016771"/>
                    <a:gd name="connsiteX175" fmla="*/ 86797 w 761692"/>
                    <a:gd name="connsiteY175" fmla="*/ 660724 h 1016771"/>
                    <a:gd name="connsiteX176" fmla="*/ 97426 w 761692"/>
                    <a:gd name="connsiteY176" fmla="*/ 650096 h 1016771"/>
                    <a:gd name="connsiteX177" fmla="*/ 102740 w 761692"/>
                    <a:gd name="connsiteY177" fmla="*/ 635925 h 1016771"/>
                    <a:gd name="connsiteX178" fmla="*/ 113368 w 761692"/>
                    <a:gd name="connsiteY178" fmla="*/ 625297 h 1016771"/>
                    <a:gd name="connsiteX179" fmla="*/ 115139 w 761692"/>
                    <a:gd name="connsiteY179" fmla="*/ 612897 h 1016771"/>
                    <a:gd name="connsiteX180" fmla="*/ 127539 w 761692"/>
                    <a:gd name="connsiteY180" fmla="*/ 609354 h 1016771"/>
                    <a:gd name="connsiteX181" fmla="*/ 136396 w 761692"/>
                    <a:gd name="connsiteY181" fmla="*/ 604040 h 1016771"/>
                    <a:gd name="connsiteX182" fmla="*/ 132853 w 761692"/>
                    <a:gd name="connsiteY182" fmla="*/ 593412 h 1016771"/>
                    <a:gd name="connsiteX183" fmla="*/ 134625 w 761692"/>
                    <a:gd name="connsiteY183" fmla="*/ 584555 h 1016771"/>
                    <a:gd name="connsiteX184" fmla="*/ 131082 w 761692"/>
                    <a:gd name="connsiteY184" fmla="*/ 575698 h 1016771"/>
                    <a:gd name="connsiteX185" fmla="*/ 120454 w 761692"/>
                    <a:gd name="connsiteY185" fmla="*/ 568613 h 1016771"/>
                    <a:gd name="connsiteX186" fmla="*/ 125768 w 761692"/>
                    <a:gd name="connsiteY186" fmla="*/ 552670 h 1016771"/>
                    <a:gd name="connsiteX187" fmla="*/ 118682 w 761692"/>
                    <a:gd name="connsiteY187" fmla="*/ 543813 h 1016771"/>
                    <a:gd name="connsiteX188" fmla="*/ 90340 w 761692"/>
                    <a:gd name="connsiteY188" fmla="*/ 543813 h 1016771"/>
                    <a:gd name="connsiteX189" fmla="*/ 86797 w 761692"/>
                    <a:gd name="connsiteY189" fmla="*/ 542042 h 1016771"/>
                    <a:gd name="connsiteX190" fmla="*/ 83255 w 761692"/>
                    <a:gd name="connsiteY190" fmla="*/ 542042 h 1016771"/>
                    <a:gd name="connsiteX191" fmla="*/ 81483 w 761692"/>
                    <a:gd name="connsiteY191" fmla="*/ 540271 h 1016771"/>
                    <a:gd name="connsiteX192" fmla="*/ 81483 w 761692"/>
                    <a:gd name="connsiteY192" fmla="*/ 536728 h 1016771"/>
                    <a:gd name="connsiteX193" fmla="*/ 79712 w 761692"/>
                    <a:gd name="connsiteY193" fmla="*/ 531414 h 1016771"/>
                    <a:gd name="connsiteX194" fmla="*/ 77941 w 761692"/>
                    <a:gd name="connsiteY194" fmla="*/ 529642 h 1016771"/>
                    <a:gd name="connsiteX195" fmla="*/ 70855 w 761692"/>
                    <a:gd name="connsiteY195" fmla="*/ 527871 h 1016771"/>
                    <a:gd name="connsiteX196" fmla="*/ 60227 w 761692"/>
                    <a:gd name="connsiteY196" fmla="*/ 536728 h 1016771"/>
                    <a:gd name="connsiteX197" fmla="*/ 47827 w 761692"/>
                    <a:gd name="connsiteY197" fmla="*/ 526100 h 1016771"/>
                    <a:gd name="connsiteX198" fmla="*/ 42513 w 761692"/>
                    <a:gd name="connsiteY198" fmla="*/ 515471 h 1016771"/>
                    <a:gd name="connsiteX199" fmla="*/ 33656 w 761692"/>
                    <a:gd name="connsiteY199" fmla="*/ 506614 h 1016771"/>
                    <a:gd name="connsiteX200" fmla="*/ 31885 w 761692"/>
                    <a:gd name="connsiteY200" fmla="*/ 490672 h 1016771"/>
                    <a:gd name="connsiteX201" fmla="*/ 26571 w 761692"/>
                    <a:gd name="connsiteY201" fmla="*/ 476501 h 1016771"/>
                    <a:gd name="connsiteX202" fmla="*/ 24799 w 761692"/>
                    <a:gd name="connsiteY202" fmla="*/ 471187 h 1016771"/>
                    <a:gd name="connsiteX203" fmla="*/ 12400 w 761692"/>
                    <a:gd name="connsiteY203" fmla="*/ 472958 h 1016771"/>
                    <a:gd name="connsiteX204" fmla="*/ 7086 w 761692"/>
                    <a:gd name="connsiteY204" fmla="*/ 464101 h 1016771"/>
                    <a:gd name="connsiteX205" fmla="*/ 8857 w 761692"/>
                    <a:gd name="connsiteY205" fmla="*/ 446388 h 1016771"/>
                    <a:gd name="connsiteX206" fmla="*/ 3543 w 761692"/>
                    <a:gd name="connsiteY206" fmla="*/ 435759 h 1016771"/>
                    <a:gd name="connsiteX207" fmla="*/ 5314 w 761692"/>
                    <a:gd name="connsiteY207" fmla="*/ 412731 h 1016771"/>
                    <a:gd name="connsiteX208" fmla="*/ 0 w 761692"/>
                    <a:gd name="connsiteY208" fmla="*/ 396789 h 1016771"/>
                    <a:gd name="connsiteX209" fmla="*/ 3543 w 761692"/>
                    <a:gd name="connsiteY209" fmla="*/ 384389 h 1016771"/>
                    <a:gd name="connsiteX210" fmla="*/ 14171 w 761692"/>
                    <a:gd name="connsiteY210" fmla="*/ 380846 h 1016771"/>
                    <a:gd name="connsiteX211" fmla="*/ 24799 w 761692"/>
                    <a:gd name="connsiteY211" fmla="*/ 364904 h 1016771"/>
                    <a:gd name="connsiteX212" fmla="*/ 30113 w 761692"/>
                    <a:gd name="connsiteY212" fmla="*/ 350733 h 1016771"/>
                    <a:gd name="connsiteX213" fmla="*/ 35428 w 761692"/>
                    <a:gd name="connsiteY213" fmla="*/ 341876 h 1016771"/>
                    <a:gd name="connsiteX214" fmla="*/ 42513 w 761692"/>
                    <a:gd name="connsiteY214" fmla="*/ 327705 h 1016771"/>
                    <a:gd name="connsiteX215" fmla="*/ 42513 w 761692"/>
                    <a:gd name="connsiteY215" fmla="*/ 315305 h 1016771"/>
                    <a:gd name="connsiteX216" fmla="*/ 56684 w 761692"/>
                    <a:gd name="connsiteY216" fmla="*/ 309991 h 1016771"/>
                    <a:gd name="connsiteX217" fmla="*/ 60227 w 761692"/>
                    <a:gd name="connsiteY217" fmla="*/ 309991 h 1016771"/>
                    <a:gd name="connsiteX218" fmla="*/ 61998 w 761692"/>
                    <a:gd name="connsiteY218" fmla="*/ 311763 h 1016771"/>
                    <a:gd name="connsiteX219" fmla="*/ 67312 w 761692"/>
                    <a:gd name="connsiteY219" fmla="*/ 311763 h 1016771"/>
                    <a:gd name="connsiteX220" fmla="*/ 67312 w 761692"/>
                    <a:gd name="connsiteY220" fmla="*/ 309991 h 1016771"/>
                    <a:gd name="connsiteX221" fmla="*/ 67312 w 761692"/>
                    <a:gd name="connsiteY221" fmla="*/ 308220 h 1016771"/>
                    <a:gd name="connsiteX222" fmla="*/ 69084 w 761692"/>
                    <a:gd name="connsiteY222" fmla="*/ 302906 h 1016771"/>
                    <a:gd name="connsiteX223" fmla="*/ 70855 w 761692"/>
                    <a:gd name="connsiteY223" fmla="*/ 301134 h 1016771"/>
                    <a:gd name="connsiteX224" fmla="*/ 70855 w 761692"/>
                    <a:gd name="connsiteY224" fmla="*/ 299363 h 1016771"/>
                    <a:gd name="connsiteX225" fmla="*/ 77941 w 761692"/>
                    <a:gd name="connsiteY225" fmla="*/ 295820 h 1016771"/>
                    <a:gd name="connsiteX226" fmla="*/ 85026 w 761692"/>
                    <a:gd name="connsiteY226" fmla="*/ 295820 h 1016771"/>
                    <a:gd name="connsiteX227" fmla="*/ 93883 w 761692"/>
                    <a:gd name="connsiteY227" fmla="*/ 297592 h 1016771"/>
                    <a:gd name="connsiteX228" fmla="*/ 100968 w 761692"/>
                    <a:gd name="connsiteY228" fmla="*/ 288735 h 1016771"/>
                    <a:gd name="connsiteX229" fmla="*/ 97426 w 761692"/>
                    <a:gd name="connsiteY229" fmla="*/ 279878 h 1016771"/>
                    <a:gd name="connsiteX230" fmla="*/ 85026 w 761692"/>
                    <a:gd name="connsiteY230" fmla="*/ 276335 h 1016771"/>
                    <a:gd name="connsiteX231" fmla="*/ 76169 w 761692"/>
                    <a:gd name="connsiteY231" fmla="*/ 271021 h 1016771"/>
                    <a:gd name="connsiteX232" fmla="*/ 76169 w 761692"/>
                    <a:gd name="connsiteY232" fmla="*/ 262164 h 1016771"/>
                    <a:gd name="connsiteX233" fmla="*/ 81483 w 761692"/>
                    <a:gd name="connsiteY233" fmla="*/ 251536 h 1016771"/>
                    <a:gd name="connsiteX234" fmla="*/ 86797 w 761692"/>
                    <a:gd name="connsiteY234" fmla="*/ 255079 h 1016771"/>
                    <a:gd name="connsiteX235" fmla="*/ 104511 w 761692"/>
                    <a:gd name="connsiteY235" fmla="*/ 262164 h 1016771"/>
                    <a:gd name="connsiteX236" fmla="*/ 116911 w 761692"/>
                    <a:gd name="connsiteY236" fmla="*/ 265707 h 1016771"/>
                    <a:gd name="connsiteX237" fmla="*/ 132853 w 761692"/>
                    <a:gd name="connsiteY237" fmla="*/ 269250 h 1016771"/>
                    <a:gd name="connsiteX238" fmla="*/ 138167 w 761692"/>
                    <a:gd name="connsiteY238" fmla="*/ 265707 h 1016771"/>
                    <a:gd name="connsiteX239" fmla="*/ 150567 w 761692"/>
                    <a:gd name="connsiteY239" fmla="*/ 255079 h 1016771"/>
                    <a:gd name="connsiteX240" fmla="*/ 166509 w 761692"/>
                    <a:gd name="connsiteY240" fmla="*/ 255079 h 1016771"/>
                    <a:gd name="connsiteX241" fmla="*/ 166509 w 761692"/>
                    <a:gd name="connsiteY241" fmla="*/ 265707 h 1016771"/>
                    <a:gd name="connsiteX242" fmla="*/ 177138 w 761692"/>
                    <a:gd name="connsiteY242" fmla="*/ 272792 h 1016771"/>
                    <a:gd name="connsiteX243" fmla="*/ 194851 w 761692"/>
                    <a:gd name="connsiteY243" fmla="*/ 276335 h 1016771"/>
                    <a:gd name="connsiteX244" fmla="*/ 209022 w 761692"/>
                    <a:gd name="connsiteY244" fmla="*/ 279878 h 1016771"/>
                    <a:gd name="connsiteX245" fmla="*/ 221422 w 761692"/>
                    <a:gd name="connsiteY245" fmla="*/ 276335 h 1016771"/>
                    <a:gd name="connsiteX246" fmla="*/ 226736 w 761692"/>
                    <a:gd name="connsiteY246" fmla="*/ 269250 h 1016771"/>
                    <a:gd name="connsiteX247" fmla="*/ 226736 w 761692"/>
                    <a:gd name="connsiteY247" fmla="*/ 251536 h 1016771"/>
                    <a:gd name="connsiteX248" fmla="*/ 224965 w 761692"/>
                    <a:gd name="connsiteY248" fmla="*/ 239136 h 1016771"/>
                    <a:gd name="connsiteX249" fmla="*/ 214337 w 761692"/>
                    <a:gd name="connsiteY249" fmla="*/ 230279 h 1016771"/>
                    <a:gd name="connsiteX250" fmla="*/ 210794 w 761692"/>
                    <a:gd name="connsiteY250" fmla="*/ 217880 h 1016771"/>
                    <a:gd name="connsiteX251" fmla="*/ 221422 w 761692"/>
                    <a:gd name="connsiteY251" fmla="*/ 207251 h 1016771"/>
                    <a:gd name="connsiteX252" fmla="*/ 235593 w 761692"/>
                    <a:gd name="connsiteY252" fmla="*/ 214337 h 1016771"/>
                    <a:gd name="connsiteX253" fmla="*/ 246221 w 761692"/>
                    <a:gd name="connsiteY253" fmla="*/ 219651 h 1016771"/>
                    <a:gd name="connsiteX254" fmla="*/ 253307 w 761692"/>
                    <a:gd name="connsiteY254" fmla="*/ 221422 h 1016771"/>
                    <a:gd name="connsiteX255" fmla="*/ 262164 w 761692"/>
                    <a:gd name="connsiteY255" fmla="*/ 210794 h 1016771"/>
                    <a:gd name="connsiteX256" fmla="*/ 263935 w 761692"/>
                    <a:gd name="connsiteY256" fmla="*/ 201937 h 1016771"/>
                    <a:gd name="connsiteX257" fmla="*/ 274563 w 761692"/>
                    <a:gd name="connsiteY257" fmla="*/ 189538 h 1016771"/>
                    <a:gd name="connsiteX258" fmla="*/ 283420 w 761692"/>
                    <a:gd name="connsiteY258" fmla="*/ 178909 h 1016771"/>
                    <a:gd name="connsiteX259" fmla="*/ 286963 w 761692"/>
                    <a:gd name="connsiteY259" fmla="*/ 173595 h 1016771"/>
                    <a:gd name="connsiteX260" fmla="*/ 311762 w 761692"/>
                    <a:gd name="connsiteY260" fmla="*/ 168281 h 1016771"/>
                    <a:gd name="connsiteX261" fmla="*/ 325933 w 761692"/>
                    <a:gd name="connsiteY261" fmla="*/ 164738 h 1016771"/>
                    <a:gd name="connsiteX262" fmla="*/ 336562 w 761692"/>
                    <a:gd name="connsiteY262" fmla="*/ 159424 h 1016771"/>
                    <a:gd name="connsiteX263" fmla="*/ 348961 w 761692"/>
                    <a:gd name="connsiteY263" fmla="*/ 145253 h 1016771"/>
                    <a:gd name="connsiteX264" fmla="*/ 359589 w 761692"/>
                    <a:gd name="connsiteY264" fmla="*/ 143482 h 1016771"/>
                    <a:gd name="connsiteX265" fmla="*/ 371989 w 761692"/>
                    <a:gd name="connsiteY265" fmla="*/ 143482 h 1016771"/>
                    <a:gd name="connsiteX266" fmla="*/ 391474 w 761692"/>
                    <a:gd name="connsiteY266" fmla="*/ 143482 h 1016771"/>
                    <a:gd name="connsiteX267" fmla="*/ 396788 w 761692"/>
                    <a:gd name="connsiteY267" fmla="*/ 141710 h 1016771"/>
                    <a:gd name="connsiteX268" fmla="*/ 403874 w 761692"/>
                    <a:gd name="connsiteY268" fmla="*/ 134625 h 1016771"/>
                    <a:gd name="connsiteX269" fmla="*/ 409188 w 761692"/>
                    <a:gd name="connsiteY269" fmla="*/ 129311 h 1016771"/>
                    <a:gd name="connsiteX270" fmla="*/ 409188 w 761692"/>
                    <a:gd name="connsiteY270" fmla="*/ 123997 h 1016771"/>
                    <a:gd name="connsiteX271" fmla="*/ 414502 w 761692"/>
                    <a:gd name="connsiteY271" fmla="*/ 115140 h 1016771"/>
                    <a:gd name="connsiteX272" fmla="*/ 428673 w 761692"/>
                    <a:gd name="connsiteY272" fmla="*/ 115140 h 1016771"/>
                    <a:gd name="connsiteX273" fmla="*/ 432216 w 761692"/>
                    <a:gd name="connsiteY273" fmla="*/ 109826 h 1016771"/>
                    <a:gd name="connsiteX274" fmla="*/ 437530 w 761692"/>
                    <a:gd name="connsiteY274" fmla="*/ 100969 h 1016771"/>
                    <a:gd name="connsiteX275" fmla="*/ 448158 w 761692"/>
                    <a:gd name="connsiteY275" fmla="*/ 99197 h 1016771"/>
                    <a:gd name="connsiteX276" fmla="*/ 460558 w 761692"/>
                    <a:gd name="connsiteY276" fmla="*/ 97426 h 1016771"/>
                    <a:gd name="connsiteX277" fmla="*/ 472958 w 761692"/>
                    <a:gd name="connsiteY277" fmla="*/ 93883 h 1016771"/>
                    <a:gd name="connsiteX278" fmla="*/ 492443 w 761692"/>
                    <a:gd name="connsiteY278" fmla="*/ 93883 h 1016771"/>
                    <a:gd name="connsiteX279" fmla="*/ 501300 w 761692"/>
                    <a:gd name="connsiteY279" fmla="*/ 83255 h 1016771"/>
                    <a:gd name="connsiteX280" fmla="*/ 517242 w 761692"/>
                    <a:gd name="connsiteY280" fmla="*/ 81484 h 1016771"/>
                    <a:gd name="connsiteX281" fmla="*/ 522556 w 761692"/>
                    <a:gd name="connsiteY281" fmla="*/ 81484 h 1016771"/>
                    <a:gd name="connsiteX282" fmla="*/ 522556 w 761692"/>
                    <a:gd name="connsiteY282" fmla="*/ 60227 h 1016771"/>
                    <a:gd name="connsiteX283" fmla="*/ 526099 w 761692"/>
                    <a:gd name="connsiteY283" fmla="*/ 54913 h 1016771"/>
                    <a:gd name="connsiteX284" fmla="*/ 529642 w 761692"/>
                    <a:gd name="connsiteY284" fmla="*/ 46056 h 1016771"/>
                    <a:gd name="connsiteX285" fmla="*/ 538499 w 761692"/>
                    <a:gd name="connsiteY285" fmla="*/ 40742 h 1016771"/>
                    <a:gd name="connsiteX286" fmla="*/ 540270 w 761692"/>
                    <a:gd name="connsiteY286" fmla="*/ 30114 h 1016771"/>
                    <a:gd name="connsiteX287" fmla="*/ 536727 w 761692"/>
                    <a:gd name="connsiteY287" fmla="*/ 19485 h 1016771"/>
                    <a:gd name="connsiteX288" fmla="*/ 543813 w 761692"/>
                    <a:gd name="connsiteY288" fmla="*/ 5314 h 1016771"/>
                    <a:gd name="connsiteX289" fmla="*/ 554441 w 761692"/>
                    <a:gd name="connsiteY289" fmla="*/ 0 h 1016771"/>
                    <a:gd name="connsiteX0" fmla="*/ 116476 w 761692"/>
                    <a:gd name="connsiteY0" fmla="*/ 741349 h 1016771"/>
                    <a:gd name="connsiteX1" fmla="*/ 117606 w 761692"/>
                    <a:gd name="connsiteY1" fmla="*/ 742253 h 1016771"/>
                    <a:gd name="connsiteX2" fmla="*/ 122692 w 761692"/>
                    <a:gd name="connsiteY2" fmla="*/ 759206 h 1016771"/>
                    <a:gd name="connsiteX3" fmla="*/ 126082 w 761692"/>
                    <a:gd name="connsiteY3" fmla="*/ 771073 h 1016771"/>
                    <a:gd name="connsiteX4" fmla="*/ 129473 w 761692"/>
                    <a:gd name="connsiteY4" fmla="*/ 782940 h 1016771"/>
                    <a:gd name="connsiteX5" fmla="*/ 132864 w 761692"/>
                    <a:gd name="connsiteY5" fmla="*/ 793112 h 1016771"/>
                    <a:gd name="connsiteX6" fmla="*/ 136254 w 761692"/>
                    <a:gd name="connsiteY6" fmla="*/ 810066 h 1016771"/>
                    <a:gd name="connsiteX7" fmla="*/ 139058 w 761692"/>
                    <a:gd name="connsiteY7" fmla="*/ 818476 h 1016771"/>
                    <a:gd name="connsiteX8" fmla="*/ 134625 w 761692"/>
                    <a:gd name="connsiteY8" fmla="*/ 807749 h 1016771"/>
                    <a:gd name="connsiteX9" fmla="*/ 131082 w 761692"/>
                    <a:gd name="connsiteY9" fmla="*/ 790035 h 1016771"/>
                    <a:gd name="connsiteX10" fmla="*/ 127539 w 761692"/>
                    <a:gd name="connsiteY10" fmla="*/ 779407 h 1016771"/>
                    <a:gd name="connsiteX11" fmla="*/ 123996 w 761692"/>
                    <a:gd name="connsiteY11" fmla="*/ 767007 h 1016771"/>
                    <a:gd name="connsiteX12" fmla="*/ 120454 w 761692"/>
                    <a:gd name="connsiteY12" fmla="*/ 754607 h 1016771"/>
                    <a:gd name="connsiteX13" fmla="*/ 116476 w 761692"/>
                    <a:gd name="connsiteY13" fmla="*/ 741349 h 1016771"/>
                    <a:gd name="connsiteX14" fmla="*/ 554441 w 761692"/>
                    <a:gd name="connsiteY14" fmla="*/ 0 h 1016771"/>
                    <a:gd name="connsiteX15" fmla="*/ 570383 w 761692"/>
                    <a:gd name="connsiteY15" fmla="*/ 3543 h 1016771"/>
                    <a:gd name="connsiteX16" fmla="*/ 577469 w 761692"/>
                    <a:gd name="connsiteY16" fmla="*/ 8857 h 1016771"/>
                    <a:gd name="connsiteX17" fmla="*/ 582783 w 761692"/>
                    <a:gd name="connsiteY17" fmla="*/ 17714 h 1016771"/>
                    <a:gd name="connsiteX18" fmla="*/ 582783 w 761692"/>
                    <a:gd name="connsiteY18" fmla="*/ 24799 h 1016771"/>
                    <a:gd name="connsiteX19" fmla="*/ 588097 w 761692"/>
                    <a:gd name="connsiteY19" fmla="*/ 33656 h 1016771"/>
                    <a:gd name="connsiteX20" fmla="*/ 598725 w 761692"/>
                    <a:gd name="connsiteY20" fmla="*/ 31885 h 1016771"/>
                    <a:gd name="connsiteX21" fmla="*/ 612896 w 761692"/>
                    <a:gd name="connsiteY21" fmla="*/ 37199 h 1016771"/>
                    <a:gd name="connsiteX22" fmla="*/ 618211 w 761692"/>
                    <a:gd name="connsiteY22" fmla="*/ 46056 h 1016771"/>
                    <a:gd name="connsiteX23" fmla="*/ 619982 w 761692"/>
                    <a:gd name="connsiteY23" fmla="*/ 54913 h 1016771"/>
                    <a:gd name="connsiteX24" fmla="*/ 618211 w 761692"/>
                    <a:gd name="connsiteY24" fmla="*/ 74398 h 1016771"/>
                    <a:gd name="connsiteX25" fmla="*/ 616439 w 761692"/>
                    <a:gd name="connsiteY25" fmla="*/ 85026 h 1016771"/>
                    <a:gd name="connsiteX26" fmla="*/ 621753 w 761692"/>
                    <a:gd name="connsiteY26" fmla="*/ 97426 h 1016771"/>
                    <a:gd name="connsiteX27" fmla="*/ 637696 w 761692"/>
                    <a:gd name="connsiteY27" fmla="*/ 113368 h 1016771"/>
                    <a:gd name="connsiteX28" fmla="*/ 644781 w 761692"/>
                    <a:gd name="connsiteY28" fmla="*/ 120454 h 1016771"/>
                    <a:gd name="connsiteX29" fmla="*/ 650095 w 761692"/>
                    <a:gd name="connsiteY29" fmla="*/ 136396 h 1016771"/>
                    <a:gd name="connsiteX30" fmla="*/ 655409 w 761692"/>
                    <a:gd name="connsiteY30" fmla="*/ 155881 h 1016771"/>
                    <a:gd name="connsiteX31" fmla="*/ 662495 w 761692"/>
                    <a:gd name="connsiteY31" fmla="*/ 171824 h 1016771"/>
                    <a:gd name="connsiteX32" fmla="*/ 660724 w 761692"/>
                    <a:gd name="connsiteY32" fmla="*/ 185995 h 1016771"/>
                    <a:gd name="connsiteX33" fmla="*/ 635924 w 761692"/>
                    <a:gd name="connsiteY33" fmla="*/ 194852 h 1016771"/>
                    <a:gd name="connsiteX34" fmla="*/ 619982 w 761692"/>
                    <a:gd name="connsiteY34" fmla="*/ 207251 h 1016771"/>
                    <a:gd name="connsiteX35" fmla="*/ 614668 w 761692"/>
                    <a:gd name="connsiteY35" fmla="*/ 223194 h 1016771"/>
                    <a:gd name="connsiteX36" fmla="*/ 618211 w 761692"/>
                    <a:gd name="connsiteY36" fmla="*/ 242679 h 1016771"/>
                    <a:gd name="connsiteX37" fmla="*/ 612896 w 761692"/>
                    <a:gd name="connsiteY37" fmla="*/ 256850 h 1016771"/>
                    <a:gd name="connsiteX38" fmla="*/ 625296 w 761692"/>
                    <a:gd name="connsiteY38" fmla="*/ 267478 h 1016771"/>
                    <a:gd name="connsiteX39" fmla="*/ 641238 w 761692"/>
                    <a:gd name="connsiteY39" fmla="*/ 269250 h 1016771"/>
                    <a:gd name="connsiteX40" fmla="*/ 658952 w 761692"/>
                    <a:gd name="connsiteY40" fmla="*/ 286963 h 1016771"/>
                    <a:gd name="connsiteX41" fmla="*/ 653638 w 761692"/>
                    <a:gd name="connsiteY41" fmla="*/ 309991 h 1016771"/>
                    <a:gd name="connsiteX42" fmla="*/ 653638 w 761692"/>
                    <a:gd name="connsiteY42" fmla="*/ 329476 h 1016771"/>
                    <a:gd name="connsiteX43" fmla="*/ 643010 w 761692"/>
                    <a:gd name="connsiteY43" fmla="*/ 338333 h 1016771"/>
                    <a:gd name="connsiteX44" fmla="*/ 632382 w 761692"/>
                    <a:gd name="connsiteY44" fmla="*/ 338333 h 1016771"/>
                    <a:gd name="connsiteX45" fmla="*/ 618211 w 761692"/>
                    <a:gd name="connsiteY45" fmla="*/ 357819 h 1016771"/>
                    <a:gd name="connsiteX46" fmla="*/ 609354 w 761692"/>
                    <a:gd name="connsiteY46" fmla="*/ 361361 h 1016771"/>
                    <a:gd name="connsiteX47" fmla="*/ 596954 w 761692"/>
                    <a:gd name="connsiteY47" fmla="*/ 363133 h 1016771"/>
                    <a:gd name="connsiteX48" fmla="*/ 581012 w 761692"/>
                    <a:gd name="connsiteY48" fmla="*/ 379075 h 1016771"/>
                    <a:gd name="connsiteX49" fmla="*/ 589868 w 761692"/>
                    <a:gd name="connsiteY49" fmla="*/ 393246 h 1016771"/>
                    <a:gd name="connsiteX50" fmla="*/ 586326 w 761692"/>
                    <a:gd name="connsiteY50" fmla="*/ 409189 h 1016771"/>
                    <a:gd name="connsiteX51" fmla="*/ 570383 w 761692"/>
                    <a:gd name="connsiteY51" fmla="*/ 398560 h 1016771"/>
                    <a:gd name="connsiteX52" fmla="*/ 550898 w 761692"/>
                    <a:gd name="connsiteY52" fmla="*/ 405646 h 1016771"/>
                    <a:gd name="connsiteX53" fmla="*/ 531413 w 761692"/>
                    <a:gd name="connsiteY53" fmla="*/ 425131 h 1016771"/>
                    <a:gd name="connsiteX54" fmla="*/ 543813 w 761692"/>
                    <a:gd name="connsiteY54" fmla="*/ 444616 h 1016771"/>
                    <a:gd name="connsiteX55" fmla="*/ 557984 w 761692"/>
                    <a:gd name="connsiteY55" fmla="*/ 462330 h 1016771"/>
                    <a:gd name="connsiteX56" fmla="*/ 570383 w 761692"/>
                    <a:gd name="connsiteY56" fmla="*/ 478272 h 1016771"/>
                    <a:gd name="connsiteX57" fmla="*/ 579240 w 761692"/>
                    <a:gd name="connsiteY57" fmla="*/ 485358 h 1016771"/>
                    <a:gd name="connsiteX58" fmla="*/ 602268 w 761692"/>
                    <a:gd name="connsiteY58" fmla="*/ 483586 h 1016771"/>
                    <a:gd name="connsiteX59" fmla="*/ 623525 w 761692"/>
                    <a:gd name="connsiteY59" fmla="*/ 474730 h 1016771"/>
                    <a:gd name="connsiteX60" fmla="*/ 639467 w 761692"/>
                    <a:gd name="connsiteY60" fmla="*/ 464101 h 1016771"/>
                    <a:gd name="connsiteX61" fmla="*/ 662495 w 761692"/>
                    <a:gd name="connsiteY61" fmla="*/ 464101 h 1016771"/>
                    <a:gd name="connsiteX62" fmla="*/ 673123 w 761692"/>
                    <a:gd name="connsiteY62" fmla="*/ 464101 h 1016771"/>
                    <a:gd name="connsiteX63" fmla="*/ 681980 w 761692"/>
                    <a:gd name="connsiteY63" fmla="*/ 467644 h 1016771"/>
                    <a:gd name="connsiteX64" fmla="*/ 703237 w 761692"/>
                    <a:gd name="connsiteY64" fmla="*/ 471187 h 1016771"/>
                    <a:gd name="connsiteX65" fmla="*/ 708551 w 761692"/>
                    <a:gd name="connsiteY65" fmla="*/ 474730 h 1016771"/>
                    <a:gd name="connsiteX66" fmla="*/ 722722 w 761692"/>
                    <a:gd name="connsiteY66" fmla="*/ 501300 h 1016771"/>
                    <a:gd name="connsiteX67" fmla="*/ 724493 w 761692"/>
                    <a:gd name="connsiteY67" fmla="*/ 522557 h 1016771"/>
                    <a:gd name="connsiteX68" fmla="*/ 722722 w 761692"/>
                    <a:gd name="connsiteY68" fmla="*/ 540271 h 1016771"/>
                    <a:gd name="connsiteX69" fmla="*/ 735121 w 761692"/>
                    <a:gd name="connsiteY69" fmla="*/ 552670 h 1016771"/>
                    <a:gd name="connsiteX70" fmla="*/ 735121 w 761692"/>
                    <a:gd name="connsiteY70" fmla="*/ 570384 h 1016771"/>
                    <a:gd name="connsiteX71" fmla="*/ 751064 w 761692"/>
                    <a:gd name="connsiteY71" fmla="*/ 581012 h 1016771"/>
                    <a:gd name="connsiteX72" fmla="*/ 761692 w 761692"/>
                    <a:gd name="connsiteY72" fmla="*/ 604040 h 1016771"/>
                    <a:gd name="connsiteX73" fmla="*/ 747521 w 761692"/>
                    <a:gd name="connsiteY73" fmla="*/ 616440 h 1016771"/>
                    <a:gd name="connsiteX74" fmla="*/ 728036 w 761692"/>
                    <a:gd name="connsiteY74" fmla="*/ 627068 h 1016771"/>
                    <a:gd name="connsiteX75" fmla="*/ 726264 w 761692"/>
                    <a:gd name="connsiteY75" fmla="*/ 650096 h 1016771"/>
                    <a:gd name="connsiteX76" fmla="*/ 728036 w 761692"/>
                    <a:gd name="connsiteY76" fmla="*/ 673124 h 1016771"/>
                    <a:gd name="connsiteX77" fmla="*/ 742207 w 761692"/>
                    <a:gd name="connsiteY77" fmla="*/ 689066 h 1016771"/>
                    <a:gd name="connsiteX78" fmla="*/ 742207 w 761692"/>
                    <a:gd name="connsiteY78" fmla="*/ 712094 h 1016771"/>
                    <a:gd name="connsiteX79" fmla="*/ 740435 w 761692"/>
                    <a:gd name="connsiteY79" fmla="*/ 735122 h 1016771"/>
                    <a:gd name="connsiteX80" fmla="*/ 742207 w 761692"/>
                    <a:gd name="connsiteY80" fmla="*/ 751065 h 1016771"/>
                    <a:gd name="connsiteX81" fmla="*/ 747521 w 761692"/>
                    <a:gd name="connsiteY81" fmla="*/ 768778 h 1016771"/>
                    <a:gd name="connsiteX82" fmla="*/ 759921 w 761692"/>
                    <a:gd name="connsiteY82" fmla="*/ 777635 h 1016771"/>
                    <a:gd name="connsiteX83" fmla="*/ 758149 w 761692"/>
                    <a:gd name="connsiteY83" fmla="*/ 802434 h 1016771"/>
                    <a:gd name="connsiteX84" fmla="*/ 752835 w 761692"/>
                    <a:gd name="connsiteY84" fmla="*/ 814834 h 1016771"/>
                    <a:gd name="connsiteX85" fmla="*/ 743978 w 761692"/>
                    <a:gd name="connsiteY85" fmla="*/ 827234 h 1016771"/>
                    <a:gd name="connsiteX86" fmla="*/ 743978 w 761692"/>
                    <a:gd name="connsiteY86" fmla="*/ 837862 h 1016771"/>
                    <a:gd name="connsiteX87" fmla="*/ 747521 w 761692"/>
                    <a:gd name="connsiteY87" fmla="*/ 853804 h 1016771"/>
                    <a:gd name="connsiteX88" fmla="*/ 733350 w 761692"/>
                    <a:gd name="connsiteY88" fmla="*/ 867975 h 1016771"/>
                    <a:gd name="connsiteX89" fmla="*/ 724493 w 761692"/>
                    <a:gd name="connsiteY89" fmla="*/ 880375 h 1016771"/>
                    <a:gd name="connsiteX90" fmla="*/ 722722 w 761692"/>
                    <a:gd name="connsiteY90" fmla="*/ 899860 h 1016771"/>
                    <a:gd name="connsiteX91" fmla="*/ 722722 w 761692"/>
                    <a:gd name="connsiteY91" fmla="*/ 919345 h 1016771"/>
                    <a:gd name="connsiteX92" fmla="*/ 715636 w 761692"/>
                    <a:gd name="connsiteY92" fmla="*/ 940602 h 1016771"/>
                    <a:gd name="connsiteX93" fmla="*/ 708551 w 761692"/>
                    <a:gd name="connsiteY93" fmla="*/ 954773 h 1016771"/>
                    <a:gd name="connsiteX94" fmla="*/ 699694 w 761692"/>
                    <a:gd name="connsiteY94" fmla="*/ 965401 h 1016771"/>
                    <a:gd name="connsiteX95" fmla="*/ 692608 w 761692"/>
                    <a:gd name="connsiteY95" fmla="*/ 984886 h 1016771"/>
                    <a:gd name="connsiteX96" fmla="*/ 683751 w 761692"/>
                    <a:gd name="connsiteY96" fmla="*/ 997286 h 1016771"/>
                    <a:gd name="connsiteX97" fmla="*/ 673123 w 761692"/>
                    <a:gd name="connsiteY97" fmla="*/ 1002600 h 1016771"/>
                    <a:gd name="connsiteX98" fmla="*/ 662495 w 761692"/>
                    <a:gd name="connsiteY98" fmla="*/ 1013228 h 1016771"/>
                    <a:gd name="connsiteX99" fmla="*/ 644781 w 761692"/>
                    <a:gd name="connsiteY99" fmla="*/ 1016771 h 1016771"/>
                    <a:gd name="connsiteX100" fmla="*/ 635924 w 761692"/>
                    <a:gd name="connsiteY100" fmla="*/ 1004372 h 1016771"/>
                    <a:gd name="connsiteX101" fmla="*/ 623525 w 761692"/>
                    <a:gd name="connsiteY101" fmla="*/ 997286 h 1016771"/>
                    <a:gd name="connsiteX102" fmla="*/ 614668 w 761692"/>
                    <a:gd name="connsiteY102" fmla="*/ 986658 h 1016771"/>
                    <a:gd name="connsiteX103" fmla="*/ 593411 w 761692"/>
                    <a:gd name="connsiteY103" fmla="*/ 970715 h 1016771"/>
                    <a:gd name="connsiteX104" fmla="*/ 582783 w 761692"/>
                    <a:gd name="connsiteY104" fmla="*/ 965401 h 1016771"/>
                    <a:gd name="connsiteX105" fmla="*/ 531413 w 761692"/>
                    <a:gd name="connsiteY105" fmla="*/ 965401 h 1016771"/>
                    <a:gd name="connsiteX106" fmla="*/ 511928 w 761692"/>
                    <a:gd name="connsiteY106" fmla="*/ 965401 h 1016771"/>
                    <a:gd name="connsiteX107" fmla="*/ 492443 w 761692"/>
                    <a:gd name="connsiteY107" fmla="*/ 963630 h 1016771"/>
                    <a:gd name="connsiteX108" fmla="*/ 483586 w 761692"/>
                    <a:gd name="connsiteY108" fmla="*/ 958316 h 1016771"/>
                    <a:gd name="connsiteX109" fmla="*/ 469415 w 761692"/>
                    <a:gd name="connsiteY109" fmla="*/ 954773 h 1016771"/>
                    <a:gd name="connsiteX110" fmla="*/ 460558 w 761692"/>
                    <a:gd name="connsiteY110" fmla="*/ 942373 h 1016771"/>
                    <a:gd name="connsiteX111" fmla="*/ 446387 w 761692"/>
                    <a:gd name="connsiteY111" fmla="*/ 935288 h 1016771"/>
                    <a:gd name="connsiteX112" fmla="*/ 428673 w 761692"/>
                    <a:gd name="connsiteY112" fmla="*/ 928202 h 1016771"/>
                    <a:gd name="connsiteX113" fmla="*/ 418045 w 761692"/>
                    <a:gd name="connsiteY113" fmla="*/ 917574 h 1016771"/>
                    <a:gd name="connsiteX114" fmla="*/ 421588 w 761692"/>
                    <a:gd name="connsiteY114" fmla="*/ 903403 h 1016771"/>
                    <a:gd name="connsiteX115" fmla="*/ 418045 w 761692"/>
                    <a:gd name="connsiteY115" fmla="*/ 898089 h 1016771"/>
                    <a:gd name="connsiteX116" fmla="*/ 396788 w 761692"/>
                    <a:gd name="connsiteY116" fmla="*/ 898089 h 1016771"/>
                    <a:gd name="connsiteX117" fmla="*/ 382617 w 761692"/>
                    <a:gd name="connsiteY117" fmla="*/ 896318 h 1016771"/>
                    <a:gd name="connsiteX118" fmla="*/ 380846 w 761692"/>
                    <a:gd name="connsiteY118" fmla="*/ 906946 h 1016771"/>
                    <a:gd name="connsiteX119" fmla="*/ 373601 w 761692"/>
                    <a:gd name="connsiteY119" fmla="*/ 894832 h 1016771"/>
                    <a:gd name="connsiteX120" fmla="*/ 387164 w 761692"/>
                    <a:gd name="connsiteY120" fmla="*/ 896527 h 1016771"/>
                    <a:gd name="connsiteX121" fmla="*/ 383773 w 761692"/>
                    <a:gd name="connsiteY121" fmla="*/ 886355 h 1016771"/>
                    <a:gd name="connsiteX122" fmla="*/ 387164 w 761692"/>
                    <a:gd name="connsiteY122" fmla="*/ 876183 h 1016771"/>
                    <a:gd name="connsiteX123" fmla="*/ 388859 w 761692"/>
                    <a:gd name="connsiteY123" fmla="*/ 867707 h 1016771"/>
                    <a:gd name="connsiteX124" fmla="*/ 380382 w 761692"/>
                    <a:gd name="connsiteY124" fmla="*/ 859230 h 1016771"/>
                    <a:gd name="connsiteX125" fmla="*/ 373601 w 761692"/>
                    <a:gd name="connsiteY125" fmla="*/ 849058 h 1016771"/>
                    <a:gd name="connsiteX126" fmla="*/ 380382 w 761692"/>
                    <a:gd name="connsiteY126" fmla="*/ 838886 h 1016771"/>
                    <a:gd name="connsiteX127" fmla="*/ 383773 w 761692"/>
                    <a:gd name="connsiteY127" fmla="*/ 833800 h 1016771"/>
                    <a:gd name="connsiteX128" fmla="*/ 388859 w 761692"/>
                    <a:gd name="connsiteY128" fmla="*/ 825324 h 1016771"/>
                    <a:gd name="connsiteX129" fmla="*/ 387164 w 761692"/>
                    <a:gd name="connsiteY129" fmla="*/ 810066 h 1016771"/>
                    <a:gd name="connsiteX130" fmla="*/ 387164 w 761692"/>
                    <a:gd name="connsiteY130" fmla="*/ 796503 h 1016771"/>
                    <a:gd name="connsiteX131" fmla="*/ 378687 w 761692"/>
                    <a:gd name="connsiteY131" fmla="*/ 789722 h 1016771"/>
                    <a:gd name="connsiteX132" fmla="*/ 366820 w 761692"/>
                    <a:gd name="connsiteY132" fmla="*/ 782940 h 1016771"/>
                    <a:gd name="connsiteX133" fmla="*/ 356648 w 761692"/>
                    <a:gd name="connsiteY133" fmla="*/ 781245 h 1016771"/>
                    <a:gd name="connsiteX134" fmla="*/ 349866 w 761692"/>
                    <a:gd name="connsiteY134" fmla="*/ 771073 h 1016771"/>
                    <a:gd name="connsiteX135" fmla="*/ 349866 w 761692"/>
                    <a:gd name="connsiteY135" fmla="*/ 752425 h 1016771"/>
                    <a:gd name="connsiteX136" fmla="*/ 353257 w 761692"/>
                    <a:gd name="connsiteY136" fmla="*/ 743948 h 1016771"/>
                    <a:gd name="connsiteX137" fmla="*/ 354952 w 761692"/>
                    <a:gd name="connsiteY137" fmla="*/ 730385 h 1016771"/>
                    <a:gd name="connsiteX138" fmla="*/ 353257 w 761692"/>
                    <a:gd name="connsiteY138" fmla="*/ 713432 h 1016771"/>
                    <a:gd name="connsiteX139" fmla="*/ 346476 w 761692"/>
                    <a:gd name="connsiteY139" fmla="*/ 701565 h 1016771"/>
                    <a:gd name="connsiteX140" fmla="*/ 332913 w 761692"/>
                    <a:gd name="connsiteY140" fmla="*/ 689697 h 1016771"/>
                    <a:gd name="connsiteX141" fmla="*/ 324436 w 761692"/>
                    <a:gd name="connsiteY141" fmla="*/ 681221 h 1016771"/>
                    <a:gd name="connsiteX142" fmla="*/ 314264 w 761692"/>
                    <a:gd name="connsiteY142" fmla="*/ 676135 h 1016771"/>
                    <a:gd name="connsiteX143" fmla="*/ 293920 w 761692"/>
                    <a:gd name="connsiteY143" fmla="*/ 669354 h 1016771"/>
                    <a:gd name="connsiteX144" fmla="*/ 282053 w 761692"/>
                    <a:gd name="connsiteY144" fmla="*/ 667658 h 1016771"/>
                    <a:gd name="connsiteX145" fmla="*/ 266795 w 761692"/>
                    <a:gd name="connsiteY145" fmla="*/ 672744 h 1016771"/>
                    <a:gd name="connsiteX146" fmla="*/ 265100 w 761692"/>
                    <a:gd name="connsiteY146" fmla="*/ 672744 h 1016771"/>
                    <a:gd name="connsiteX147" fmla="*/ 263404 w 761692"/>
                    <a:gd name="connsiteY147" fmla="*/ 671049 h 1016771"/>
                    <a:gd name="connsiteX148" fmla="*/ 260014 w 761692"/>
                    <a:gd name="connsiteY148" fmla="*/ 671049 h 1016771"/>
                    <a:gd name="connsiteX149" fmla="*/ 258318 w 761692"/>
                    <a:gd name="connsiteY149" fmla="*/ 671049 h 1016771"/>
                    <a:gd name="connsiteX150" fmla="*/ 253232 w 761692"/>
                    <a:gd name="connsiteY150" fmla="*/ 671049 h 1016771"/>
                    <a:gd name="connsiteX151" fmla="*/ 248146 w 761692"/>
                    <a:gd name="connsiteY151" fmla="*/ 672744 h 1016771"/>
                    <a:gd name="connsiteX152" fmla="*/ 248146 w 761692"/>
                    <a:gd name="connsiteY152" fmla="*/ 674440 h 1016771"/>
                    <a:gd name="connsiteX153" fmla="*/ 246451 w 761692"/>
                    <a:gd name="connsiteY153" fmla="*/ 674440 h 1016771"/>
                    <a:gd name="connsiteX154" fmla="*/ 236279 w 761692"/>
                    <a:gd name="connsiteY154" fmla="*/ 679526 h 1016771"/>
                    <a:gd name="connsiteX155" fmla="*/ 226107 w 761692"/>
                    <a:gd name="connsiteY155" fmla="*/ 684612 h 1016771"/>
                    <a:gd name="connsiteX156" fmla="*/ 217630 w 761692"/>
                    <a:gd name="connsiteY156" fmla="*/ 684612 h 1016771"/>
                    <a:gd name="connsiteX157" fmla="*/ 207458 w 761692"/>
                    <a:gd name="connsiteY157" fmla="*/ 693088 h 1016771"/>
                    <a:gd name="connsiteX158" fmla="*/ 198982 w 761692"/>
                    <a:gd name="connsiteY158" fmla="*/ 694783 h 1016771"/>
                    <a:gd name="connsiteX159" fmla="*/ 192200 w 761692"/>
                    <a:gd name="connsiteY159" fmla="*/ 699869 h 1016771"/>
                    <a:gd name="connsiteX160" fmla="*/ 178638 w 761692"/>
                    <a:gd name="connsiteY160" fmla="*/ 706651 h 1016771"/>
                    <a:gd name="connsiteX161" fmla="*/ 163380 w 761692"/>
                    <a:gd name="connsiteY161" fmla="*/ 710041 h 1016771"/>
                    <a:gd name="connsiteX162" fmla="*/ 141340 w 761692"/>
                    <a:gd name="connsiteY162" fmla="*/ 710041 h 1016771"/>
                    <a:gd name="connsiteX163" fmla="*/ 134559 w 761692"/>
                    <a:gd name="connsiteY163" fmla="*/ 716823 h 1016771"/>
                    <a:gd name="connsiteX164" fmla="*/ 127778 w 761692"/>
                    <a:gd name="connsiteY164" fmla="*/ 718518 h 1016771"/>
                    <a:gd name="connsiteX165" fmla="*/ 120996 w 761692"/>
                    <a:gd name="connsiteY165" fmla="*/ 725299 h 1016771"/>
                    <a:gd name="connsiteX166" fmla="*/ 111172 w 761692"/>
                    <a:gd name="connsiteY166" fmla="*/ 733720 h 1016771"/>
                    <a:gd name="connsiteX167" fmla="*/ 106283 w 761692"/>
                    <a:gd name="connsiteY167" fmla="*/ 729808 h 1016771"/>
                    <a:gd name="connsiteX168" fmla="*/ 92112 w 761692"/>
                    <a:gd name="connsiteY168" fmla="*/ 724494 h 1016771"/>
                    <a:gd name="connsiteX169" fmla="*/ 77941 w 761692"/>
                    <a:gd name="connsiteY169" fmla="*/ 726265 h 1016771"/>
                    <a:gd name="connsiteX170" fmla="*/ 70855 w 761692"/>
                    <a:gd name="connsiteY170" fmla="*/ 719180 h 1016771"/>
                    <a:gd name="connsiteX171" fmla="*/ 70855 w 761692"/>
                    <a:gd name="connsiteY171" fmla="*/ 699695 h 1016771"/>
                    <a:gd name="connsiteX172" fmla="*/ 81483 w 761692"/>
                    <a:gd name="connsiteY172" fmla="*/ 685524 h 1016771"/>
                    <a:gd name="connsiteX173" fmla="*/ 85026 w 761692"/>
                    <a:gd name="connsiteY173" fmla="*/ 673124 h 1016771"/>
                    <a:gd name="connsiteX174" fmla="*/ 86797 w 761692"/>
                    <a:gd name="connsiteY174" fmla="*/ 660724 h 1016771"/>
                    <a:gd name="connsiteX175" fmla="*/ 97426 w 761692"/>
                    <a:gd name="connsiteY175" fmla="*/ 650096 h 1016771"/>
                    <a:gd name="connsiteX176" fmla="*/ 102740 w 761692"/>
                    <a:gd name="connsiteY176" fmla="*/ 635925 h 1016771"/>
                    <a:gd name="connsiteX177" fmla="*/ 113368 w 761692"/>
                    <a:gd name="connsiteY177" fmla="*/ 625297 h 1016771"/>
                    <a:gd name="connsiteX178" fmla="*/ 115139 w 761692"/>
                    <a:gd name="connsiteY178" fmla="*/ 612897 h 1016771"/>
                    <a:gd name="connsiteX179" fmla="*/ 127539 w 761692"/>
                    <a:gd name="connsiteY179" fmla="*/ 609354 h 1016771"/>
                    <a:gd name="connsiteX180" fmla="*/ 136396 w 761692"/>
                    <a:gd name="connsiteY180" fmla="*/ 604040 h 1016771"/>
                    <a:gd name="connsiteX181" fmla="*/ 132853 w 761692"/>
                    <a:gd name="connsiteY181" fmla="*/ 593412 h 1016771"/>
                    <a:gd name="connsiteX182" fmla="*/ 134625 w 761692"/>
                    <a:gd name="connsiteY182" fmla="*/ 584555 h 1016771"/>
                    <a:gd name="connsiteX183" fmla="*/ 131082 w 761692"/>
                    <a:gd name="connsiteY183" fmla="*/ 575698 h 1016771"/>
                    <a:gd name="connsiteX184" fmla="*/ 120454 w 761692"/>
                    <a:gd name="connsiteY184" fmla="*/ 568613 h 1016771"/>
                    <a:gd name="connsiteX185" fmla="*/ 125768 w 761692"/>
                    <a:gd name="connsiteY185" fmla="*/ 552670 h 1016771"/>
                    <a:gd name="connsiteX186" fmla="*/ 118682 w 761692"/>
                    <a:gd name="connsiteY186" fmla="*/ 543813 h 1016771"/>
                    <a:gd name="connsiteX187" fmla="*/ 90340 w 761692"/>
                    <a:gd name="connsiteY187" fmla="*/ 543813 h 1016771"/>
                    <a:gd name="connsiteX188" fmla="*/ 86797 w 761692"/>
                    <a:gd name="connsiteY188" fmla="*/ 542042 h 1016771"/>
                    <a:gd name="connsiteX189" fmla="*/ 83255 w 761692"/>
                    <a:gd name="connsiteY189" fmla="*/ 542042 h 1016771"/>
                    <a:gd name="connsiteX190" fmla="*/ 81483 w 761692"/>
                    <a:gd name="connsiteY190" fmla="*/ 540271 h 1016771"/>
                    <a:gd name="connsiteX191" fmla="*/ 81483 w 761692"/>
                    <a:gd name="connsiteY191" fmla="*/ 536728 h 1016771"/>
                    <a:gd name="connsiteX192" fmla="*/ 79712 w 761692"/>
                    <a:gd name="connsiteY192" fmla="*/ 531414 h 1016771"/>
                    <a:gd name="connsiteX193" fmla="*/ 77941 w 761692"/>
                    <a:gd name="connsiteY193" fmla="*/ 529642 h 1016771"/>
                    <a:gd name="connsiteX194" fmla="*/ 70855 w 761692"/>
                    <a:gd name="connsiteY194" fmla="*/ 527871 h 1016771"/>
                    <a:gd name="connsiteX195" fmla="*/ 60227 w 761692"/>
                    <a:gd name="connsiteY195" fmla="*/ 536728 h 1016771"/>
                    <a:gd name="connsiteX196" fmla="*/ 47827 w 761692"/>
                    <a:gd name="connsiteY196" fmla="*/ 526100 h 1016771"/>
                    <a:gd name="connsiteX197" fmla="*/ 42513 w 761692"/>
                    <a:gd name="connsiteY197" fmla="*/ 515471 h 1016771"/>
                    <a:gd name="connsiteX198" fmla="*/ 33656 w 761692"/>
                    <a:gd name="connsiteY198" fmla="*/ 506614 h 1016771"/>
                    <a:gd name="connsiteX199" fmla="*/ 31885 w 761692"/>
                    <a:gd name="connsiteY199" fmla="*/ 490672 h 1016771"/>
                    <a:gd name="connsiteX200" fmla="*/ 26571 w 761692"/>
                    <a:gd name="connsiteY200" fmla="*/ 476501 h 1016771"/>
                    <a:gd name="connsiteX201" fmla="*/ 24799 w 761692"/>
                    <a:gd name="connsiteY201" fmla="*/ 471187 h 1016771"/>
                    <a:gd name="connsiteX202" fmla="*/ 12400 w 761692"/>
                    <a:gd name="connsiteY202" fmla="*/ 472958 h 1016771"/>
                    <a:gd name="connsiteX203" fmla="*/ 7086 w 761692"/>
                    <a:gd name="connsiteY203" fmla="*/ 464101 h 1016771"/>
                    <a:gd name="connsiteX204" fmla="*/ 8857 w 761692"/>
                    <a:gd name="connsiteY204" fmla="*/ 446388 h 1016771"/>
                    <a:gd name="connsiteX205" fmla="*/ 3543 w 761692"/>
                    <a:gd name="connsiteY205" fmla="*/ 435759 h 1016771"/>
                    <a:gd name="connsiteX206" fmla="*/ 5314 w 761692"/>
                    <a:gd name="connsiteY206" fmla="*/ 412731 h 1016771"/>
                    <a:gd name="connsiteX207" fmla="*/ 0 w 761692"/>
                    <a:gd name="connsiteY207" fmla="*/ 396789 h 1016771"/>
                    <a:gd name="connsiteX208" fmla="*/ 3543 w 761692"/>
                    <a:gd name="connsiteY208" fmla="*/ 384389 h 1016771"/>
                    <a:gd name="connsiteX209" fmla="*/ 14171 w 761692"/>
                    <a:gd name="connsiteY209" fmla="*/ 380846 h 1016771"/>
                    <a:gd name="connsiteX210" fmla="*/ 24799 w 761692"/>
                    <a:gd name="connsiteY210" fmla="*/ 364904 h 1016771"/>
                    <a:gd name="connsiteX211" fmla="*/ 30113 w 761692"/>
                    <a:gd name="connsiteY211" fmla="*/ 350733 h 1016771"/>
                    <a:gd name="connsiteX212" fmla="*/ 35428 w 761692"/>
                    <a:gd name="connsiteY212" fmla="*/ 341876 h 1016771"/>
                    <a:gd name="connsiteX213" fmla="*/ 42513 w 761692"/>
                    <a:gd name="connsiteY213" fmla="*/ 327705 h 1016771"/>
                    <a:gd name="connsiteX214" fmla="*/ 42513 w 761692"/>
                    <a:gd name="connsiteY214" fmla="*/ 315305 h 1016771"/>
                    <a:gd name="connsiteX215" fmla="*/ 56684 w 761692"/>
                    <a:gd name="connsiteY215" fmla="*/ 309991 h 1016771"/>
                    <a:gd name="connsiteX216" fmla="*/ 60227 w 761692"/>
                    <a:gd name="connsiteY216" fmla="*/ 309991 h 1016771"/>
                    <a:gd name="connsiteX217" fmla="*/ 61998 w 761692"/>
                    <a:gd name="connsiteY217" fmla="*/ 311763 h 1016771"/>
                    <a:gd name="connsiteX218" fmla="*/ 67312 w 761692"/>
                    <a:gd name="connsiteY218" fmla="*/ 311763 h 1016771"/>
                    <a:gd name="connsiteX219" fmla="*/ 67312 w 761692"/>
                    <a:gd name="connsiteY219" fmla="*/ 309991 h 1016771"/>
                    <a:gd name="connsiteX220" fmla="*/ 67312 w 761692"/>
                    <a:gd name="connsiteY220" fmla="*/ 308220 h 1016771"/>
                    <a:gd name="connsiteX221" fmla="*/ 69084 w 761692"/>
                    <a:gd name="connsiteY221" fmla="*/ 302906 h 1016771"/>
                    <a:gd name="connsiteX222" fmla="*/ 70855 w 761692"/>
                    <a:gd name="connsiteY222" fmla="*/ 301134 h 1016771"/>
                    <a:gd name="connsiteX223" fmla="*/ 70855 w 761692"/>
                    <a:gd name="connsiteY223" fmla="*/ 299363 h 1016771"/>
                    <a:gd name="connsiteX224" fmla="*/ 77941 w 761692"/>
                    <a:gd name="connsiteY224" fmla="*/ 295820 h 1016771"/>
                    <a:gd name="connsiteX225" fmla="*/ 85026 w 761692"/>
                    <a:gd name="connsiteY225" fmla="*/ 295820 h 1016771"/>
                    <a:gd name="connsiteX226" fmla="*/ 93883 w 761692"/>
                    <a:gd name="connsiteY226" fmla="*/ 297592 h 1016771"/>
                    <a:gd name="connsiteX227" fmla="*/ 100968 w 761692"/>
                    <a:gd name="connsiteY227" fmla="*/ 288735 h 1016771"/>
                    <a:gd name="connsiteX228" fmla="*/ 97426 w 761692"/>
                    <a:gd name="connsiteY228" fmla="*/ 279878 h 1016771"/>
                    <a:gd name="connsiteX229" fmla="*/ 85026 w 761692"/>
                    <a:gd name="connsiteY229" fmla="*/ 276335 h 1016771"/>
                    <a:gd name="connsiteX230" fmla="*/ 76169 w 761692"/>
                    <a:gd name="connsiteY230" fmla="*/ 271021 h 1016771"/>
                    <a:gd name="connsiteX231" fmla="*/ 76169 w 761692"/>
                    <a:gd name="connsiteY231" fmla="*/ 262164 h 1016771"/>
                    <a:gd name="connsiteX232" fmla="*/ 81483 w 761692"/>
                    <a:gd name="connsiteY232" fmla="*/ 251536 h 1016771"/>
                    <a:gd name="connsiteX233" fmla="*/ 86797 w 761692"/>
                    <a:gd name="connsiteY233" fmla="*/ 255079 h 1016771"/>
                    <a:gd name="connsiteX234" fmla="*/ 104511 w 761692"/>
                    <a:gd name="connsiteY234" fmla="*/ 262164 h 1016771"/>
                    <a:gd name="connsiteX235" fmla="*/ 116911 w 761692"/>
                    <a:gd name="connsiteY235" fmla="*/ 265707 h 1016771"/>
                    <a:gd name="connsiteX236" fmla="*/ 132853 w 761692"/>
                    <a:gd name="connsiteY236" fmla="*/ 269250 h 1016771"/>
                    <a:gd name="connsiteX237" fmla="*/ 138167 w 761692"/>
                    <a:gd name="connsiteY237" fmla="*/ 265707 h 1016771"/>
                    <a:gd name="connsiteX238" fmla="*/ 150567 w 761692"/>
                    <a:gd name="connsiteY238" fmla="*/ 255079 h 1016771"/>
                    <a:gd name="connsiteX239" fmla="*/ 166509 w 761692"/>
                    <a:gd name="connsiteY239" fmla="*/ 255079 h 1016771"/>
                    <a:gd name="connsiteX240" fmla="*/ 166509 w 761692"/>
                    <a:gd name="connsiteY240" fmla="*/ 265707 h 1016771"/>
                    <a:gd name="connsiteX241" fmla="*/ 177138 w 761692"/>
                    <a:gd name="connsiteY241" fmla="*/ 272792 h 1016771"/>
                    <a:gd name="connsiteX242" fmla="*/ 194851 w 761692"/>
                    <a:gd name="connsiteY242" fmla="*/ 276335 h 1016771"/>
                    <a:gd name="connsiteX243" fmla="*/ 209022 w 761692"/>
                    <a:gd name="connsiteY243" fmla="*/ 279878 h 1016771"/>
                    <a:gd name="connsiteX244" fmla="*/ 221422 w 761692"/>
                    <a:gd name="connsiteY244" fmla="*/ 276335 h 1016771"/>
                    <a:gd name="connsiteX245" fmla="*/ 226736 w 761692"/>
                    <a:gd name="connsiteY245" fmla="*/ 269250 h 1016771"/>
                    <a:gd name="connsiteX246" fmla="*/ 226736 w 761692"/>
                    <a:gd name="connsiteY246" fmla="*/ 251536 h 1016771"/>
                    <a:gd name="connsiteX247" fmla="*/ 224965 w 761692"/>
                    <a:gd name="connsiteY247" fmla="*/ 239136 h 1016771"/>
                    <a:gd name="connsiteX248" fmla="*/ 214337 w 761692"/>
                    <a:gd name="connsiteY248" fmla="*/ 230279 h 1016771"/>
                    <a:gd name="connsiteX249" fmla="*/ 210794 w 761692"/>
                    <a:gd name="connsiteY249" fmla="*/ 217880 h 1016771"/>
                    <a:gd name="connsiteX250" fmla="*/ 221422 w 761692"/>
                    <a:gd name="connsiteY250" fmla="*/ 207251 h 1016771"/>
                    <a:gd name="connsiteX251" fmla="*/ 235593 w 761692"/>
                    <a:gd name="connsiteY251" fmla="*/ 214337 h 1016771"/>
                    <a:gd name="connsiteX252" fmla="*/ 246221 w 761692"/>
                    <a:gd name="connsiteY252" fmla="*/ 219651 h 1016771"/>
                    <a:gd name="connsiteX253" fmla="*/ 253307 w 761692"/>
                    <a:gd name="connsiteY253" fmla="*/ 221422 h 1016771"/>
                    <a:gd name="connsiteX254" fmla="*/ 262164 w 761692"/>
                    <a:gd name="connsiteY254" fmla="*/ 210794 h 1016771"/>
                    <a:gd name="connsiteX255" fmla="*/ 263935 w 761692"/>
                    <a:gd name="connsiteY255" fmla="*/ 201937 h 1016771"/>
                    <a:gd name="connsiteX256" fmla="*/ 274563 w 761692"/>
                    <a:gd name="connsiteY256" fmla="*/ 189538 h 1016771"/>
                    <a:gd name="connsiteX257" fmla="*/ 283420 w 761692"/>
                    <a:gd name="connsiteY257" fmla="*/ 178909 h 1016771"/>
                    <a:gd name="connsiteX258" fmla="*/ 286963 w 761692"/>
                    <a:gd name="connsiteY258" fmla="*/ 173595 h 1016771"/>
                    <a:gd name="connsiteX259" fmla="*/ 311762 w 761692"/>
                    <a:gd name="connsiteY259" fmla="*/ 168281 h 1016771"/>
                    <a:gd name="connsiteX260" fmla="*/ 325933 w 761692"/>
                    <a:gd name="connsiteY260" fmla="*/ 164738 h 1016771"/>
                    <a:gd name="connsiteX261" fmla="*/ 336562 w 761692"/>
                    <a:gd name="connsiteY261" fmla="*/ 159424 h 1016771"/>
                    <a:gd name="connsiteX262" fmla="*/ 348961 w 761692"/>
                    <a:gd name="connsiteY262" fmla="*/ 145253 h 1016771"/>
                    <a:gd name="connsiteX263" fmla="*/ 359589 w 761692"/>
                    <a:gd name="connsiteY263" fmla="*/ 143482 h 1016771"/>
                    <a:gd name="connsiteX264" fmla="*/ 371989 w 761692"/>
                    <a:gd name="connsiteY264" fmla="*/ 143482 h 1016771"/>
                    <a:gd name="connsiteX265" fmla="*/ 391474 w 761692"/>
                    <a:gd name="connsiteY265" fmla="*/ 143482 h 1016771"/>
                    <a:gd name="connsiteX266" fmla="*/ 396788 w 761692"/>
                    <a:gd name="connsiteY266" fmla="*/ 141710 h 1016771"/>
                    <a:gd name="connsiteX267" fmla="*/ 403874 w 761692"/>
                    <a:gd name="connsiteY267" fmla="*/ 134625 h 1016771"/>
                    <a:gd name="connsiteX268" fmla="*/ 409188 w 761692"/>
                    <a:gd name="connsiteY268" fmla="*/ 129311 h 1016771"/>
                    <a:gd name="connsiteX269" fmla="*/ 409188 w 761692"/>
                    <a:gd name="connsiteY269" fmla="*/ 123997 h 1016771"/>
                    <a:gd name="connsiteX270" fmla="*/ 414502 w 761692"/>
                    <a:gd name="connsiteY270" fmla="*/ 115140 h 1016771"/>
                    <a:gd name="connsiteX271" fmla="*/ 428673 w 761692"/>
                    <a:gd name="connsiteY271" fmla="*/ 115140 h 1016771"/>
                    <a:gd name="connsiteX272" fmla="*/ 432216 w 761692"/>
                    <a:gd name="connsiteY272" fmla="*/ 109826 h 1016771"/>
                    <a:gd name="connsiteX273" fmla="*/ 437530 w 761692"/>
                    <a:gd name="connsiteY273" fmla="*/ 100969 h 1016771"/>
                    <a:gd name="connsiteX274" fmla="*/ 448158 w 761692"/>
                    <a:gd name="connsiteY274" fmla="*/ 99197 h 1016771"/>
                    <a:gd name="connsiteX275" fmla="*/ 460558 w 761692"/>
                    <a:gd name="connsiteY275" fmla="*/ 97426 h 1016771"/>
                    <a:gd name="connsiteX276" fmla="*/ 472958 w 761692"/>
                    <a:gd name="connsiteY276" fmla="*/ 93883 h 1016771"/>
                    <a:gd name="connsiteX277" fmla="*/ 492443 w 761692"/>
                    <a:gd name="connsiteY277" fmla="*/ 93883 h 1016771"/>
                    <a:gd name="connsiteX278" fmla="*/ 501300 w 761692"/>
                    <a:gd name="connsiteY278" fmla="*/ 83255 h 1016771"/>
                    <a:gd name="connsiteX279" fmla="*/ 517242 w 761692"/>
                    <a:gd name="connsiteY279" fmla="*/ 81484 h 1016771"/>
                    <a:gd name="connsiteX280" fmla="*/ 522556 w 761692"/>
                    <a:gd name="connsiteY280" fmla="*/ 81484 h 1016771"/>
                    <a:gd name="connsiteX281" fmla="*/ 522556 w 761692"/>
                    <a:gd name="connsiteY281" fmla="*/ 60227 h 1016771"/>
                    <a:gd name="connsiteX282" fmla="*/ 526099 w 761692"/>
                    <a:gd name="connsiteY282" fmla="*/ 54913 h 1016771"/>
                    <a:gd name="connsiteX283" fmla="*/ 529642 w 761692"/>
                    <a:gd name="connsiteY283" fmla="*/ 46056 h 1016771"/>
                    <a:gd name="connsiteX284" fmla="*/ 538499 w 761692"/>
                    <a:gd name="connsiteY284" fmla="*/ 40742 h 1016771"/>
                    <a:gd name="connsiteX285" fmla="*/ 540270 w 761692"/>
                    <a:gd name="connsiteY285" fmla="*/ 30114 h 1016771"/>
                    <a:gd name="connsiteX286" fmla="*/ 536727 w 761692"/>
                    <a:gd name="connsiteY286" fmla="*/ 19485 h 1016771"/>
                    <a:gd name="connsiteX287" fmla="*/ 543813 w 761692"/>
                    <a:gd name="connsiteY287" fmla="*/ 5314 h 1016771"/>
                    <a:gd name="connsiteX288" fmla="*/ 554441 w 761692"/>
                    <a:gd name="connsiteY288" fmla="*/ 0 h 1016771"/>
                    <a:gd name="connsiteX0" fmla="*/ 116476 w 761692"/>
                    <a:gd name="connsiteY0" fmla="*/ 741349 h 1016771"/>
                    <a:gd name="connsiteX1" fmla="*/ 117606 w 761692"/>
                    <a:gd name="connsiteY1" fmla="*/ 742253 h 1016771"/>
                    <a:gd name="connsiteX2" fmla="*/ 122692 w 761692"/>
                    <a:gd name="connsiteY2" fmla="*/ 759206 h 1016771"/>
                    <a:gd name="connsiteX3" fmla="*/ 126082 w 761692"/>
                    <a:gd name="connsiteY3" fmla="*/ 771073 h 1016771"/>
                    <a:gd name="connsiteX4" fmla="*/ 129473 w 761692"/>
                    <a:gd name="connsiteY4" fmla="*/ 782940 h 1016771"/>
                    <a:gd name="connsiteX5" fmla="*/ 132864 w 761692"/>
                    <a:gd name="connsiteY5" fmla="*/ 793112 h 1016771"/>
                    <a:gd name="connsiteX6" fmla="*/ 136254 w 761692"/>
                    <a:gd name="connsiteY6" fmla="*/ 810066 h 1016771"/>
                    <a:gd name="connsiteX7" fmla="*/ 139058 w 761692"/>
                    <a:gd name="connsiteY7" fmla="*/ 818476 h 1016771"/>
                    <a:gd name="connsiteX8" fmla="*/ 131082 w 761692"/>
                    <a:gd name="connsiteY8" fmla="*/ 790035 h 1016771"/>
                    <a:gd name="connsiteX9" fmla="*/ 127539 w 761692"/>
                    <a:gd name="connsiteY9" fmla="*/ 779407 h 1016771"/>
                    <a:gd name="connsiteX10" fmla="*/ 123996 w 761692"/>
                    <a:gd name="connsiteY10" fmla="*/ 767007 h 1016771"/>
                    <a:gd name="connsiteX11" fmla="*/ 120454 w 761692"/>
                    <a:gd name="connsiteY11" fmla="*/ 754607 h 1016771"/>
                    <a:gd name="connsiteX12" fmla="*/ 116476 w 761692"/>
                    <a:gd name="connsiteY12" fmla="*/ 741349 h 1016771"/>
                    <a:gd name="connsiteX13" fmla="*/ 554441 w 761692"/>
                    <a:gd name="connsiteY13" fmla="*/ 0 h 1016771"/>
                    <a:gd name="connsiteX14" fmla="*/ 570383 w 761692"/>
                    <a:gd name="connsiteY14" fmla="*/ 3543 h 1016771"/>
                    <a:gd name="connsiteX15" fmla="*/ 577469 w 761692"/>
                    <a:gd name="connsiteY15" fmla="*/ 8857 h 1016771"/>
                    <a:gd name="connsiteX16" fmla="*/ 582783 w 761692"/>
                    <a:gd name="connsiteY16" fmla="*/ 17714 h 1016771"/>
                    <a:gd name="connsiteX17" fmla="*/ 582783 w 761692"/>
                    <a:gd name="connsiteY17" fmla="*/ 24799 h 1016771"/>
                    <a:gd name="connsiteX18" fmla="*/ 588097 w 761692"/>
                    <a:gd name="connsiteY18" fmla="*/ 33656 h 1016771"/>
                    <a:gd name="connsiteX19" fmla="*/ 598725 w 761692"/>
                    <a:gd name="connsiteY19" fmla="*/ 31885 h 1016771"/>
                    <a:gd name="connsiteX20" fmla="*/ 612896 w 761692"/>
                    <a:gd name="connsiteY20" fmla="*/ 37199 h 1016771"/>
                    <a:gd name="connsiteX21" fmla="*/ 618211 w 761692"/>
                    <a:gd name="connsiteY21" fmla="*/ 46056 h 1016771"/>
                    <a:gd name="connsiteX22" fmla="*/ 619982 w 761692"/>
                    <a:gd name="connsiteY22" fmla="*/ 54913 h 1016771"/>
                    <a:gd name="connsiteX23" fmla="*/ 618211 w 761692"/>
                    <a:gd name="connsiteY23" fmla="*/ 74398 h 1016771"/>
                    <a:gd name="connsiteX24" fmla="*/ 616439 w 761692"/>
                    <a:gd name="connsiteY24" fmla="*/ 85026 h 1016771"/>
                    <a:gd name="connsiteX25" fmla="*/ 621753 w 761692"/>
                    <a:gd name="connsiteY25" fmla="*/ 97426 h 1016771"/>
                    <a:gd name="connsiteX26" fmla="*/ 637696 w 761692"/>
                    <a:gd name="connsiteY26" fmla="*/ 113368 h 1016771"/>
                    <a:gd name="connsiteX27" fmla="*/ 644781 w 761692"/>
                    <a:gd name="connsiteY27" fmla="*/ 120454 h 1016771"/>
                    <a:gd name="connsiteX28" fmla="*/ 650095 w 761692"/>
                    <a:gd name="connsiteY28" fmla="*/ 136396 h 1016771"/>
                    <a:gd name="connsiteX29" fmla="*/ 655409 w 761692"/>
                    <a:gd name="connsiteY29" fmla="*/ 155881 h 1016771"/>
                    <a:gd name="connsiteX30" fmla="*/ 662495 w 761692"/>
                    <a:gd name="connsiteY30" fmla="*/ 171824 h 1016771"/>
                    <a:gd name="connsiteX31" fmla="*/ 660724 w 761692"/>
                    <a:gd name="connsiteY31" fmla="*/ 185995 h 1016771"/>
                    <a:gd name="connsiteX32" fmla="*/ 635924 w 761692"/>
                    <a:gd name="connsiteY32" fmla="*/ 194852 h 1016771"/>
                    <a:gd name="connsiteX33" fmla="*/ 619982 w 761692"/>
                    <a:gd name="connsiteY33" fmla="*/ 207251 h 1016771"/>
                    <a:gd name="connsiteX34" fmla="*/ 614668 w 761692"/>
                    <a:gd name="connsiteY34" fmla="*/ 223194 h 1016771"/>
                    <a:gd name="connsiteX35" fmla="*/ 618211 w 761692"/>
                    <a:gd name="connsiteY35" fmla="*/ 242679 h 1016771"/>
                    <a:gd name="connsiteX36" fmla="*/ 612896 w 761692"/>
                    <a:gd name="connsiteY36" fmla="*/ 256850 h 1016771"/>
                    <a:gd name="connsiteX37" fmla="*/ 625296 w 761692"/>
                    <a:gd name="connsiteY37" fmla="*/ 267478 h 1016771"/>
                    <a:gd name="connsiteX38" fmla="*/ 641238 w 761692"/>
                    <a:gd name="connsiteY38" fmla="*/ 269250 h 1016771"/>
                    <a:gd name="connsiteX39" fmla="*/ 658952 w 761692"/>
                    <a:gd name="connsiteY39" fmla="*/ 286963 h 1016771"/>
                    <a:gd name="connsiteX40" fmla="*/ 653638 w 761692"/>
                    <a:gd name="connsiteY40" fmla="*/ 309991 h 1016771"/>
                    <a:gd name="connsiteX41" fmla="*/ 653638 w 761692"/>
                    <a:gd name="connsiteY41" fmla="*/ 329476 h 1016771"/>
                    <a:gd name="connsiteX42" fmla="*/ 643010 w 761692"/>
                    <a:gd name="connsiteY42" fmla="*/ 338333 h 1016771"/>
                    <a:gd name="connsiteX43" fmla="*/ 632382 w 761692"/>
                    <a:gd name="connsiteY43" fmla="*/ 338333 h 1016771"/>
                    <a:gd name="connsiteX44" fmla="*/ 618211 w 761692"/>
                    <a:gd name="connsiteY44" fmla="*/ 357819 h 1016771"/>
                    <a:gd name="connsiteX45" fmla="*/ 609354 w 761692"/>
                    <a:gd name="connsiteY45" fmla="*/ 361361 h 1016771"/>
                    <a:gd name="connsiteX46" fmla="*/ 596954 w 761692"/>
                    <a:gd name="connsiteY46" fmla="*/ 363133 h 1016771"/>
                    <a:gd name="connsiteX47" fmla="*/ 581012 w 761692"/>
                    <a:gd name="connsiteY47" fmla="*/ 379075 h 1016771"/>
                    <a:gd name="connsiteX48" fmla="*/ 589868 w 761692"/>
                    <a:gd name="connsiteY48" fmla="*/ 393246 h 1016771"/>
                    <a:gd name="connsiteX49" fmla="*/ 586326 w 761692"/>
                    <a:gd name="connsiteY49" fmla="*/ 409189 h 1016771"/>
                    <a:gd name="connsiteX50" fmla="*/ 570383 w 761692"/>
                    <a:gd name="connsiteY50" fmla="*/ 398560 h 1016771"/>
                    <a:gd name="connsiteX51" fmla="*/ 550898 w 761692"/>
                    <a:gd name="connsiteY51" fmla="*/ 405646 h 1016771"/>
                    <a:gd name="connsiteX52" fmla="*/ 531413 w 761692"/>
                    <a:gd name="connsiteY52" fmla="*/ 425131 h 1016771"/>
                    <a:gd name="connsiteX53" fmla="*/ 543813 w 761692"/>
                    <a:gd name="connsiteY53" fmla="*/ 444616 h 1016771"/>
                    <a:gd name="connsiteX54" fmla="*/ 557984 w 761692"/>
                    <a:gd name="connsiteY54" fmla="*/ 462330 h 1016771"/>
                    <a:gd name="connsiteX55" fmla="*/ 570383 w 761692"/>
                    <a:gd name="connsiteY55" fmla="*/ 478272 h 1016771"/>
                    <a:gd name="connsiteX56" fmla="*/ 579240 w 761692"/>
                    <a:gd name="connsiteY56" fmla="*/ 485358 h 1016771"/>
                    <a:gd name="connsiteX57" fmla="*/ 602268 w 761692"/>
                    <a:gd name="connsiteY57" fmla="*/ 483586 h 1016771"/>
                    <a:gd name="connsiteX58" fmla="*/ 623525 w 761692"/>
                    <a:gd name="connsiteY58" fmla="*/ 474730 h 1016771"/>
                    <a:gd name="connsiteX59" fmla="*/ 639467 w 761692"/>
                    <a:gd name="connsiteY59" fmla="*/ 464101 h 1016771"/>
                    <a:gd name="connsiteX60" fmla="*/ 662495 w 761692"/>
                    <a:gd name="connsiteY60" fmla="*/ 464101 h 1016771"/>
                    <a:gd name="connsiteX61" fmla="*/ 673123 w 761692"/>
                    <a:gd name="connsiteY61" fmla="*/ 464101 h 1016771"/>
                    <a:gd name="connsiteX62" fmla="*/ 681980 w 761692"/>
                    <a:gd name="connsiteY62" fmla="*/ 467644 h 1016771"/>
                    <a:gd name="connsiteX63" fmla="*/ 703237 w 761692"/>
                    <a:gd name="connsiteY63" fmla="*/ 471187 h 1016771"/>
                    <a:gd name="connsiteX64" fmla="*/ 708551 w 761692"/>
                    <a:gd name="connsiteY64" fmla="*/ 474730 h 1016771"/>
                    <a:gd name="connsiteX65" fmla="*/ 722722 w 761692"/>
                    <a:gd name="connsiteY65" fmla="*/ 501300 h 1016771"/>
                    <a:gd name="connsiteX66" fmla="*/ 724493 w 761692"/>
                    <a:gd name="connsiteY66" fmla="*/ 522557 h 1016771"/>
                    <a:gd name="connsiteX67" fmla="*/ 722722 w 761692"/>
                    <a:gd name="connsiteY67" fmla="*/ 540271 h 1016771"/>
                    <a:gd name="connsiteX68" fmla="*/ 735121 w 761692"/>
                    <a:gd name="connsiteY68" fmla="*/ 552670 h 1016771"/>
                    <a:gd name="connsiteX69" fmla="*/ 735121 w 761692"/>
                    <a:gd name="connsiteY69" fmla="*/ 570384 h 1016771"/>
                    <a:gd name="connsiteX70" fmla="*/ 751064 w 761692"/>
                    <a:gd name="connsiteY70" fmla="*/ 581012 h 1016771"/>
                    <a:gd name="connsiteX71" fmla="*/ 761692 w 761692"/>
                    <a:gd name="connsiteY71" fmla="*/ 604040 h 1016771"/>
                    <a:gd name="connsiteX72" fmla="*/ 747521 w 761692"/>
                    <a:gd name="connsiteY72" fmla="*/ 616440 h 1016771"/>
                    <a:gd name="connsiteX73" fmla="*/ 728036 w 761692"/>
                    <a:gd name="connsiteY73" fmla="*/ 627068 h 1016771"/>
                    <a:gd name="connsiteX74" fmla="*/ 726264 w 761692"/>
                    <a:gd name="connsiteY74" fmla="*/ 650096 h 1016771"/>
                    <a:gd name="connsiteX75" fmla="*/ 728036 w 761692"/>
                    <a:gd name="connsiteY75" fmla="*/ 673124 h 1016771"/>
                    <a:gd name="connsiteX76" fmla="*/ 742207 w 761692"/>
                    <a:gd name="connsiteY76" fmla="*/ 689066 h 1016771"/>
                    <a:gd name="connsiteX77" fmla="*/ 742207 w 761692"/>
                    <a:gd name="connsiteY77" fmla="*/ 712094 h 1016771"/>
                    <a:gd name="connsiteX78" fmla="*/ 740435 w 761692"/>
                    <a:gd name="connsiteY78" fmla="*/ 735122 h 1016771"/>
                    <a:gd name="connsiteX79" fmla="*/ 742207 w 761692"/>
                    <a:gd name="connsiteY79" fmla="*/ 751065 h 1016771"/>
                    <a:gd name="connsiteX80" fmla="*/ 747521 w 761692"/>
                    <a:gd name="connsiteY80" fmla="*/ 768778 h 1016771"/>
                    <a:gd name="connsiteX81" fmla="*/ 759921 w 761692"/>
                    <a:gd name="connsiteY81" fmla="*/ 777635 h 1016771"/>
                    <a:gd name="connsiteX82" fmla="*/ 758149 w 761692"/>
                    <a:gd name="connsiteY82" fmla="*/ 802434 h 1016771"/>
                    <a:gd name="connsiteX83" fmla="*/ 752835 w 761692"/>
                    <a:gd name="connsiteY83" fmla="*/ 814834 h 1016771"/>
                    <a:gd name="connsiteX84" fmla="*/ 743978 w 761692"/>
                    <a:gd name="connsiteY84" fmla="*/ 827234 h 1016771"/>
                    <a:gd name="connsiteX85" fmla="*/ 743978 w 761692"/>
                    <a:gd name="connsiteY85" fmla="*/ 837862 h 1016771"/>
                    <a:gd name="connsiteX86" fmla="*/ 747521 w 761692"/>
                    <a:gd name="connsiteY86" fmla="*/ 853804 h 1016771"/>
                    <a:gd name="connsiteX87" fmla="*/ 733350 w 761692"/>
                    <a:gd name="connsiteY87" fmla="*/ 867975 h 1016771"/>
                    <a:gd name="connsiteX88" fmla="*/ 724493 w 761692"/>
                    <a:gd name="connsiteY88" fmla="*/ 880375 h 1016771"/>
                    <a:gd name="connsiteX89" fmla="*/ 722722 w 761692"/>
                    <a:gd name="connsiteY89" fmla="*/ 899860 h 1016771"/>
                    <a:gd name="connsiteX90" fmla="*/ 722722 w 761692"/>
                    <a:gd name="connsiteY90" fmla="*/ 919345 h 1016771"/>
                    <a:gd name="connsiteX91" fmla="*/ 715636 w 761692"/>
                    <a:gd name="connsiteY91" fmla="*/ 940602 h 1016771"/>
                    <a:gd name="connsiteX92" fmla="*/ 708551 w 761692"/>
                    <a:gd name="connsiteY92" fmla="*/ 954773 h 1016771"/>
                    <a:gd name="connsiteX93" fmla="*/ 699694 w 761692"/>
                    <a:gd name="connsiteY93" fmla="*/ 965401 h 1016771"/>
                    <a:gd name="connsiteX94" fmla="*/ 692608 w 761692"/>
                    <a:gd name="connsiteY94" fmla="*/ 984886 h 1016771"/>
                    <a:gd name="connsiteX95" fmla="*/ 683751 w 761692"/>
                    <a:gd name="connsiteY95" fmla="*/ 997286 h 1016771"/>
                    <a:gd name="connsiteX96" fmla="*/ 673123 w 761692"/>
                    <a:gd name="connsiteY96" fmla="*/ 1002600 h 1016771"/>
                    <a:gd name="connsiteX97" fmla="*/ 662495 w 761692"/>
                    <a:gd name="connsiteY97" fmla="*/ 1013228 h 1016771"/>
                    <a:gd name="connsiteX98" fmla="*/ 644781 w 761692"/>
                    <a:gd name="connsiteY98" fmla="*/ 1016771 h 1016771"/>
                    <a:gd name="connsiteX99" fmla="*/ 635924 w 761692"/>
                    <a:gd name="connsiteY99" fmla="*/ 1004372 h 1016771"/>
                    <a:gd name="connsiteX100" fmla="*/ 623525 w 761692"/>
                    <a:gd name="connsiteY100" fmla="*/ 997286 h 1016771"/>
                    <a:gd name="connsiteX101" fmla="*/ 614668 w 761692"/>
                    <a:gd name="connsiteY101" fmla="*/ 986658 h 1016771"/>
                    <a:gd name="connsiteX102" fmla="*/ 593411 w 761692"/>
                    <a:gd name="connsiteY102" fmla="*/ 970715 h 1016771"/>
                    <a:gd name="connsiteX103" fmla="*/ 582783 w 761692"/>
                    <a:gd name="connsiteY103" fmla="*/ 965401 h 1016771"/>
                    <a:gd name="connsiteX104" fmla="*/ 531413 w 761692"/>
                    <a:gd name="connsiteY104" fmla="*/ 965401 h 1016771"/>
                    <a:gd name="connsiteX105" fmla="*/ 511928 w 761692"/>
                    <a:gd name="connsiteY105" fmla="*/ 965401 h 1016771"/>
                    <a:gd name="connsiteX106" fmla="*/ 492443 w 761692"/>
                    <a:gd name="connsiteY106" fmla="*/ 963630 h 1016771"/>
                    <a:gd name="connsiteX107" fmla="*/ 483586 w 761692"/>
                    <a:gd name="connsiteY107" fmla="*/ 958316 h 1016771"/>
                    <a:gd name="connsiteX108" fmla="*/ 469415 w 761692"/>
                    <a:gd name="connsiteY108" fmla="*/ 954773 h 1016771"/>
                    <a:gd name="connsiteX109" fmla="*/ 460558 w 761692"/>
                    <a:gd name="connsiteY109" fmla="*/ 942373 h 1016771"/>
                    <a:gd name="connsiteX110" fmla="*/ 446387 w 761692"/>
                    <a:gd name="connsiteY110" fmla="*/ 935288 h 1016771"/>
                    <a:gd name="connsiteX111" fmla="*/ 428673 w 761692"/>
                    <a:gd name="connsiteY111" fmla="*/ 928202 h 1016771"/>
                    <a:gd name="connsiteX112" fmla="*/ 418045 w 761692"/>
                    <a:gd name="connsiteY112" fmla="*/ 917574 h 1016771"/>
                    <a:gd name="connsiteX113" fmla="*/ 421588 w 761692"/>
                    <a:gd name="connsiteY113" fmla="*/ 903403 h 1016771"/>
                    <a:gd name="connsiteX114" fmla="*/ 418045 w 761692"/>
                    <a:gd name="connsiteY114" fmla="*/ 898089 h 1016771"/>
                    <a:gd name="connsiteX115" fmla="*/ 396788 w 761692"/>
                    <a:gd name="connsiteY115" fmla="*/ 898089 h 1016771"/>
                    <a:gd name="connsiteX116" fmla="*/ 382617 w 761692"/>
                    <a:gd name="connsiteY116" fmla="*/ 896318 h 1016771"/>
                    <a:gd name="connsiteX117" fmla="*/ 380846 w 761692"/>
                    <a:gd name="connsiteY117" fmla="*/ 906946 h 1016771"/>
                    <a:gd name="connsiteX118" fmla="*/ 373601 w 761692"/>
                    <a:gd name="connsiteY118" fmla="*/ 894832 h 1016771"/>
                    <a:gd name="connsiteX119" fmla="*/ 387164 w 761692"/>
                    <a:gd name="connsiteY119" fmla="*/ 896527 h 1016771"/>
                    <a:gd name="connsiteX120" fmla="*/ 383773 w 761692"/>
                    <a:gd name="connsiteY120" fmla="*/ 886355 h 1016771"/>
                    <a:gd name="connsiteX121" fmla="*/ 387164 w 761692"/>
                    <a:gd name="connsiteY121" fmla="*/ 876183 h 1016771"/>
                    <a:gd name="connsiteX122" fmla="*/ 388859 w 761692"/>
                    <a:gd name="connsiteY122" fmla="*/ 867707 h 1016771"/>
                    <a:gd name="connsiteX123" fmla="*/ 380382 w 761692"/>
                    <a:gd name="connsiteY123" fmla="*/ 859230 h 1016771"/>
                    <a:gd name="connsiteX124" fmla="*/ 373601 w 761692"/>
                    <a:gd name="connsiteY124" fmla="*/ 849058 h 1016771"/>
                    <a:gd name="connsiteX125" fmla="*/ 380382 w 761692"/>
                    <a:gd name="connsiteY125" fmla="*/ 838886 h 1016771"/>
                    <a:gd name="connsiteX126" fmla="*/ 383773 w 761692"/>
                    <a:gd name="connsiteY126" fmla="*/ 833800 h 1016771"/>
                    <a:gd name="connsiteX127" fmla="*/ 388859 w 761692"/>
                    <a:gd name="connsiteY127" fmla="*/ 825324 h 1016771"/>
                    <a:gd name="connsiteX128" fmla="*/ 387164 w 761692"/>
                    <a:gd name="connsiteY128" fmla="*/ 810066 h 1016771"/>
                    <a:gd name="connsiteX129" fmla="*/ 387164 w 761692"/>
                    <a:gd name="connsiteY129" fmla="*/ 796503 h 1016771"/>
                    <a:gd name="connsiteX130" fmla="*/ 378687 w 761692"/>
                    <a:gd name="connsiteY130" fmla="*/ 789722 h 1016771"/>
                    <a:gd name="connsiteX131" fmla="*/ 366820 w 761692"/>
                    <a:gd name="connsiteY131" fmla="*/ 782940 h 1016771"/>
                    <a:gd name="connsiteX132" fmla="*/ 356648 w 761692"/>
                    <a:gd name="connsiteY132" fmla="*/ 781245 h 1016771"/>
                    <a:gd name="connsiteX133" fmla="*/ 349866 w 761692"/>
                    <a:gd name="connsiteY133" fmla="*/ 771073 h 1016771"/>
                    <a:gd name="connsiteX134" fmla="*/ 349866 w 761692"/>
                    <a:gd name="connsiteY134" fmla="*/ 752425 h 1016771"/>
                    <a:gd name="connsiteX135" fmla="*/ 353257 w 761692"/>
                    <a:gd name="connsiteY135" fmla="*/ 743948 h 1016771"/>
                    <a:gd name="connsiteX136" fmla="*/ 354952 w 761692"/>
                    <a:gd name="connsiteY136" fmla="*/ 730385 h 1016771"/>
                    <a:gd name="connsiteX137" fmla="*/ 353257 w 761692"/>
                    <a:gd name="connsiteY137" fmla="*/ 713432 h 1016771"/>
                    <a:gd name="connsiteX138" fmla="*/ 346476 w 761692"/>
                    <a:gd name="connsiteY138" fmla="*/ 701565 h 1016771"/>
                    <a:gd name="connsiteX139" fmla="*/ 332913 w 761692"/>
                    <a:gd name="connsiteY139" fmla="*/ 689697 h 1016771"/>
                    <a:gd name="connsiteX140" fmla="*/ 324436 w 761692"/>
                    <a:gd name="connsiteY140" fmla="*/ 681221 h 1016771"/>
                    <a:gd name="connsiteX141" fmla="*/ 314264 w 761692"/>
                    <a:gd name="connsiteY141" fmla="*/ 676135 h 1016771"/>
                    <a:gd name="connsiteX142" fmla="*/ 293920 w 761692"/>
                    <a:gd name="connsiteY142" fmla="*/ 669354 h 1016771"/>
                    <a:gd name="connsiteX143" fmla="*/ 282053 w 761692"/>
                    <a:gd name="connsiteY143" fmla="*/ 667658 h 1016771"/>
                    <a:gd name="connsiteX144" fmla="*/ 266795 w 761692"/>
                    <a:gd name="connsiteY144" fmla="*/ 672744 h 1016771"/>
                    <a:gd name="connsiteX145" fmla="*/ 265100 w 761692"/>
                    <a:gd name="connsiteY145" fmla="*/ 672744 h 1016771"/>
                    <a:gd name="connsiteX146" fmla="*/ 263404 w 761692"/>
                    <a:gd name="connsiteY146" fmla="*/ 671049 h 1016771"/>
                    <a:gd name="connsiteX147" fmla="*/ 260014 w 761692"/>
                    <a:gd name="connsiteY147" fmla="*/ 671049 h 1016771"/>
                    <a:gd name="connsiteX148" fmla="*/ 258318 w 761692"/>
                    <a:gd name="connsiteY148" fmla="*/ 671049 h 1016771"/>
                    <a:gd name="connsiteX149" fmla="*/ 253232 w 761692"/>
                    <a:gd name="connsiteY149" fmla="*/ 671049 h 1016771"/>
                    <a:gd name="connsiteX150" fmla="*/ 248146 w 761692"/>
                    <a:gd name="connsiteY150" fmla="*/ 672744 h 1016771"/>
                    <a:gd name="connsiteX151" fmla="*/ 248146 w 761692"/>
                    <a:gd name="connsiteY151" fmla="*/ 674440 h 1016771"/>
                    <a:gd name="connsiteX152" fmla="*/ 246451 w 761692"/>
                    <a:gd name="connsiteY152" fmla="*/ 674440 h 1016771"/>
                    <a:gd name="connsiteX153" fmla="*/ 236279 w 761692"/>
                    <a:gd name="connsiteY153" fmla="*/ 679526 h 1016771"/>
                    <a:gd name="connsiteX154" fmla="*/ 226107 w 761692"/>
                    <a:gd name="connsiteY154" fmla="*/ 684612 h 1016771"/>
                    <a:gd name="connsiteX155" fmla="*/ 217630 w 761692"/>
                    <a:gd name="connsiteY155" fmla="*/ 684612 h 1016771"/>
                    <a:gd name="connsiteX156" fmla="*/ 207458 w 761692"/>
                    <a:gd name="connsiteY156" fmla="*/ 693088 h 1016771"/>
                    <a:gd name="connsiteX157" fmla="*/ 198982 w 761692"/>
                    <a:gd name="connsiteY157" fmla="*/ 694783 h 1016771"/>
                    <a:gd name="connsiteX158" fmla="*/ 192200 w 761692"/>
                    <a:gd name="connsiteY158" fmla="*/ 699869 h 1016771"/>
                    <a:gd name="connsiteX159" fmla="*/ 178638 w 761692"/>
                    <a:gd name="connsiteY159" fmla="*/ 706651 h 1016771"/>
                    <a:gd name="connsiteX160" fmla="*/ 163380 w 761692"/>
                    <a:gd name="connsiteY160" fmla="*/ 710041 h 1016771"/>
                    <a:gd name="connsiteX161" fmla="*/ 141340 w 761692"/>
                    <a:gd name="connsiteY161" fmla="*/ 710041 h 1016771"/>
                    <a:gd name="connsiteX162" fmla="*/ 134559 w 761692"/>
                    <a:gd name="connsiteY162" fmla="*/ 716823 h 1016771"/>
                    <a:gd name="connsiteX163" fmla="*/ 127778 w 761692"/>
                    <a:gd name="connsiteY163" fmla="*/ 718518 h 1016771"/>
                    <a:gd name="connsiteX164" fmla="*/ 120996 w 761692"/>
                    <a:gd name="connsiteY164" fmla="*/ 725299 h 1016771"/>
                    <a:gd name="connsiteX165" fmla="*/ 111172 w 761692"/>
                    <a:gd name="connsiteY165" fmla="*/ 733720 h 1016771"/>
                    <a:gd name="connsiteX166" fmla="*/ 106283 w 761692"/>
                    <a:gd name="connsiteY166" fmla="*/ 729808 h 1016771"/>
                    <a:gd name="connsiteX167" fmla="*/ 92112 w 761692"/>
                    <a:gd name="connsiteY167" fmla="*/ 724494 h 1016771"/>
                    <a:gd name="connsiteX168" fmla="*/ 77941 w 761692"/>
                    <a:gd name="connsiteY168" fmla="*/ 726265 h 1016771"/>
                    <a:gd name="connsiteX169" fmla="*/ 70855 w 761692"/>
                    <a:gd name="connsiteY169" fmla="*/ 719180 h 1016771"/>
                    <a:gd name="connsiteX170" fmla="*/ 70855 w 761692"/>
                    <a:gd name="connsiteY170" fmla="*/ 699695 h 1016771"/>
                    <a:gd name="connsiteX171" fmla="*/ 81483 w 761692"/>
                    <a:gd name="connsiteY171" fmla="*/ 685524 h 1016771"/>
                    <a:gd name="connsiteX172" fmla="*/ 85026 w 761692"/>
                    <a:gd name="connsiteY172" fmla="*/ 673124 h 1016771"/>
                    <a:gd name="connsiteX173" fmla="*/ 86797 w 761692"/>
                    <a:gd name="connsiteY173" fmla="*/ 660724 h 1016771"/>
                    <a:gd name="connsiteX174" fmla="*/ 97426 w 761692"/>
                    <a:gd name="connsiteY174" fmla="*/ 650096 h 1016771"/>
                    <a:gd name="connsiteX175" fmla="*/ 102740 w 761692"/>
                    <a:gd name="connsiteY175" fmla="*/ 635925 h 1016771"/>
                    <a:gd name="connsiteX176" fmla="*/ 113368 w 761692"/>
                    <a:gd name="connsiteY176" fmla="*/ 625297 h 1016771"/>
                    <a:gd name="connsiteX177" fmla="*/ 115139 w 761692"/>
                    <a:gd name="connsiteY177" fmla="*/ 612897 h 1016771"/>
                    <a:gd name="connsiteX178" fmla="*/ 127539 w 761692"/>
                    <a:gd name="connsiteY178" fmla="*/ 609354 h 1016771"/>
                    <a:gd name="connsiteX179" fmla="*/ 136396 w 761692"/>
                    <a:gd name="connsiteY179" fmla="*/ 604040 h 1016771"/>
                    <a:gd name="connsiteX180" fmla="*/ 132853 w 761692"/>
                    <a:gd name="connsiteY180" fmla="*/ 593412 h 1016771"/>
                    <a:gd name="connsiteX181" fmla="*/ 134625 w 761692"/>
                    <a:gd name="connsiteY181" fmla="*/ 584555 h 1016771"/>
                    <a:gd name="connsiteX182" fmla="*/ 131082 w 761692"/>
                    <a:gd name="connsiteY182" fmla="*/ 575698 h 1016771"/>
                    <a:gd name="connsiteX183" fmla="*/ 120454 w 761692"/>
                    <a:gd name="connsiteY183" fmla="*/ 568613 h 1016771"/>
                    <a:gd name="connsiteX184" fmla="*/ 125768 w 761692"/>
                    <a:gd name="connsiteY184" fmla="*/ 552670 h 1016771"/>
                    <a:gd name="connsiteX185" fmla="*/ 118682 w 761692"/>
                    <a:gd name="connsiteY185" fmla="*/ 543813 h 1016771"/>
                    <a:gd name="connsiteX186" fmla="*/ 90340 w 761692"/>
                    <a:gd name="connsiteY186" fmla="*/ 543813 h 1016771"/>
                    <a:gd name="connsiteX187" fmla="*/ 86797 w 761692"/>
                    <a:gd name="connsiteY187" fmla="*/ 542042 h 1016771"/>
                    <a:gd name="connsiteX188" fmla="*/ 83255 w 761692"/>
                    <a:gd name="connsiteY188" fmla="*/ 542042 h 1016771"/>
                    <a:gd name="connsiteX189" fmla="*/ 81483 w 761692"/>
                    <a:gd name="connsiteY189" fmla="*/ 540271 h 1016771"/>
                    <a:gd name="connsiteX190" fmla="*/ 81483 w 761692"/>
                    <a:gd name="connsiteY190" fmla="*/ 536728 h 1016771"/>
                    <a:gd name="connsiteX191" fmla="*/ 79712 w 761692"/>
                    <a:gd name="connsiteY191" fmla="*/ 531414 h 1016771"/>
                    <a:gd name="connsiteX192" fmla="*/ 77941 w 761692"/>
                    <a:gd name="connsiteY192" fmla="*/ 529642 h 1016771"/>
                    <a:gd name="connsiteX193" fmla="*/ 70855 w 761692"/>
                    <a:gd name="connsiteY193" fmla="*/ 527871 h 1016771"/>
                    <a:gd name="connsiteX194" fmla="*/ 60227 w 761692"/>
                    <a:gd name="connsiteY194" fmla="*/ 536728 h 1016771"/>
                    <a:gd name="connsiteX195" fmla="*/ 47827 w 761692"/>
                    <a:gd name="connsiteY195" fmla="*/ 526100 h 1016771"/>
                    <a:gd name="connsiteX196" fmla="*/ 42513 w 761692"/>
                    <a:gd name="connsiteY196" fmla="*/ 515471 h 1016771"/>
                    <a:gd name="connsiteX197" fmla="*/ 33656 w 761692"/>
                    <a:gd name="connsiteY197" fmla="*/ 506614 h 1016771"/>
                    <a:gd name="connsiteX198" fmla="*/ 31885 w 761692"/>
                    <a:gd name="connsiteY198" fmla="*/ 490672 h 1016771"/>
                    <a:gd name="connsiteX199" fmla="*/ 26571 w 761692"/>
                    <a:gd name="connsiteY199" fmla="*/ 476501 h 1016771"/>
                    <a:gd name="connsiteX200" fmla="*/ 24799 w 761692"/>
                    <a:gd name="connsiteY200" fmla="*/ 471187 h 1016771"/>
                    <a:gd name="connsiteX201" fmla="*/ 12400 w 761692"/>
                    <a:gd name="connsiteY201" fmla="*/ 472958 h 1016771"/>
                    <a:gd name="connsiteX202" fmla="*/ 7086 w 761692"/>
                    <a:gd name="connsiteY202" fmla="*/ 464101 h 1016771"/>
                    <a:gd name="connsiteX203" fmla="*/ 8857 w 761692"/>
                    <a:gd name="connsiteY203" fmla="*/ 446388 h 1016771"/>
                    <a:gd name="connsiteX204" fmla="*/ 3543 w 761692"/>
                    <a:gd name="connsiteY204" fmla="*/ 435759 h 1016771"/>
                    <a:gd name="connsiteX205" fmla="*/ 5314 w 761692"/>
                    <a:gd name="connsiteY205" fmla="*/ 412731 h 1016771"/>
                    <a:gd name="connsiteX206" fmla="*/ 0 w 761692"/>
                    <a:gd name="connsiteY206" fmla="*/ 396789 h 1016771"/>
                    <a:gd name="connsiteX207" fmla="*/ 3543 w 761692"/>
                    <a:gd name="connsiteY207" fmla="*/ 384389 h 1016771"/>
                    <a:gd name="connsiteX208" fmla="*/ 14171 w 761692"/>
                    <a:gd name="connsiteY208" fmla="*/ 380846 h 1016771"/>
                    <a:gd name="connsiteX209" fmla="*/ 24799 w 761692"/>
                    <a:gd name="connsiteY209" fmla="*/ 364904 h 1016771"/>
                    <a:gd name="connsiteX210" fmla="*/ 30113 w 761692"/>
                    <a:gd name="connsiteY210" fmla="*/ 350733 h 1016771"/>
                    <a:gd name="connsiteX211" fmla="*/ 35428 w 761692"/>
                    <a:gd name="connsiteY211" fmla="*/ 341876 h 1016771"/>
                    <a:gd name="connsiteX212" fmla="*/ 42513 w 761692"/>
                    <a:gd name="connsiteY212" fmla="*/ 327705 h 1016771"/>
                    <a:gd name="connsiteX213" fmla="*/ 42513 w 761692"/>
                    <a:gd name="connsiteY213" fmla="*/ 315305 h 1016771"/>
                    <a:gd name="connsiteX214" fmla="*/ 56684 w 761692"/>
                    <a:gd name="connsiteY214" fmla="*/ 309991 h 1016771"/>
                    <a:gd name="connsiteX215" fmla="*/ 60227 w 761692"/>
                    <a:gd name="connsiteY215" fmla="*/ 309991 h 1016771"/>
                    <a:gd name="connsiteX216" fmla="*/ 61998 w 761692"/>
                    <a:gd name="connsiteY216" fmla="*/ 311763 h 1016771"/>
                    <a:gd name="connsiteX217" fmla="*/ 67312 w 761692"/>
                    <a:gd name="connsiteY217" fmla="*/ 311763 h 1016771"/>
                    <a:gd name="connsiteX218" fmla="*/ 67312 w 761692"/>
                    <a:gd name="connsiteY218" fmla="*/ 309991 h 1016771"/>
                    <a:gd name="connsiteX219" fmla="*/ 67312 w 761692"/>
                    <a:gd name="connsiteY219" fmla="*/ 308220 h 1016771"/>
                    <a:gd name="connsiteX220" fmla="*/ 69084 w 761692"/>
                    <a:gd name="connsiteY220" fmla="*/ 302906 h 1016771"/>
                    <a:gd name="connsiteX221" fmla="*/ 70855 w 761692"/>
                    <a:gd name="connsiteY221" fmla="*/ 301134 h 1016771"/>
                    <a:gd name="connsiteX222" fmla="*/ 70855 w 761692"/>
                    <a:gd name="connsiteY222" fmla="*/ 299363 h 1016771"/>
                    <a:gd name="connsiteX223" fmla="*/ 77941 w 761692"/>
                    <a:gd name="connsiteY223" fmla="*/ 295820 h 1016771"/>
                    <a:gd name="connsiteX224" fmla="*/ 85026 w 761692"/>
                    <a:gd name="connsiteY224" fmla="*/ 295820 h 1016771"/>
                    <a:gd name="connsiteX225" fmla="*/ 93883 w 761692"/>
                    <a:gd name="connsiteY225" fmla="*/ 297592 h 1016771"/>
                    <a:gd name="connsiteX226" fmla="*/ 100968 w 761692"/>
                    <a:gd name="connsiteY226" fmla="*/ 288735 h 1016771"/>
                    <a:gd name="connsiteX227" fmla="*/ 97426 w 761692"/>
                    <a:gd name="connsiteY227" fmla="*/ 279878 h 1016771"/>
                    <a:gd name="connsiteX228" fmla="*/ 85026 w 761692"/>
                    <a:gd name="connsiteY228" fmla="*/ 276335 h 1016771"/>
                    <a:gd name="connsiteX229" fmla="*/ 76169 w 761692"/>
                    <a:gd name="connsiteY229" fmla="*/ 271021 h 1016771"/>
                    <a:gd name="connsiteX230" fmla="*/ 76169 w 761692"/>
                    <a:gd name="connsiteY230" fmla="*/ 262164 h 1016771"/>
                    <a:gd name="connsiteX231" fmla="*/ 81483 w 761692"/>
                    <a:gd name="connsiteY231" fmla="*/ 251536 h 1016771"/>
                    <a:gd name="connsiteX232" fmla="*/ 86797 w 761692"/>
                    <a:gd name="connsiteY232" fmla="*/ 255079 h 1016771"/>
                    <a:gd name="connsiteX233" fmla="*/ 104511 w 761692"/>
                    <a:gd name="connsiteY233" fmla="*/ 262164 h 1016771"/>
                    <a:gd name="connsiteX234" fmla="*/ 116911 w 761692"/>
                    <a:gd name="connsiteY234" fmla="*/ 265707 h 1016771"/>
                    <a:gd name="connsiteX235" fmla="*/ 132853 w 761692"/>
                    <a:gd name="connsiteY235" fmla="*/ 269250 h 1016771"/>
                    <a:gd name="connsiteX236" fmla="*/ 138167 w 761692"/>
                    <a:gd name="connsiteY236" fmla="*/ 265707 h 1016771"/>
                    <a:gd name="connsiteX237" fmla="*/ 150567 w 761692"/>
                    <a:gd name="connsiteY237" fmla="*/ 255079 h 1016771"/>
                    <a:gd name="connsiteX238" fmla="*/ 166509 w 761692"/>
                    <a:gd name="connsiteY238" fmla="*/ 255079 h 1016771"/>
                    <a:gd name="connsiteX239" fmla="*/ 166509 w 761692"/>
                    <a:gd name="connsiteY239" fmla="*/ 265707 h 1016771"/>
                    <a:gd name="connsiteX240" fmla="*/ 177138 w 761692"/>
                    <a:gd name="connsiteY240" fmla="*/ 272792 h 1016771"/>
                    <a:gd name="connsiteX241" fmla="*/ 194851 w 761692"/>
                    <a:gd name="connsiteY241" fmla="*/ 276335 h 1016771"/>
                    <a:gd name="connsiteX242" fmla="*/ 209022 w 761692"/>
                    <a:gd name="connsiteY242" fmla="*/ 279878 h 1016771"/>
                    <a:gd name="connsiteX243" fmla="*/ 221422 w 761692"/>
                    <a:gd name="connsiteY243" fmla="*/ 276335 h 1016771"/>
                    <a:gd name="connsiteX244" fmla="*/ 226736 w 761692"/>
                    <a:gd name="connsiteY244" fmla="*/ 269250 h 1016771"/>
                    <a:gd name="connsiteX245" fmla="*/ 226736 w 761692"/>
                    <a:gd name="connsiteY245" fmla="*/ 251536 h 1016771"/>
                    <a:gd name="connsiteX246" fmla="*/ 224965 w 761692"/>
                    <a:gd name="connsiteY246" fmla="*/ 239136 h 1016771"/>
                    <a:gd name="connsiteX247" fmla="*/ 214337 w 761692"/>
                    <a:gd name="connsiteY247" fmla="*/ 230279 h 1016771"/>
                    <a:gd name="connsiteX248" fmla="*/ 210794 w 761692"/>
                    <a:gd name="connsiteY248" fmla="*/ 217880 h 1016771"/>
                    <a:gd name="connsiteX249" fmla="*/ 221422 w 761692"/>
                    <a:gd name="connsiteY249" fmla="*/ 207251 h 1016771"/>
                    <a:gd name="connsiteX250" fmla="*/ 235593 w 761692"/>
                    <a:gd name="connsiteY250" fmla="*/ 214337 h 1016771"/>
                    <a:gd name="connsiteX251" fmla="*/ 246221 w 761692"/>
                    <a:gd name="connsiteY251" fmla="*/ 219651 h 1016771"/>
                    <a:gd name="connsiteX252" fmla="*/ 253307 w 761692"/>
                    <a:gd name="connsiteY252" fmla="*/ 221422 h 1016771"/>
                    <a:gd name="connsiteX253" fmla="*/ 262164 w 761692"/>
                    <a:gd name="connsiteY253" fmla="*/ 210794 h 1016771"/>
                    <a:gd name="connsiteX254" fmla="*/ 263935 w 761692"/>
                    <a:gd name="connsiteY254" fmla="*/ 201937 h 1016771"/>
                    <a:gd name="connsiteX255" fmla="*/ 274563 w 761692"/>
                    <a:gd name="connsiteY255" fmla="*/ 189538 h 1016771"/>
                    <a:gd name="connsiteX256" fmla="*/ 283420 w 761692"/>
                    <a:gd name="connsiteY256" fmla="*/ 178909 h 1016771"/>
                    <a:gd name="connsiteX257" fmla="*/ 286963 w 761692"/>
                    <a:gd name="connsiteY257" fmla="*/ 173595 h 1016771"/>
                    <a:gd name="connsiteX258" fmla="*/ 311762 w 761692"/>
                    <a:gd name="connsiteY258" fmla="*/ 168281 h 1016771"/>
                    <a:gd name="connsiteX259" fmla="*/ 325933 w 761692"/>
                    <a:gd name="connsiteY259" fmla="*/ 164738 h 1016771"/>
                    <a:gd name="connsiteX260" fmla="*/ 336562 w 761692"/>
                    <a:gd name="connsiteY260" fmla="*/ 159424 h 1016771"/>
                    <a:gd name="connsiteX261" fmla="*/ 348961 w 761692"/>
                    <a:gd name="connsiteY261" fmla="*/ 145253 h 1016771"/>
                    <a:gd name="connsiteX262" fmla="*/ 359589 w 761692"/>
                    <a:gd name="connsiteY262" fmla="*/ 143482 h 1016771"/>
                    <a:gd name="connsiteX263" fmla="*/ 371989 w 761692"/>
                    <a:gd name="connsiteY263" fmla="*/ 143482 h 1016771"/>
                    <a:gd name="connsiteX264" fmla="*/ 391474 w 761692"/>
                    <a:gd name="connsiteY264" fmla="*/ 143482 h 1016771"/>
                    <a:gd name="connsiteX265" fmla="*/ 396788 w 761692"/>
                    <a:gd name="connsiteY265" fmla="*/ 141710 h 1016771"/>
                    <a:gd name="connsiteX266" fmla="*/ 403874 w 761692"/>
                    <a:gd name="connsiteY266" fmla="*/ 134625 h 1016771"/>
                    <a:gd name="connsiteX267" fmla="*/ 409188 w 761692"/>
                    <a:gd name="connsiteY267" fmla="*/ 129311 h 1016771"/>
                    <a:gd name="connsiteX268" fmla="*/ 409188 w 761692"/>
                    <a:gd name="connsiteY268" fmla="*/ 123997 h 1016771"/>
                    <a:gd name="connsiteX269" fmla="*/ 414502 w 761692"/>
                    <a:gd name="connsiteY269" fmla="*/ 115140 h 1016771"/>
                    <a:gd name="connsiteX270" fmla="*/ 428673 w 761692"/>
                    <a:gd name="connsiteY270" fmla="*/ 115140 h 1016771"/>
                    <a:gd name="connsiteX271" fmla="*/ 432216 w 761692"/>
                    <a:gd name="connsiteY271" fmla="*/ 109826 h 1016771"/>
                    <a:gd name="connsiteX272" fmla="*/ 437530 w 761692"/>
                    <a:gd name="connsiteY272" fmla="*/ 100969 h 1016771"/>
                    <a:gd name="connsiteX273" fmla="*/ 448158 w 761692"/>
                    <a:gd name="connsiteY273" fmla="*/ 99197 h 1016771"/>
                    <a:gd name="connsiteX274" fmla="*/ 460558 w 761692"/>
                    <a:gd name="connsiteY274" fmla="*/ 97426 h 1016771"/>
                    <a:gd name="connsiteX275" fmla="*/ 472958 w 761692"/>
                    <a:gd name="connsiteY275" fmla="*/ 93883 h 1016771"/>
                    <a:gd name="connsiteX276" fmla="*/ 492443 w 761692"/>
                    <a:gd name="connsiteY276" fmla="*/ 93883 h 1016771"/>
                    <a:gd name="connsiteX277" fmla="*/ 501300 w 761692"/>
                    <a:gd name="connsiteY277" fmla="*/ 83255 h 1016771"/>
                    <a:gd name="connsiteX278" fmla="*/ 517242 w 761692"/>
                    <a:gd name="connsiteY278" fmla="*/ 81484 h 1016771"/>
                    <a:gd name="connsiteX279" fmla="*/ 522556 w 761692"/>
                    <a:gd name="connsiteY279" fmla="*/ 81484 h 1016771"/>
                    <a:gd name="connsiteX280" fmla="*/ 522556 w 761692"/>
                    <a:gd name="connsiteY280" fmla="*/ 60227 h 1016771"/>
                    <a:gd name="connsiteX281" fmla="*/ 526099 w 761692"/>
                    <a:gd name="connsiteY281" fmla="*/ 54913 h 1016771"/>
                    <a:gd name="connsiteX282" fmla="*/ 529642 w 761692"/>
                    <a:gd name="connsiteY282" fmla="*/ 46056 h 1016771"/>
                    <a:gd name="connsiteX283" fmla="*/ 538499 w 761692"/>
                    <a:gd name="connsiteY283" fmla="*/ 40742 h 1016771"/>
                    <a:gd name="connsiteX284" fmla="*/ 540270 w 761692"/>
                    <a:gd name="connsiteY284" fmla="*/ 30114 h 1016771"/>
                    <a:gd name="connsiteX285" fmla="*/ 536727 w 761692"/>
                    <a:gd name="connsiteY285" fmla="*/ 19485 h 1016771"/>
                    <a:gd name="connsiteX286" fmla="*/ 543813 w 761692"/>
                    <a:gd name="connsiteY286" fmla="*/ 5314 h 1016771"/>
                    <a:gd name="connsiteX287" fmla="*/ 554441 w 761692"/>
                    <a:gd name="connsiteY287" fmla="*/ 0 h 1016771"/>
                    <a:gd name="connsiteX0" fmla="*/ 116476 w 761692"/>
                    <a:gd name="connsiteY0" fmla="*/ 741349 h 1016771"/>
                    <a:gd name="connsiteX1" fmla="*/ 117606 w 761692"/>
                    <a:gd name="connsiteY1" fmla="*/ 742253 h 1016771"/>
                    <a:gd name="connsiteX2" fmla="*/ 122692 w 761692"/>
                    <a:gd name="connsiteY2" fmla="*/ 759206 h 1016771"/>
                    <a:gd name="connsiteX3" fmla="*/ 126082 w 761692"/>
                    <a:gd name="connsiteY3" fmla="*/ 771073 h 1016771"/>
                    <a:gd name="connsiteX4" fmla="*/ 129473 w 761692"/>
                    <a:gd name="connsiteY4" fmla="*/ 782940 h 1016771"/>
                    <a:gd name="connsiteX5" fmla="*/ 132864 w 761692"/>
                    <a:gd name="connsiteY5" fmla="*/ 793112 h 1016771"/>
                    <a:gd name="connsiteX6" fmla="*/ 139058 w 761692"/>
                    <a:gd name="connsiteY6" fmla="*/ 818476 h 1016771"/>
                    <a:gd name="connsiteX7" fmla="*/ 131082 w 761692"/>
                    <a:gd name="connsiteY7" fmla="*/ 790035 h 1016771"/>
                    <a:gd name="connsiteX8" fmla="*/ 127539 w 761692"/>
                    <a:gd name="connsiteY8" fmla="*/ 779407 h 1016771"/>
                    <a:gd name="connsiteX9" fmla="*/ 123996 w 761692"/>
                    <a:gd name="connsiteY9" fmla="*/ 767007 h 1016771"/>
                    <a:gd name="connsiteX10" fmla="*/ 120454 w 761692"/>
                    <a:gd name="connsiteY10" fmla="*/ 754607 h 1016771"/>
                    <a:gd name="connsiteX11" fmla="*/ 116476 w 761692"/>
                    <a:gd name="connsiteY11" fmla="*/ 741349 h 1016771"/>
                    <a:gd name="connsiteX12" fmla="*/ 554441 w 761692"/>
                    <a:gd name="connsiteY12" fmla="*/ 0 h 1016771"/>
                    <a:gd name="connsiteX13" fmla="*/ 570383 w 761692"/>
                    <a:gd name="connsiteY13" fmla="*/ 3543 h 1016771"/>
                    <a:gd name="connsiteX14" fmla="*/ 577469 w 761692"/>
                    <a:gd name="connsiteY14" fmla="*/ 8857 h 1016771"/>
                    <a:gd name="connsiteX15" fmla="*/ 582783 w 761692"/>
                    <a:gd name="connsiteY15" fmla="*/ 17714 h 1016771"/>
                    <a:gd name="connsiteX16" fmla="*/ 582783 w 761692"/>
                    <a:gd name="connsiteY16" fmla="*/ 24799 h 1016771"/>
                    <a:gd name="connsiteX17" fmla="*/ 588097 w 761692"/>
                    <a:gd name="connsiteY17" fmla="*/ 33656 h 1016771"/>
                    <a:gd name="connsiteX18" fmla="*/ 598725 w 761692"/>
                    <a:gd name="connsiteY18" fmla="*/ 31885 h 1016771"/>
                    <a:gd name="connsiteX19" fmla="*/ 612896 w 761692"/>
                    <a:gd name="connsiteY19" fmla="*/ 37199 h 1016771"/>
                    <a:gd name="connsiteX20" fmla="*/ 618211 w 761692"/>
                    <a:gd name="connsiteY20" fmla="*/ 46056 h 1016771"/>
                    <a:gd name="connsiteX21" fmla="*/ 619982 w 761692"/>
                    <a:gd name="connsiteY21" fmla="*/ 54913 h 1016771"/>
                    <a:gd name="connsiteX22" fmla="*/ 618211 w 761692"/>
                    <a:gd name="connsiteY22" fmla="*/ 74398 h 1016771"/>
                    <a:gd name="connsiteX23" fmla="*/ 616439 w 761692"/>
                    <a:gd name="connsiteY23" fmla="*/ 85026 h 1016771"/>
                    <a:gd name="connsiteX24" fmla="*/ 621753 w 761692"/>
                    <a:gd name="connsiteY24" fmla="*/ 97426 h 1016771"/>
                    <a:gd name="connsiteX25" fmla="*/ 637696 w 761692"/>
                    <a:gd name="connsiteY25" fmla="*/ 113368 h 1016771"/>
                    <a:gd name="connsiteX26" fmla="*/ 644781 w 761692"/>
                    <a:gd name="connsiteY26" fmla="*/ 120454 h 1016771"/>
                    <a:gd name="connsiteX27" fmla="*/ 650095 w 761692"/>
                    <a:gd name="connsiteY27" fmla="*/ 136396 h 1016771"/>
                    <a:gd name="connsiteX28" fmla="*/ 655409 w 761692"/>
                    <a:gd name="connsiteY28" fmla="*/ 155881 h 1016771"/>
                    <a:gd name="connsiteX29" fmla="*/ 662495 w 761692"/>
                    <a:gd name="connsiteY29" fmla="*/ 171824 h 1016771"/>
                    <a:gd name="connsiteX30" fmla="*/ 660724 w 761692"/>
                    <a:gd name="connsiteY30" fmla="*/ 185995 h 1016771"/>
                    <a:gd name="connsiteX31" fmla="*/ 635924 w 761692"/>
                    <a:gd name="connsiteY31" fmla="*/ 194852 h 1016771"/>
                    <a:gd name="connsiteX32" fmla="*/ 619982 w 761692"/>
                    <a:gd name="connsiteY32" fmla="*/ 207251 h 1016771"/>
                    <a:gd name="connsiteX33" fmla="*/ 614668 w 761692"/>
                    <a:gd name="connsiteY33" fmla="*/ 223194 h 1016771"/>
                    <a:gd name="connsiteX34" fmla="*/ 618211 w 761692"/>
                    <a:gd name="connsiteY34" fmla="*/ 242679 h 1016771"/>
                    <a:gd name="connsiteX35" fmla="*/ 612896 w 761692"/>
                    <a:gd name="connsiteY35" fmla="*/ 256850 h 1016771"/>
                    <a:gd name="connsiteX36" fmla="*/ 625296 w 761692"/>
                    <a:gd name="connsiteY36" fmla="*/ 267478 h 1016771"/>
                    <a:gd name="connsiteX37" fmla="*/ 641238 w 761692"/>
                    <a:gd name="connsiteY37" fmla="*/ 269250 h 1016771"/>
                    <a:gd name="connsiteX38" fmla="*/ 658952 w 761692"/>
                    <a:gd name="connsiteY38" fmla="*/ 286963 h 1016771"/>
                    <a:gd name="connsiteX39" fmla="*/ 653638 w 761692"/>
                    <a:gd name="connsiteY39" fmla="*/ 309991 h 1016771"/>
                    <a:gd name="connsiteX40" fmla="*/ 653638 w 761692"/>
                    <a:gd name="connsiteY40" fmla="*/ 329476 h 1016771"/>
                    <a:gd name="connsiteX41" fmla="*/ 643010 w 761692"/>
                    <a:gd name="connsiteY41" fmla="*/ 338333 h 1016771"/>
                    <a:gd name="connsiteX42" fmla="*/ 632382 w 761692"/>
                    <a:gd name="connsiteY42" fmla="*/ 338333 h 1016771"/>
                    <a:gd name="connsiteX43" fmla="*/ 618211 w 761692"/>
                    <a:gd name="connsiteY43" fmla="*/ 357819 h 1016771"/>
                    <a:gd name="connsiteX44" fmla="*/ 609354 w 761692"/>
                    <a:gd name="connsiteY44" fmla="*/ 361361 h 1016771"/>
                    <a:gd name="connsiteX45" fmla="*/ 596954 w 761692"/>
                    <a:gd name="connsiteY45" fmla="*/ 363133 h 1016771"/>
                    <a:gd name="connsiteX46" fmla="*/ 581012 w 761692"/>
                    <a:gd name="connsiteY46" fmla="*/ 379075 h 1016771"/>
                    <a:gd name="connsiteX47" fmla="*/ 589868 w 761692"/>
                    <a:gd name="connsiteY47" fmla="*/ 393246 h 1016771"/>
                    <a:gd name="connsiteX48" fmla="*/ 586326 w 761692"/>
                    <a:gd name="connsiteY48" fmla="*/ 409189 h 1016771"/>
                    <a:gd name="connsiteX49" fmla="*/ 570383 w 761692"/>
                    <a:gd name="connsiteY49" fmla="*/ 398560 h 1016771"/>
                    <a:gd name="connsiteX50" fmla="*/ 550898 w 761692"/>
                    <a:gd name="connsiteY50" fmla="*/ 405646 h 1016771"/>
                    <a:gd name="connsiteX51" fmla="*/ 531413 w 761692"/>
                    <a:gd name="connsiteY51" fmla="*/ 425131 h 1016771"/>
                    <a:gd name="connsiteX52" fmla="*/ 543813 w 761692"/>
                    <a:gd name="connsiteY52" fmla="*/ 444616 h 1016771"/>
                    <a:gd name="connsiteX53" fmla="*/ 557984 w 761692"/>
                    <a:gd name="connsiteY53" fmla="*/ 462330 h 1016771"/>
                    <a:gd name="connsiteX54" fmla="*/ 570383 w 761692"/>
                    <a:gd name="connsiteY54" fmla="*/ 478272 h 1016771"/>
                    <a:gd name="connsiteX55" fmla="*/ 579240 w 761692"/>
                    <a:gd name="connsiteY55" fmla="*/ 485358 h 1016771"/>
                    <a:gd name="connsiteX56" fmla="*/ 602268 w 761692"/>
                    <a:gd name="connsiteY56" fmla="*/ 483586 h 1016771"/>
                    <a:gd name="connsiteX57" fmla="*/ 623525 w 761692"/>
                    <a:gd name="connsiteY57" fmla="*/ 474730 h 1016771"/>
                    <a:gd name="connsiteX58" fmla="*/ 639467 w 761692"/>
                    <a:gd name="connsiteY58" fmla="*/ 464101 h 1016771"/>
                    <a:gd name="connsiteX59" fmla="*/ 662495 w 761692"/>
                    <a:gd name="connsiteY59" fmla="*/ 464101 h 1016771"/>
                    <a:gd name="connsiteX60" fmla="*/ 673123 w 761692"/>
                    <a:gd name="connsiteY60" fmla="*/ 464101 h 1016771"/>
                    <a:gd name="connsiteX61" fmla="*/ 681980 w 761692"/>
                    <a:gd name="connsiteY61" fmla="*/ 467644 h 1016771"/>
                    <a:gd name="connsiteX62" fmla="*/ 703237 w 761692"/>
                    <a:gd name="connsiteY62" fmla="*/ 471187 h 1016771"/>
                    <a:gd name="connsiteX63" fmla="*/ 708551 w 761692"/>
                    <a:gd name="connsiteY63" fmla="*/ 474730 h 1016771"/>
                    <a:gd name="connsiteX64" fmla="*/ 722722 w 761692"/>
                    <a:gd name="connsiteY64" fmla="*/ 501300 h 1016771"/>
                    <a:gd name="connsiteX65" fmla="*/ 724493 w 761692"/>
                    <a:gd name="connsiteY65" fmla="*/ 522557 h 1016771"/>
                    <a:gd name="connsiteX66" fmla="*/ 722722 w 761692"/>
                    <a:gd name="connsiteY66" fmla="*/ 540271 h 1016771"/>
                    <a:gd name="connsiteX67" fmla="*/ 735121 w 761692"/>
                    <a:gd name="connsiteY67" fmla="*/ 552670 h 1016771"/>
                    <a:gd name="connsiteX68" fmla="*/ 735121 w 761692"/>
                    <a:gd name="connsiteY68" fmla="*/ 570384 h 1016771"/>
                    <a:gd name="connsiteX69" fmla="*/ 751064 w 761692"/>
                    <a:gd name="connsiteY69" fmla="*/ 581012 h 1016771"/>
                    <a:gd name="connsiteX70" fmla="*/ 761692 w 761692"/>
                    <a:gd name="connsiteY70" fmla="*/ 604040 h 1016771"/>
                    <a:gd name="connsiteX71" fmla="*/ 747521 w 761692"/>
                    <a:gd name="connsiteY71" fmla="*/ 616440 h 1016771"/>
                    <a:gd name="connsiteX72" fmla="*/ 728036 w 761692"/>
                    <a:gd name="connsiteY72" fmla="*/ 627068 h 1016771"/>
                    <a:gd name="connsiteX73" fmla="*/ 726264 w 761692"/>
                    <a:gd name="connsiteY73" fmla="*/ 650096 h 1016771"/>
                    <a:gd name="connsiteX74" fmla="*/ 728036 w 761692"/>
                    <a:gd name="connsiteY74" fmla="*/ 673124 h 1016771"/>
                    <a:gd name="connsiteX75" fmla="*/ 742207 w 761692"/>
                    <a:gd name="connsiteY75" fmla="*/ 689066 h 1016771"/>
                    <a:gd name="connsiteX76" fmla="*/ 742207 w 761692"/>
                    <a:gd name="connsiteY76" fmla="*/ 712094 h 1016771"/>
                    <a:gd name="connsiteX77" fmla="*/ 740435 w 761692"/>
                    <a:gd name="connsiteY77" fmla="*/ 735122 h 1016771"/>
                    <a:gd name="connsiteX78" fmla="*/ 742207 w 761692"/>
                    <a:gd name="connsiteY78" fmla="*/ 751065 h 1016771"/>
                    <a:gd name="connsiteX79" fmla="*/ 747521 w 761692"/>
                    <a:gd name="connsiteY79" fmla="*/ 768778 h 1016771"/>
                    <a:gd name="connsiteX80" fmla="*/ 759921 w 761692"/>
                    <a:gd name="connsiteY80" fmla="*/ 777635 h 1016771"/>
                    <a:gd name="connsiteX81" fmla="*/ 758149 w 761692"/>
                    <a:gd name="connsiteY81" fmla="*/ 802434 h 1016771"/>
                    <a:gd name="connsiteX82" fmla="*/ 752835 w 761692"/>
                    <a:gd name="connsiteY82" fmla="*/ 814834 h 1016771"/>
                    <a:gd name="connsiteX83" fmla="*/ 743978 w 761692"/>
                    <a:gd name="connsiteY83" fmla="*/ 827234 h 1016771"/>
                    <a:gd name="connsiteX84" fmla="*/ 743978 w 761692"/>
                    <a:gd name="connsiteY84" fmla="*/ 837862 h 1016771"/>
                    <a:gd name="connsiteX85" fmla="*/ 747521 w 761692"/>
                    <a:gd name="connsiteY85" fmla="*/ 853804 h 1016771"/>
                    <a:gd name="connsiteX86" fmla="*/ 733350 w 761692"/>
                    <a:gd name="connsiteY86" fmla="*/ 867975 h 1016771"/>
                    <a:gd name="connsiteX87" fmla="*/ 724493 w 761692"/>
                    <a:gd name="connsiteY87" fmla="*/ 880375 h 1016771"/>
                    <a:gd name="connsiteX88" fmla="*/ 722722 w 761692"/>
                    <a:gd name="connsiteY88" fmla="*/ 899860 h 1016771"/>
                    <a:gd name="connsiteX89" fmla="*/ 722722 w 761692"/>
                    <a:gd name="connsiteY89" fmla="*/ 919345 h 1016771"/>
                    <a:gd name="connsiteX90" fmla="*/ 715636 w 761692"/>
                    <a:gd name="connsiteY90" fmla="*/ 940602 h 1016771"/>
                    <a:gd name="connsiteX91" fmla="*/ 708551 w 761692"/>
                    <a:gd name="connsiteY91" fmla="*/ 954773 h 1016771"/>
                    <a:gd name="connsiteX92" fmla="*/ 699694 w 761692"/>
                    <a:gd name="connsiteY92" fmla="*/ 965401 h 1016771"/>
                    <a:gd name="connsiteX93" fmla="*/ 692608 w 761692"/>
                    <a:gd name="connsiteY93" fmla="*/ 984886 h 1016771"/>
                    <a:gd name="connsiteX94" fmla="*/ 683751 w 761692"/>
                    <a:gd name="connsiteY94" fmla="*/ 997286 h 1016771"/>
                    <a:gd name="connsiteX95" fmla="*/ 673123 w 761692"/>
                    <a:gd name="connsiteY95" fmla="*/ 1002600 h 1016771"/>
                    <a:gd name="connsiteX96" fmla="*/ 662495 w 761692"/>
                    <a:gd name="connsiteY96" fmla="*/ 1013228 h 1016771"/>
                    <a:gd name="connsiteX97" fmla="*/ 644781 w 761692"/>
                    <a:gd name="connsiteY97" fmla="*/ 1016771 h 1016771"/>
                    <a:gd name="connsiteX98" fmla="*/ 635924 w 761692"/>
                    <a:gd name="connsiteY98" fmla="*/ 1004372 h 1016771"/>
                    <a:gd name="connsiteX99" fmla="*/ 623525 w 761692"/>
                    <a:gd name="connsiteY99" fmla="*/ 997286 h 1016771"/>
                    <a:gd name="connsiteX100" fmla="*/ 614668 w 761692"/>
                    <a:gd name="connsiteY100" fmla="*/ 986658 h 1016771"/>
                    <a:gd name="connsiteX101" fmla="*/ 593411 w 761692"/>
                    <a:gd name="connsiteY101" fmla="*/ 970715 h 1016771"/>
                    <a:gd name="connsiteX102" fmla="*/ 582783 w 761692"/>
                    <a:gd name="connsiteY102" fmla="*/ 965401 h 1016771"/>
                    <a:gd name="connsiteX103" fmla="*/ 531413 w 761692"/>
                    <a:gd name="connsiteY103" fmla="*/ 965401 h 1016771"/>
                    <a:gd name="connsiteX104" fmla="*/ 511928 w 761692"/>
                    <a:gd name="connsiteY104" fmla="*/ 965401 h 1016771"/>
                    <a:gd name="connsiteX105" fmla="*/ 492443 w 761692"/>
                    <a:gd name="connsiteY105" fmla="*/ 963630 h 1016771"/>
                    <a:gd name="connsiteX106" fmla="*/ 483586 w 761692"/>
                    <a:gd name="connsiteY106" fmla="*/ 958316 h 1016771"/>
                    <a:gd name="connsiteX107" fmla="*/ 469415 w 761692"/>
                    <a:gd name="connsiteY107" fmla="*/ 954773 h 1016771"/>
                    <a:gd name="connsiteX108" fmla="*/ 460558 w 761692"/>
                    <a:gd name="connsiteY108" fmla="*/ 942373 h 1016771"/>
                    <a:gd name="connsiteX109" fmla="*/ 446387 w 761692"/>
                    <a:gd name="connsiteY109" fmla="*/ 935288 h 1016771"/>
                    <a:gd name="connsiteX110" fmla="*/ 428673 w 761692"/>
                    <a:gd name="connsiteY110" fmla="*/ 928202 h 1016771"/>
                    <a:gd name="connsiteX111" fmla="*/ 418045 w 761692"/>
                    <a:gd name="connsiteY111" fmla="*/ 917574 h 1016771"/>
                    <a:gd name="connsiteX112" fmla="*/ 421588 w 761692"/>
                    <a:gd name="connsiteY112" fmla="*/ 903403 h 1016771"/>
                    <a:gd name="connsiteX113" fmla="*/ 418045 w 761692"/>
                    <a:gd name="connsiteY113" fmla="*/ 898089 h 1016771"/>
                    <a:gd name="connsiteX114" fmla="*/ 396788 w 761692"/>
                    <a:gd name="connsiteY114" fmla="*/ 898089 h 1016771"/>
                    <a:gd name="connsiteX115" fmla="*/ 382617 w 761692"/>
                    <a:gd name="connsiteY115" fmla="*/ 896318 h 1016771"/>
                    <a:gd name="connsiteX116" fmla="*/ 380846 w 761692"/>
                    <a:gd name="connsiteY116" fmla="*/ 906946 h 1016771"/>
                    <a:gd name="connsiteX117" fmla="*/ 373601 w 761692"/>
                    <a:gd name="connsiteY117" fmla="*/ 894832 h 1016771"/>
                    <a:gd name="connsiteX118" fmla="*/ 387164 w 761692"/>
                    <a:gd name="connsiteY118" fmla="*/ 896527 h 1016771"/>
                    <a:gd name="connsiteX119" fmla="*/ 383773 w 761692"/>
                    <a:gd name="connsiteY119" fmla="*/ 886355 h 1016771"/>
                    <a:gd name="connsiteX120" fmla="*/ 387164 w 761692"/>
                    <a:gd name="connsiteY120" fmla="*/ 876183 h 1016771"/>
                    <a:gd name="connsiteX121" fmla="*/ 388859 w 761692"/>
                    <a:gd name="connsiteY121" fmla="*/ 867707 h 1016771"/>
                    <a:gd name="connsiteX122" fmla="*/ 380382 w 761692"/>
                    <a:gd name="connsiteY122" fmla="*/ 859230 h 1016771"/>
                    <a:gd name="connsiteX123" fmla="*/ 373601 w 761692"/>
                    <a:gd name="connsiteY123" fmla="*/ 849058 h 1016771"/>
                    <a:gd name="connsiteX124" fmla="*/ 380382 w 761692"/>
                    <a:gd name="connsiteY124" fmla="*/ 838886 h 1016771"/>
                    <a:gd name="connsiteX125" fmla="*/ 383773 w 761692"/>
                    <a:gd name="connsiteY125" fmla="*/ 833800 h 1016771"/>
                    <a:gd name="connsiteX126" fmla="*/ 388859 w 761692"/>
                    <a:gd name="connsiteY126" fmla="*/ 825324 h 1016771"/>
                    <a:gd name="connsiteX127" fmla="*/ 387164 w 761692"/>
                    <a:gd name="connsiteY127" fmla="*/ 810066 h 1016771"/>
                    <a:gd name="connsiteX128" fmla="*/ 387164 w 761692"/>
                    <a:gd name="connsiteY128" fmla="*/ 796503 h 1016771"/>
                    <a:gd name="connsiteX129" fmla="*/ 378687 w 761692"/>
                    <a:gd name="connsiteY129" fmla="*/ 789722 h 1016771"/>
                    <a:gd name="connsiteX130" fmla="*/ 366820 w 761692"/>
                    <a:gd name="connsiteY130" fmla="*/ 782940 h 1016771"/>
                    <a:gd name="connsiteX131" fmla="*/ 356648 w 761692"/>
                    <a:gd name="connsiteY131" fmla="*/ 781245 h 1016771"/>
                    <a:gd name="connsiteX132" fmla="*/ 349866 w 761692"/>
                    <a:gd name="connsiteY132" fmla="*/ 771073 h 1016771"/>
                    <a:gd name="connsiteX133" fmla="*/ 349866 w 761692"/>
                    <a:gd name="connsiteY133" fmla="*/ 752425 h 1016771"/>
                    <a:gd name="connsiteX134" fmla="*/ 353257 w 761692"/>
                    <a:gd name="connsiteY134" fmla="*/ 743948 h 1016771"/>
                    <a:gd name="connsiteX135" fmla="*/ 354952 w 761692"/>
                    <a:gd name="connsiteY135" fmla="*/ 730385 h 1016771"/>
                    <a:gd name="connsiteX136" fmla="*/ 353257 w 761692"/>
                    <a:gd name="connsiteY136" fmla="*/ 713432 h 1016771"/>
                    <a:gd name="connsiteX137" fmla="*/ 346476 w 761692"/>
                    <a:gd name="connsiteY137" fmla="*/ 701565 h 1016771"/>
                    <a:gd name="connsiteX138" fmla="*/ 332913 w 761692"/>
                    <a:gd name="connsiteY138" fmla="*/ 689697 h 1016771"/>
                    <a:gd name="connsiteX139" fmla="*/ 324436 w 761692"/>
                    <a:gd name="connsiteY139" fmla="*/ 681221 h 1016771"/>
                    <a:gd name="connsiteX140" fmla="*/ 314264 w 761692"/>
                    <a:gd name="connsiteY140" fmla="*/ 676135 h 1016771"/>
                    <a:gd name="connsiteX141" fmla="*/ 293920 w 761692"/>
                    <a:gd name="connsiteY141" fmla="*/ 669354 h 1016771"/>
                    <a:gd name="connsiteX142" fmla="*/ 282053 w 761692"/>
                    <a:gd name="connsiteY142" fmla="*/ 667658 h 1016771"/>
                    <a:gd name="connsiteX143" fmla="*/ 266795 w 761692"/>
                    <a:gd name="connsiteY143" fmla="*/ 672744 h 1016771"/>
                    <a:gd name="connsiteX144" fmla="*/ 265100 w 761692"/>
                    <a:gd name="connsiteY144" fmla="*/ 672744 h 1016771"/>
                    <a:gd name="connsiteX145" fmla="*/ 263404 w 761692"/>
                    <a:gd name="connsiteY145" fmla="*/ 671049 h 1016771"/>
                    <a:gd name="connsiteX146" fmla="*/ 260014 w 761692"/>
                    <a:gd name="connsiteY146" fmla="*/ 671049 h 1016771"/>
                    <a:gd name="connsiteX147" fmla="*/ 258318 w 761692"/>
                    <a:gd name="connsiteY147" fmla="*/ 671049 h 1016771"/>
                    <a:gd name="connsiteX148" fmla="*/ 253232 w 761692"/>
                    <a:gd name="connsiteY148" fmla="*/ 671049 h 1016771"/>
                    <a:gd name="connsiteX149" fmla="*/ 248146 w 761692"/>
                    <a:gd name="connsiteY149" fmla="*/ 672744 h 1016771"/>
                    <a:gd name="connsiteX150" fmla="*/ 248146 w 761692"/>
                    <a:gd name="connsiteY150" fmla="*/ 674440 h 1016771"/>
                    <a:gd name="connsiteX151" fmla="*/ 246451 w 761692"/>
                    <a:gd name="connsiteY151" fmla="*/ 674440 h 1016771"/>
                    <a:gd name="connsiteX152" fmla="*/ 236279 w 761692"/>
                    <a:gd name="connsiteY152" fmla="*/ 679526 h 1016771"/>
                    <a:gd name="connsiteX153" fmla="*/ 226107 w 761692"/>
                    <a:gd name="connsiteY153" fmla="*/ 684612 h 1016771"/>
                    <a:gd name="connsiteX154" fmla="*/ 217630 w 761692"/>
                    <a:gd name="connsiteY154" fmla="*/ 684612 h 1016771"/>
                    <a:gd name="connsiteX155" fmla="*/ 207458 w 761692"/>
                    <a:gd name="connsiteY155" fmla="*/ 693088 h 1016771"/>
                    <a:gd name="connsiteX156" fmla="*/ 198982 w 761692"/>
                    <a:gd name="connsiteY156" fmla="*/ 694783 h 1016771"/>
                    <a:gd name="connsiteX157" fmla="*/ 192200 w 761692"/>
                    <a:gd name="connsiteY157" fmla="*/ 699869 h 1016771"/>
                    <a:gd name="connsiteX158" fmla="*/ 178638 w 761692"/>
                    <a:gd name="connsiteY158" fmla="*/ 706651 h 1016771"/>
                    <a:gd name="connsiteX159" fmla="*/ 163380 w 761692"/>
                    <a:gd name="connsiteY159" fmla="*/ 710041 h 1016771"/>
                    <a:gd name="connsiteX160" fmla="*/ 141340 w 761692"/>
                    <a:gd name="connsiteY160" fmla="*/ 710041 h 1016771"/>
                    <a:gd name="connsiteX161" fmla="*/ 134559 w 761692"/>
                    <a:gd name="connsiteY161" fmla="*/ 716823 h 1016771"/>
                    <a:gd name="connsiteX162" fmla="*/ 127778 w 761692"/>
                    <a:gd name="connsiteY162" fmla="*/ 718518 h 1016771"/>
                    <a:gd name="connsiteX163" fmla="*/ 120996 w 761692"/>
                    <a:gd name="connsiteY163" fmla="*/ 725299 h 1016771"/>
                    <a:gd name="connsiteX164" fmla="*/ 111172 w 761692"/>
                    <a:gd name="connsiteY164" fmla="*/ 733720 h 1016771"/>
                    <a:gd name="connsiteX165" fmla="*/ 106283 w 761692"/>
                    <a:gd name="connsiteY165" fmla="*/ 729808 h 1016771"/>
                    <a:gd name="connsiteX166" fmla="*/ 92112 w 761692"/>
                    <a:gd name="connsiteY166" fmla="*/ 724494 h 1016771"/>
                    <a:gd name="connsiteX167" fmla="*/ 77941 w 761692"/>
                    <a:gd name="connsiteY167" fmla="*/ 726265 h 1016771"/>
                    <a:gd name="connsiteX168" fmla="*/ 70855 w 761692"/>
                    <a:gd name="connsiteY168" fmla="*/ 719180 h 1016771"/>
                    <a:gd name="connsiteX169" fmla="*/ 70855 w 761692"/>
                    <a:gd name="connsiteY169" fmla="*/ 699695 h 1016771"/>
                    <a:gd name="connsiteX170" fmla="*/ 81483 w 761692"/>
                    <a:gd name="connsiteY170" fmla="*/ 685524 h 1016771"/>
                    <a:gd name="connsiteX171" fmla="*/ 85026 w 761692"/>
                    <a:gd name="connsiteY171" fmla="*/ 673124 h 1016771"/>
                    <a:gd name="connsiteX172" fmla="*/ 86797 w 761692"/>
                    <a:gd name="connsiteY172" fmla="*/ 660724 h 1016771"/>
                    <a:gd name="connsiteX173" fmla="*/ 97426 w 761692"/>
                    <a:gd name="connsiteY173" fmla="*/ 650096 h 1016771"/>
                    <a:gd name="connsiteX174" fmla="*/ 102740 w 761692"/>
                    <a:gd name="connsiteY174" fmla="*/ 635925 h 1016771"/>
                    <a:gd name="connsiteX175" fmla="*/ 113368 w 761692"/>
                    <a:gd name="connsiteY175" fmla="*/ 625297 h 1016771"/>
                    <a:gd name="connsiteX176" fmla="*/ 115139 w 761692"/>
                    <a:gd name="connsiteY176" fmla="*/ 612897 h 1016771"/>
                    <a:gd name="connsiteX177" fmla="*/ 127539 w 761692"/>
                    <a:gd name="connsiteY177" fmla="*/ 609354 h 1016771"/>
                    <a:gd name="connsiteX178" fmla="*/ 136396 w 761692"/>
                    <a:gd name="connsiteY178" fmla="*/ 604040 h 1016771"/>
                    <a:gd name="connsiteX179" fmla="*/ 132853 w 761692"/>
                    <a:gd name="connsiteY179" fmla="*/ 593412 h 1016771"/>
                    <a:gd name="connsiteX180" fmla="*/ 134625 w 761692"/>
                    <a:gd name="connsiteY180" fmla="*/ 584555 h 1016771"/>
                    <a:gd name="connsiteX181" fmla="*/ 131082 w 761692"/>
                    <a:gd name="connsiteY181" fmla="*/ 575698 h 1016771"/>
                    <a:gd name="connsiteX182" fmla="*/ 120454 w 761692"/>
                    <a:gd name="connsiteY182" fmla="*/ 568613 h 1016771"/>
                    <a:gd name="connsiteX183" fmla="*/ 125768 w 761692"/>
                    <a:gd name="connsiteY183" fmla="*/ 552670 h 1016771"/>
                    <a:gd name="connsiteX184" fmla="*/ 118682 w 761692"/>
                    <a:gd name="connsiteY184" fmla="*/ 543813 h 1016771"/>
                    <a:gd name="connsiteX185" fmla="*/ 90340 w 761692"/>
                    <a:gd name="connsiteY185" fmla="*/ 543813 h 1016771"/>
                    <a:gd name="connsiteX186" fmla="*/ 86797 w 761692"/>
                    <a:gd name="connsiteY186" fmla="*/ 542042 h 1016771"/>
                    <a:gd name="connsiteX187" fmla="*/ 83255 w 761692"/>
                    <a:gd name="connsiteY187" fmla="*/ 542042 h 1016771"/>
                    <a:gd name="connsiteX188" fmla="*/ 81483 w 761692"/>
                    <a:gd name="connsiteY188" fmla="*/ 540271 h 1016771"/>
                    <a:gd name="connsiteX189" fmla="*/ 81483 w 761692"/>
                    <a:gd name="connsiteY189" fmla="*/ 536728 h 1016771"/>
                    <a:gd name="connsiteX190" fmla="*/ 79712 w 761692"/>
                    <a:gd name="connsiteY190" fmla="*/ 531414 h 1016771"/>
                    <a:gd name="connsiteX191" fmla="*/ 77941 w 761692"/>
                    <a:gd name="connsiteY191" fmla="*/ 529642 h 1016771"/>
                    <a:gd name="connsiteX192" fmla="*/ 70855 w 761692"/>
                    <a:gd name="connsiteY192" fmla="*/ 527871 h 1016771"/>
                    <a:gd name="connsiteX193" fmla="*/ 60227 w 761692"/>
                    <a:gd name="connsiteY193" fmla="*/ 536728 h 1016771"/>
                    <a:gd name="connsiteX194" fmla="*/ 47827 w 761692"/>
                    <a:gd name="connsiteY194" fmla="*/ 526100 h 1016771"/>
                    <a:gd name="connsiteX195" fmla="*/ 42513 w 761692"/>
                    <a:gd name="connsiteY195" fmla="*/ 515471 h 1016771"/>
                    <a:gd name="connsiteX196" fmla="*/ 33656 w 761692"/>
                    <a:gd name="connsiteY196" fmla="*/ 506614 h 1016771"/>
                    <a:gd name="connsiteX197" fmla="*/ 31885 w 761692"/>
                    <a:gd name="connsiteY197" fmla="*/ 490672 h 1016771"/>
                    <a:gd name="connsiteX198" fmla="*/ 26571 w 761692"/>
                    <a:gd name="connsiteY198" fmla="*/ 476501 h 1016771"/>
                    <a:gd name="connsiteX199" fmla="*/ 24799 w 761692"/>
                    <a:gd name="connsiteY199" fmla="*/ 471187 h 1016771"/>
                    <a:gd name="connsiteX200" fmla="*/ 12400 w 761692"/>
                    <a:gd name="connsiteY200" fmla="*/ 472958 h 1016771"/>
                    <a:gd name="connsiteX201" fmla="*/ 7086 w 761692"/>
                    <a:gd name="connsiteY201" fmla="*/ 464101 h 1016771"/>
                    <a:gd name="connsiteX202" fmla="*/ 8857 w 761692"/>
                    <a:gd name="connsiteY202" fmla="*/ 446388 h 1016771"/>
                    <a:gd name="connsiteX203" fmla="*/ 3543 w 761692"/>
                    <a:gd name="connsiteY203" fmla="*/ 435759 h 1016771"/>
                    <a:gd name="connsiteX204" fmla="*/ 5314 w 761692"/>
                    <a:gd name="connsiteY204" fmla="*/ 412731 h 1016771"/>
                    <a:gd name="connsiteX205" fmla="*/ 0 w 761692"/>
                    <a:gd name="connsiteY205" fmla="*/ 396789 h 1016771"/>
                    <a:gd name="connsiteX206" fmla="*/ 3543 w 761692"/>
                    <a:gd name="connsiteY206" fmla="*/ 384389 h 1016771"/>
                    <a:gd name="connsiteX207" fmla="*/ 14171 w 761692"/>
                    <a:gd name="connsiteY207" fmla="*/ 380846 h 1016771"/>
                    <a:gd name="connsiteX208" fmla="*/ 24799 w 761692"/>
                    <a:gd name="connsiteY208" fmla="*/ 364904 h 1016771"/>
                    <a:gd name="connsiteX209" fmla="*/ 30113 w 761692"/>
                    <a:gd name="connsiteY209" fmla="*/ 350733 h 1016771"/>
                    <a:gd name="connsiteX210" fmla="*/ 35428 w 761692"/>
                    <a:gd name="connsiteY210" fmla="*/ 341876 h 1016771"/>
                    <a:gd name="connsiteX211" fmla="*/ 42513 w 761692"/>
                    <a:gd name="connsiteY211" fmla="*/ 327705 h 1016771"/>
                    <a:gd name="connsiteX212" fmla="*/ 42513 w 761692"/>
                    <a:gd name="connsiteY212" fmla="*/ 315305 h 1016771"/>
                    <a:gd name="connsiteX213" fmla="*/ 56684 w 761692"/>
                    <a:gd name="connsiteY213" fmla="*/ 309991 h 1016771"/>
                    <a:gd name="connsiteX214" fmla="*/ 60227 w 761692"/>
                    <a:gd name="connsiteY214" fmla="*/ 309991 h 1016771"/>
                    <a:gd name="connsiteX215" fmla="*/ 61998 w 761692"/>
                    <a:gd name="connsiteY215" fmla="*/ 311763 h 1016771"/>
                    <a:gd name="connsiteX216" fmla="*/ 67312 w 761692"/>
                    <a:gd name="connsiteY216" fmla="*/ 311763 h 1016771"/>
                    <a:gd name="connsiteX217" fmla="*/ 67312 w 761692"/>
                    <a:gd name="connsiteY217" fmla="*/ 309991 h 1016771"/>
                    <a:gd name="connsiteX218" fmla="*/ 67312 w 761692"/>
                    <a:gd name="connsiteY218" fmla="*/ 308220 h 1016771"/>
                    <a:gd name="connsiteX219" fmla="*/ 69084 w 761692"/>
                    <a:gd name="connsiteY219" fmla="*/ 302906 h 1016771"/>
                    <a:gd name="connsiteX220" fmla="*/ 70855 w 761692"/>
                    <a:gd name="connsiteY220" fmla="*/ 301134 h 1016771"/>
                    <a:gd name="connsiteX221" fmla="*/ 70855 w 761692"/>
                    <a:gd name="connsiteY221" fmla="*/ 299363 h 1016771"/>
                    <a:gd name="connsiteX222" fmla="*/ 77941 w 761692"/>
                    <a:gd name="connsiteY222" fmla="*/ 295820 h 1016771"/>
                    <a:gd name="connsiteX223" fmla="*/ 85026 w 761692"/>
                    <a:gd name="connsiteY223" fmla="*/ 295820 h 1016771"/>
                    <a:gd name="connsiteX224" fmla="*/ 93883 w 761692"/>
                    <a:gd name="connsiteY224" fmla="*/ 297592 h 1016771"/>
                    <a:gd name="connsiteX225" fmla="*/ 100968 w 761692"/>
                    <a:gd name="connsiteY225" fmla="*/ 288735 h 1016771"/>
                    <a:gd name="connsiteX226" fmla="*/ 97426 w 761692"/>
                    <a:gd name="connsiteY226" fmla="*/ 279878 h 1016771"/>
                    <a:gd name="connsiteX227" fmla="*/ 85026 w 761692"/>
                    <a:gd name="connsiteY227" fmla="*/ 276335 h 1016771"/>
                    <a:gd name="connsiteX228" fmla="*/ 76169 w 761692"/>
                    <a:gd name="connsiteY228" fmla="*/ 271021 h 1016771"/>
                    <a:gd name="connsiteX229" fmla="*/ 76169 w 761692"/>
                    <a:gd name="connsiteY229" fmla="*/ 262164 h 1016771"/>
                    <a:gd name="connsiteX230" fmla="*/ 81483 w 761692"/>
                    <a:gd name="connsiteY230" fmla="*/ 251536 h 1016771"/>
                    <a:gd name="connsiteX231" fmla="*/ 86797 w 761692"/>
                    <a:gd name="connsiteY231" fmla="*/ 255079 h 1016771"/>
                    <a:gd name="connsiteX232" fmla="*/ 104511 w 761692"/>
                    <a:gd name="connsiteY232" fmla="*/ 262164 h 1016771"/>
                    <a:gd name="connsiteX233" fmla="*/ 116911 w 761692"/>
                    <a:gd name="connsiteY233" fmla="*/ 265707 h 1016771"/>
                    <a:gd name="connsiteX234" fmla="*/ 132853 w 761692"/>
                    <a:gd name="connsiteY234" fmla="*/ 269250 h 1016771"/>
                    <a:gd name="connsiteX235" fmla="*/ 138167 w 761692"/>
                    <a:gd name="connsiteY235" fmla="*/ 265707 h 1016771"/>
                    <a:gd name="connsiteX236" fmla="*/ 150567 w 761692"/>
                    <a:gd name="connsiteY236" fmla="*/ 255079 h 1016771"/>
                    <a:gd name="connsiteX237" fmla="*/ 166509 w 761692"/>
                    <a:gd name="connsiteY237" fmla="*/ 255079 h 1016771"/>
                    <a:gd name="connsiteX238" fmla="*/ 166509 w 761692"/>
                    <a:gd name="connsiteY238" fmla="*/ 265707 h 1016771"/>
                    <a:gd name="connsiteX239" fmla="*/ 177138 w 761692"/>
                    <a:gd name="connsiteY239" fmla="*/ 272792 h 1016771"/>
                    <a:gd name="connsiteX240" fmla="*/ 194851 w 761692"/>
                    <a:gd name="connsiteY240" fmla="*/ 276335 h 1016771"/>
                    <a:gd name="connsiteX241" fmla="*/ 209022 w 761692"/>
                    <a:gd name="connsiteY241" fmla="*/ 279878 h 1016771"/>
                    <a:gd name="connsiteX242" fmla="*/ 221422 w 761692"/>
                    <a:gd name="connsiteY242" fmla="*/ 276335 h 1016771"/>
                    <a:gd name="connsiteX243" fmla="*/ 226736 w 761692"/>
                    <a:gd name="connsiteY243" fmla="*/ 269250 h 1016771"/>
                    <a:gd name="connsiteX244" fmla="*/ 226736 w 761692"/>
                    <a:gd name="connsiteY244" fmla="*/ 251536 h 1016771"/>
                    <a:gd name="connsiteX245" fmla="*/ 224965 w 761692"/>
                    <a:gd name="connsiteY245" fmla="*/ 239136 h 1016771"/>
                    <a:gd name="connsiteX246" fmla="*/ 214337 w 761692"/>
                    <a:gd name="connsiteY246" fmla="*/ 230279 h 1016771"/>
                    <a:gd name="connsiteX247" fmla="*/ 210794 w 761692"/>
                    <a:gd name="connsiteY247" fmla="*/ 217880 h 1016771"/>
                    <a:gd name="connsiteX248" fmla="*/ 221422 w 761692"/>
                    <a:gd name="connsiteY248" fmla="*/ 207251 h 1016771"/>
                    <a:gd name="connsiteX249" fmla="*/ 235593 w 761692"/>
                    <a:gd name="connsiteY249" fmla="*/ 214337 h 1016771"/>
                    <a:gd name="connsiteX250" fmla="*/ 246221 w 761692"/>
                    <a:gd name="connsiteY250" fmla="*/ 219651 h 1016771"/>
                    <a:gd name="connsiteX251" fmla="*/ 253307 w 761692"/>
                    <a:gd name="connsiteY251" fmla="*/ 221422 h 1016771"/>
                    <a:gd name="connsiteX252" fmla="*/ 262164 w 761692"/>
                    <a:gd name="connsiteY252" fmla="*/ 210794 h 1016771"/>
                    <a:gd name="connsiteX253" fmla="*/ 263935 w 761692"/>
                    <a:gd name="connsiteY253" fmla="*/ 201937 h 1016771"/>
                    <a:gd name="connsiteX254" fmla="*/ 274563 w 761692"/>
                    <a:gd name="connsiteY254" fmla="*/ 189538 h 1016771"/>
                    <a:gd name="connsiteX255" fmla="*/ 283420 w 761692"/>
                    <a:gd name="connsiteY255" fmla="*/ 178909 h 1016771"/>
                    <a:gd name="connsiteX256" fmla="*/ 286963 w 761692"/>
                    <a:gd name="connsiteY256" fmla="*/ 173595 h 1016771"/>
                    <a:gd name="connsiteX257" fmla="*/ 311762 w 761692"/>
                    <a:gd name="connsiteY257" fmla="*/ 168281 h 1016771"/>
                    <a:gd name="connsiteX258" fmla="*/ 325933 w 761692"/>
                    <a:gd name="connsiteY258" fmla="*/ 164738 h 1016771"/>
                    <a:gd name="connsiteX259" fmla="*/ 336562 w 761692"/>
                    <a:gd name="connsiteY259" fmla="*/ 159424 h 1016771"/>
                    <a:gd name="connsiteX260" fmla="*/ 348961 w 761692"/>
                    <a:gd name="connsiteY260" fmla="*/ 145253 h 1016771"/>
                    <a:gd name="connsiteX261" fmla="*/ 359589 w 761692"/>
                    <a:gd name="connsiteY261" fmla="*/ 143482 h 1016771"/>
                    <a:gd name="connsiteX262" fmla="*/ 371989 w 761692"/>
                    <a:gd name="connsiteY262" fmla="*/ 143482 h 1016771"/>
                    <a:gd name="connsiteX263" fmla="*/ 391474 w 761692"/>
                    <a:gd name="connsiteY263" fmla="*/ 143482 h 1016771"/>
                    <a:gd name="connsiteX264" fmla="*/ 396788 w 761692"/>
                    <a:gd name="connsiteY264" fmla="*/ 141710 h 1016771"/>
                    <a:gd name="connsiteX265" fmla="*/ 403874 w 761692"/>
                    <a:gd name="connsiteY265" fmla="*/ 134625 h 1016771"/>
                    <a:gd name="connsiteX266" fmla="*/ 409188 w 761692"/>
                    <a:gd name="connsiteY266" fmla="*/ 129311 h 1016771"/>
                    <a:gd name="connsiteX267" fmla="*/ 409188 w 761692"/>
                    <a:gd name="connsiteY267" fmla="*/ 123997 h 1016771"/>
                    <a:gd name="connsiteX268" fmla="*/ 414502 w 761692"/>
                    <a:gd name="connsiteY268" fmla="*/ 115140 h 1016771"/>
                    <a:gd name="connsiteX269" fmla="*/ 428673 w 761692"/>
                    <a:gd name="connsiteY269" fmla="*/ 115140 h 1016771"/>
                    <a:gd name="connsiteX270" fmla="*/ 432216 w 761692"/>
                    <a:gd name="connsiteY270" fmla="*/ 109826 h 1016771"/>
                    <a:gd name="connsiteX271" fmla="*/ 437530 w 761692"/>
                    <a:gd name="connsiteY271" fmla="*/ 100969 h 1016771"/>
                    <a:gd name="connsiteX272" fmla="*/ 448158 w 761692"/>
                    <a:gd name="connsiteY272" fmla="*/ 99197 h 1016771"/>
                    <a:gd name="connsiteX273" fmla="*/ 460558 w 761692"/>
                    <a:gd name="connsiteY273" fmla="*/ 97426 h 1016771"/>
                    <a:gd name="connsiteX274" fmla="*/ 472958 w 761692"/>
                    <a:gd name="connsiteY274" fmla="*/ 93883 h 1016771"/>
                    <a:gd name="connsiteX275" fmla="*/ 492443 w 761692"/>
                    <a:gd name="connsiteY275" fmla="*/ 93883 h 1016771"/>
                    <a:gd name="connsiteX276" fmla="*/ 501300 w 761692"/>
                    <a:gd name="connsiteY276" fmla="*/ 83255 h 1016771"/>
                    <a:gd name="connsiteX277" fmla="*/ 517242 w 761692"/>
                    <a:gd name="connsiteY277" fmla="*/ 81484 h 1016771"/>
                    <a:gd name="connsiteX278" fmla="*/ 522556 w 761692"/>
                    <a:gd name="connsiteY278" fmla="*/ 81484 h 1016771"/>
                    <a:gd name="connsiteX279" fmla="*/ 522556 w 761692"/>
                    <a:gd name="connsiteY279" fmla="*/ 60227 h 1016771"/>
                    <a:gd name="connsiteX280" fmla="*/ 526099 w 761692"/>
                    <a:gd name="connsiteY280" fmla="*/ 54913 h 1016771"/>
                    <a:gd name="connsiteX281" fmla="*/ 529642 w 761692"/>
                    <a:gd name="connsiteY281" fmla="*/ 46056 h 1016771"/>
                    <a:gd name="connsiteX282" fmla="*/ 538499 w 761692"/>
                    <a:gd name="connsiteY282" fmla="*/ 40742 h 1016771"/>
                    <a:gd name="connsiteX283" fmla="*/ 540270 w 761692"/>
                    <a:gd name="connsiteY283" fmla="*/ 30114 h 1016771"/>
                    <a:gd name="connsiteX284" fmla="*/ 536727 w 761692"/>
                    <a:gd name="connsiteY284" fmla="*/ 19485 h 1016771"/>
                    <a:gd name="connsiteX285" fmla="*/ 543813 w 761692"/>
                    <a:gd name="connsiteY285" fmla="*/ 5314 h 1016771"/>
                    <a:gd name="connsiteX286" fmla="*/ 554441 w 761692"/>
                    <a:gd name="connsiteY286" fmla="*/ 0 h 1016771"/>
                    <a:gd name="connsiteX0" fmla="*/ 116476 w 761692"/>
                    <a:gd name="connsiteY0" fmla="*/ 741349 h 1016771"/>
                    <a:gd name="connsiteX1" fmla="*/ 117606 w 761692"/>
                    <a:gd name="connsiteY1" fmla="*/ 742253 h 1016771"/>
                    <a:gd name="connsiteX2" fmla="*/ 122692 w 761692"/>
                    <a:gd name="connsiteY2" fmla="*/ 759206 h 1016771"/>
                    <a:gd name="connsiteX3" fmla="*/ 126082 w 761692"/>
                    <a:gd name="connsiteY3" fmla="*/ 771073 h 1016771"/>
                    <a:gd name="connsiteX4" fmla="*/ 129473 w 761692"/>
                    <a:gd name="connsiteY4" fmla="*/ 782940 h 1016771"/>
                    <a:gd name="connsiteX5" fmla="*/ 132864 w 761692"/>
                    <a:gd name="connsiteY5" fmla="*/ 793112 h 1016771"/>
                    <a:gd name="connsiteX6" fmla="*/ 131082 w 761692"/>
                    <a:gd name="connsiteY6" fmla="*/ 790035 h 1016771"/>
                    <a:gd name="connsiteX7" fmla="*/ 127539 w 761692"/>
                    <a:gd name="connsiteY7" fmla="*/ 779407 h 1016771"/>
                    <a:gd name="connsiteX8" fmla="*/ 123996 w 761692"/>
                    <a:gd name="connsiteY8" fmla="*/ 767007 h 1016771"/>
                    <a:gd name="connsiteX9" fmla="*/ 120454 w 761692"/>
                    <a:gd name="connsiteY9" fmla="*/ 754607 h 1016771"/>
                    <a:gd name="connsiteX10" fmla="*/ 116476 w 761692"/>
                    <a:gd name="connsiteY10" fmla="*/ 741349 h 1016771"/>
                    <a:gd name="connsiteX11" fmla="*/ 554441 w 761692"/>
                    <a:gd name="connsiteY11" fmla="*/ 0 h 1016771"/>
                    <a:gd name="connsiteX12" fmla="*/ 570383 w 761692"/>
                    <a:gd name="connsiteY12" fmla="*/ 3543 h 1016771"/>
                    <a:gd name="connsiteX13" fmla="*/ 577469 w 761692"/>
                    <a:gd name="connsiteY13" fmla="*/ 8857 h 1016771"/>
                    <a:gd name="connsiteX14" fmla="*/ 582783 w 761692"/>
                    <a:gd name="connsiteY14" fmla="*/ 17714 h 1016771"/>
                    <a:gd name="connsiteX15" fmla="*/ 582783 w 761692"/>
                    <a:gd name="connsiteY15" fmla="*/ 24799 h 1016771"/>
                    <a:gd name="connsiteX16" fmla="*/ 588097 w 761692"/>
                    <a:gd name="connsiteY16" fmla="*/ 33656 h 1016771"/>
                    <a:gd name="connsiteX17" fmla="*/ 598725 w 761692"/>
                    <a:gd name="connsiteY17" fmla="*/ 31885 h 1016771"/>
                    <a:gd name="connsiteX18" fmla="*/ 612896 w 761692"/>
                    <a:gd name="connsiteY18" fmla="*/ 37199 h 1016771"/>
                    <a:gd name="connsiteX19" fmla="*/ 618211 w 761692"/>
                    <a:gd name="connsiteY19" fmla="*/ 46056 h 1016771"/>
                    <a:gd name="connsiteX20" fmla="*/ 619982 w 761692"/>
                    <a:gd name="connsiteY20" fmla="*/ 54913 h 1016771"/>
                    <a:gd name="connsiteX21" fmla="*/ 618211 w 761692"/>
                    <a:gd name="connsiteY21" fmla="*/ 74398 h 1016771"/>
                    <a:gd name="connsiteX22" fmla="*/ 616439 w 761692"/>
                    <a:gd name="connsiteY22" fmla="*/ 85026 h 1016771"/>
                    <a:gd name="connsiteX23" fmla="*/ 621753 w 761692"/>
                    <a:gd name="connsiteY23" fmla="*/ 97426 h 1016771"/>
                    <a:gd name="connsiteX24" fmla="*/ 637696 w 761692"/>
                    <a:gd name="connsiteY24" fmla="*/ 113368 h 1016771"/>
                    <a:gd name="connsiteX25" fmla="*/ 644781 w 761692"/>
                    <a:gd name="connsiteY25" fmla="*/ 120454 h 1016771"/>
                    <a:gd name="connsiteX26" fmla="*/ 650095 w 761692"/>
                    <a:gd name="connsiteY26" fmla="*/ 136396 h 1016771"/>
                    <a:gd name="connsiteX27" fmla="*/ 655409 w 761692"/>
                    <a:gd name="connsiteY27" fmla="*/ 155881 h 1016771"/>
                    <a:gd name="connsiteX28" fmla="*/ 662495 w 761692"/>
                    <a:gd name="connsiteY28" fmla="*/ 171824 h 1016771"/>
                    <a:gd name="connsiteX29" fmla="*/ 660724 w 761692"/>
                    <a:gd name="connsiteY29" fmla="*/ 185995 h 1016771"/>
                    <a:gd name="connsiteX30" fmla="*/ 635924 w 761692"/>
                    <a:gd name="connsiteY30" fmla="*/ 194852 h 1016771"/>
                    <a:gd name="connsiteX31" fmla="*/ 619982 w 761692"/>
                    <a:gd name="connsiteY31" fmla="*/ 207251 h 1016771"/>
                    <a:gd name="connsiteX32" fmla="*/ 614668 w 761692"/>
                    <a:gd name="connsiteY32" fmla="*/ 223194 h 1016771"/>
                    <a:gd name="connsiteX33" fmla="*/ 618211 w 761692"/>
                    <a:gd name="connsiteY33" fmla="*/ 242679 h 1016771"/>
                    <a:gd name="connsiteX34" fmla="*/ 612896 w 761692"/>
                    <a:gd name="connsiteY34" fmla="*/ 256850 h 1016771"/>
                    <a:gd name="connsiteX35" fmla="*/ 625296 w 761692"/>
                    <a:gd name="connsiteY35" fmla="*/ 267478 h 1016771"/>
                    <a:gd name="connsiteX36" fmla="*/ 641238 w 761692"/>
                    <a:gd name="connsiteY36" fmla="*/ 269250 h 1016771"/>
                    <a:gd name="connsiteX37" fmla="*/ 658952 w 761692"/>
                    <a:gd name="connsiteY37" fmla="*/ 286963 h 1016771"/>
                    <a:gd name="connsiteX38" fmla="*/ 653638 w 761692"/>
                    <a:gd name="connsiteY38" fmla="*/ 309991 h 1016771"/>
                    <a:gd name="connsiteX39" fmla="*/ 653638 w 761692"/>
                    <a:gd name="connsiteY39" fmla="*/ 329476 h 1016771"/>
                    <a:gd name="connsiteX40" fmla="*/ 643010 w 761692"/>
                    <a:gd name="connsiteY40" fmla="*/ 338333 h 1016771"/>
                    <a:gd name="connsiteX41" fmla="*/ 632382 w 761692"/>
                    <a:gd name="connsiteY41" fmla="*/ 338333 h 1016771"/>
                    <a:gd name="connsiteX42" fmla="*/ 618211 w 761692"/>
                    <a:gd name="connsiteY42" fmla="*/ 357819 h 1016771"/>
                    <a:gd name="connsiteX43" fmla="*/ 609354 w 761692"/>
                    <a:gd name="connsiteY43" fmla="*/ 361361 h 1016771"/>
                    <a:gd name="connsiteX44" fmla="*/ 596954 w 761692"/>
                    <a:gd name="connsiteY44" fmla="*/ 363133 h 1016771"/>
                    <a:gd name="connsiteX45" fmla="*/ 581012 w 761692"/>
                    <a:gd name="connsiteY45" fmla="*/ 379075 h 1016771"/>
                    <a:gd name="connsiteX46" fmla="*/ 589868 w 761692"/>
                    <a:gd name="connsiteY46" fmla="*/ 393246 h 1016771"/>
                    <a:gd name="connsiteX47" fmla="*/ 586326 w 761692"/>
                    <a:gd name="connsiteY47" fmla="*/ 409189 h 1016771"/>
                    <a:gd name="connsiteX48" fmla="*/ 570383 w 761692"/>
                    <a:gd name="connsiteY48" fmla="*/ 398560 h 1016771"/>
                    <a:gd name="connsiteX49" fmla="*/ 550898 w 761692"/>
                    <a:gd name="connsiteY49" fmla="*/ 405646 h 1016771"/>
                    <a:gd name="connsiteX50" fmla="*/ 531413 w 761692"/>
                    <a:gd name="connsiteY50" fmla="*/ 425131 h 1016771"/>
                    <a:gd name="connsiteX51" fmla="*/ 543813 w 761692"/>
                    <a:gd name="connsiteY51" fmla="*/ 444616 h 1016771"/>
                    <a:gd name="connsiteX52" fmla="*/ 557984 w 761692"/>
                    <a:gd name="connsiteY52" fmla="*/ 462330 h 1016771"/>
                    <a:gd name="connsiteX53" fmla="*/ 570383 w 761692"/>
                    <a:gd name="connsiteY53" fmla="*/ 478272 h 1016771"/>
                    <a:gd name="connsiteX54" fmla="*/ 579240 w 761692"/>
                    <a:gd name="connsiteY54" fmla="*/ 485358 h 1016771"/>
                    <a:gd name="connsiteX55" fmla="*/ 602268 w 761692"/>
                    <a:gd name="connsiteY55" fmla="*/ 483586 h 1016771"/>
                    <a:gd name="connsiteX56" fmla="*/ 623525 w 761692"/>
                    <a:gd name="connsiteY56" fmla="*/ 474730 h 1016771"/>
                    <a:gd name="connsiteX57" fmla="*/ 639467 w 761692"/>
                    <a:gd name="connsiteY57" fmla="*/ 464101 h 1016771"/>
                    <a:gd name="connsiteX58" fmla="*/ 662495 w 761692"/>
                    <a:gd name="connsiteY58" fmla="*/ 464101 h 1016771"/>
                    <a:gd name="connsiteX59" fmla="*/ 673123 w 761692"/>
                    <a:gd name="connsiteY59" fmla="*/ 464101 h 1016771"/>
                    <a:gd name="connsiteX60" fmla="*/ 681980 w 761692"/>
                    <a:gd name="connsiteY60" fmla="*/ 467644 h 1016771"/>
                    <a:gd name="connsiteX61" fmla="*/ 703237 w 761692"/>
                    <a:gd name="connsiteY61" fmla="*/ 471187 h 1016771"/>
                    <a:gd name="connsiteX62" fmla="*/ 708551 w 761692"/>
                    <a:gd name="connsiteY62" fmla="*/ 474730 h 1016771"/>
                    <a:gd name="connsiteX63" fmla="*/ 722722 w 761692"/>
                    <a:gd name="connsiteY63" fmla="*/ 501300 h 1016771"/>
                    <a:gd name="connsiteX64" fmla="*/ 724493 w 761692"/>
                    <a:gd name="connsiteY64" fmla="*/ 522557 h 1016771"/>
                    <a:gd name="connsiteX65" fmla="*/ 722722 w 761692"/>
                    <a:gd name="connsiteY65" fmla="*/ 540271 h 1016771"/>
                    <a:gd name="connsiteX66" fmla="*/ 735121 w 761692"/>
                    <a:gd name="connsiteY66" fmla="*/ 552670 h 1016771"/>
                    <a:gd name="connsiteX67" fmla="*/ 735121 w 761692"/>
                    <a:gd name="connsiteY67" fmla="*/ 570384 h 1016771"/>
                    <a:gd name="connsiteX68" fmla="*/ 751064 w 761692"/>
                    <a:gd name="connsiteY68" fmla="*/ 581012 h 1016771"/>
                    <a:gd name="connsiteX69" fmla="*/ 761692 w 761692"/>
                    <a:gd name="connsiteY69" fmla="*/ 604040 h 1016771"/>
                    <a:gd name="connsiteX70" fmla="*/ 747521 w 761692"/>
                    <a:gd name="connsiteY70" fmla="*/ 616440 h 1016771"/>
                    <a:gd name="connsiteX71" fmla="*/ 728036 w 761692"/>
                    <a:gd name="connsiteY71" fmla="*/ 627068 h 1016771"/>
                    <a:gd name="connsiteX72" fmla="*/ 726264 w 761692"/>
                    <a:gd name="connsiteY72" fmla="*/ 650096 h 1016771"/>
                    <a:gd name="connsiteX73" fmla="*/ 728036 w 761692"/>
                    <a:gd name="connsiteY73" fmla="*/ 673124 h 1016771"/>
                    <a:gd name="connsiteX74" fmla="*/ 742207 w 761692"/>
                    <a:gd name="connsiteY74" fmla="*/ 689066 h 1016771"/>
                    <a:gd name="connsiteX75" fmla="*/ 742207 w 761692"/>
                    <a:gd name="connsiteY75" fmla="*/ 712094 h 1016771"/>
                    <a:gd name="connsiteX76" fmla="*/ 740435 w 761692"/>
                    <a:gd name="connsiteY76" fmla="*/ 735122 h 1016771"/>
                    <a:gd name="connsiteX77" fmla="*/ 742207 w 761692"/>
                    <a:gd name="connsiteY77" fmla="*/ 751065 h 1016771"/>
                    <a:gd name="connsiteX78" fmla="*/ 747521 w 761692"/>
                    <a:gd name="connsiteY78" fmla="*/ 768778 h 1016771"/>
                    <a:gd name="connsiteX79" fmla="*/ 759921 w 761692"/>
                    <a:gd name="connsiteY79" fmla="*/ 777635 h 1016771"/>
                    <a:gd name="connsiteX80" fmla="*/ 758149 w 761692"/>
                    <a:gd name="connsiteY80" fmla="*/ 802434 h 1016771"/>
                    <a:gd name="connsiteX81" fmla="*/ 752835 w 761692"/>
                    <a:gd name="connsiteY81" fmla="*/ 814834 h 1016771"/>
                    <a:gd name="connsiteX82" fmla="*/ 743978 w 761692"/>
                    <a:gd name="connsiteY82" fmla="*/ 827234 h 1016771"/>
                    <a:gd name="connsiteX83" fmla="*/ 743978 w 761692"/>
                    <a:gd name="connsiteY83" fmla="*/ 837862 h 1016771"/>
                    <a:gd name="connsiteX84" fmla="*/ 747521 w 761692"/>
                    <a:gd name="connsiteY84" fmla="*/ 853804 h 1016771"/>
                    <a:gd name="connsiteX85" fmla="*/ 733350 w 761692"/>
                    <a:gd name="connsiteY85" fmla="*/ 867975 h 1016771"/>
                    <a:gd name="connsiteX86" fmla="*/ 724493 w 761692"/>
                    <a:gd name="connsiteY86" fmla="*/ 880375 h 1016771"/>
                    <a:gd name="connsiteX87" fmla="*/ 722722 w 761692"/>
                    <a:gd name="connsiteY87" fmla="*/ 899860 h 1016771"/>
                    <a:gd name="connsiteX88" fmla="*/ 722722 w 761692"/>
                    <a:gd name="connsiteY88" fmla="*/ 919345 h 1016771"/>
                    <a:gd name="connsiteX89" fmla="*/ 715636 w 761692"/>
                    <a:gd name="connsiteY89" fmla="*/ 940602 h 1016771"/>
                    <a:gd name="connsiteX90" fmla="*/ 708551 w 761692"/>
                    <a:gd name="connsiteY90" fmla="*/ 954773 h 1016771"/>
                    <a:gd name="connsiteX91" fmla="*/ 699694 w 761692"/>
                    <a:gd name="connsiteY91" fmla="*/ 965401 h 1016771"/>
                    <a:gd name="connsiteX92" fmla="*/ 692608 w 761692"/>
                    <a:gd name="connsiteY92" fmla="*/ 984886 h 1016771"/>
                    <a:gd name="connsiteX93" fmla="*/ 683751 w 761692"/>
                    <a:gd name="connsiteY93" fmla="*/ 997286 h 1016771"/>
                    <a:gd name="connsiteX94" fmla="*/ 673123 w 761692"/>
                    <a:gd name="connsiteY94" fmla="*/ 1002600 h 1016771"/>
                    <a:gd name="connsiteX95" fmla="*/ 662495 w 761692"/>
                    <a:gd name="connsiteY95" fmla="*/ 1013228 h 1016771"/>
                    <a:gd name="connsiteX96" fmla="*/ 644781 w 761692"/>
                    <a:gd name="connsiteY96" fmla="*/ 1016771 h 1016771"/>
                    <a:gd name="connsiteX97" fmla="*/ 635924 w 761692"/>
                    <a:gd name="connsiteY97" fmla="*/ 1004372 h 1016771"/>
                    <a:gd name="connsiteX98" fmla="*/ 623525 w 761692"/>
                    <a:gd name="connsiteY98" fmla="*/ 997286 h 1016771"/>
                    <a:gd name="connsiteX99" fmla="*/ 614668 w 761692"/>
                    <a:gd name="connsiteY99" fmla="*/ 986658 h 1016771"/>
                    <a:gd name="connsiteX100" fmla="*/ 593411 w 761692"/>
                    <a:gd name="connsiteY100" fmla="*/ 970715 h 1016771"/>
                    <a:gd name="connsiteX101" fmla="*/ 582783 w 761692"/>
                    <a:gd name="connsiteY101" fmla="*/ 965401 h 1016771"/>
                    <a:gd name="connsiteX102" fmla="*/ 531413 w 761692"/>
                    <a:gd name="connsiteY102" fmla="*/ 965401 h 1016771"/>
                    <a:gd name="connsiteX103" fmla="*/ 511928 w 761692"/>
                    <a:gd name="connsiteY103" fmla="*/ 965401 h 1016771"/>
                    <a:gd name="connsiteX104" fmla="*/ 492443 w 761692"/>
                    <a:gd name="connsiteY104" fmla="*/ 963630 h 1016771"/>
                    <a:gd name="connsiteX105" fmla="*/ 483586 w 761692"/>
                    <a:gd name="connsiteY105" fmla="*/ 958316 h 1016771"/>
                    <a:gd name="connsiteX106" fmla="*/ 469415 w 761692"/>
                    <a:gd name="connsiteY106" fmla="*/ 954773 h 1016771"/>
                    <a:gd name="connsiteX107" fmla="*/ 460558 w 761692"/>
                    <a:gd name="connsiteY107" fmla="*/ 942373 h 1016771"/>
                    <a:gd name="connsiteX108" fmla="*/ 446387 w 761692"/>
                    <a:gd name="connsiteY108" fmla="*/ 935288 h 1016771"/>
                    <a:gd name="connsiteX109" fmla="*/ 428673 w 761692"/>
                    <a:gd name="connsiteY109" fmla="*/ 928202 h 1016771"/>
                    <a:gd name="connsiteX110" fmla="*/ 418045 w 761692"/>
                    <a:gd name="connsiteY110" fmla="*/ 917574 h 1016771"/>
                    <a:gd name="connsiteX111" fmla="*/ 421588 w 761692"/>
                    <a:gd name="connsiteY111" fmla="*/ 903403 h 1016771"/>
                    <a:gd name="connsiteX112" fmla="*/ 418045 w 761692"/>
                    <a:gd name="connsiteY112" fmla="*/ 898089 h 1016771"/>
                    <a:gd name="connsiteX113" fmla="*/ 396788 w 761692"/>
                    <a:gd name="connsiteY113" fmla="*/ 898089 h 1016771"/>
                    <a:gd name="connsiteX114" fmla="*/ 382617 w 761692"/>
                    <a:gd name="connsiteY114" fmla="*/ 896318 h 1016771"/>
                    <a:gd name="connsiteX115" fmla="*/ 380846 w 761692"/>
                    <a:gd name="connsiteY115" fmla="*/ 906946 h 1016771"/>
                    <a:gd name="connsiteX116" fmla="*/ 373601 w 761692"/>
                    <a:gd name="connsiteY116" fmla="*/ 894832 h 1016771"/>
                    <a:gd name="connsiteX117" fmla="*/ 387164 w 761692"/>
                    <a:gd name="connsiteY117" fmla="*/ 896527 h 1016771"/>
                    <a:gd name="connsiteX118" fmla="*/ 383773 w 761692"/>
                    <a:gd name="connsiteY118" fmla="*/ 886355 h 1016771"/>
                    <a:gd name="connsiteX119" fmla="*/ 387164 w 761692"/>
                    <a:gd name="connsiteY119" fmla="*/ 876183 h 1016771"/>
                    <a:gd name="connsiteX120" fmla="*/ 388859 w 761692"/>
                    <a:gd name="connsiteY120" fmla="*/ 867707 h 1016771"/>
                    <a:gd name="connsiteX121" fmla="*/ 380382 w 761692"/>
                    <a:gd name="connsiteY121" fmla="*/ 859230 h 1016771"/>
                    <a:gd name="connsiteX122" fmla="*/ 373601 w 761692"/>
                    <a:gd name="connsiteY122" fmla="*/ 849058 h 1016771"/>
                    <a:gd name="connsiteX123" fmla="*/ 380382 w 761692"/>
                    <a:gd name="connsiteY123" fmla="*/ 838886 h 1016771"/>
                    <a:gd name="connsiteX124" fmla="*/ 383773 w 761692"/>
                    <a:gd name="connsiteY124" fmla="*/ 833800 h 1016771"/>
                    <a:gd name="connsiteX125" fmla="*/ 388859 w 761692"/>
                    <a:gd name="connsiteY125" fmla="*/ 825324 h 1016771"/>
                    <a:gd name="connsiteX126" fmla="*/ 387164 w 761692"/>
                    <a:gd name="connsiteY126" fmla="*/ 810066 h 1016771"/>
                    <a:gd name="connsiteX127" fmla="*/ 387164 w 761692"/>
                    <a:gd name="connsiteY127" fmla="*/ 796503 h 1016771"/>
                    <a:gd name="connsiteX128" fmla="*/ 378687 w 761692"/>
                    <a:gd name="connsiteY128" fmla="*/ 789722 h 1016771"/>
                    <a:gd name="connsiteX129" fmla="*/ 366820 w 761692"/>
                    <a:gd name="connsiteY129" fmla="*/ 782940 h 1016771"/>
                    <a:gd name="connsiteX130" fmla="*/ 356648 w 761692"/>
                    <a:gd name="connsiteY130" fmla="*/ 781245 h 1016771"/>
                    <a:gd name="connsiteX131" fmla="*/ 349866 w 761692"/>
                    <a:gd name="connsiteY131" fmla="*/ 771073 h 1016771"/>
                    <a:gd name="connsiteX132" fmla="*/ 349866 w 761692"/>
                    <a:gd name="connsiteY132" fmla="*/ 752425 h 1016771"/>
                    <a:gd name="connsiteX133" fmla="*/ 353257 w 761692"/>
                    <a:gd name="connsiteY133" fmla="*/ 743948 h 1016771"/>
                    <a:gd name="connsiteX134" fmla="*/ 354952 w 761692"/>
                    <a:gd name="connsiteY134" fmla="*/ 730385 h 1016771"/>
                    <a:gd name="connsiteX135" fmla="*/ 353257 w 761692"/>
                    <a:gd name="connsiteY135" fmla="*/ 713432 h 1016771"/>
                    <a:gd name="connsiteX136" fmla="*/ 346476 w 761692"/>
                    <a:gd name="connsiteY136" fmla="*/ 701565 h 1016771"/>
                    <a:gd name="connsiteX137" fmla="*/ 332913 w 761692"/>
                    <a:gd name="connsiteY137" fmla="*/ 689697 h 1016771"/>
                    <a:gd name="connsiteX138" fmla="*/ 324436 w 761692"/>
                    <a:gd name="connsiteY138" fmla="*/ 681221 h 1016771"/>
                    <a:gd name="connsiteX139" fmla="*/ 314264 w 761692"/>
                    <a:gd name="connsiteY139" fmla="*/ 676135 h 1016771"/>
                    <a:gd name="connsiteX140" fmla="*/ 293920 w 761692"/>
                    <a:gd name="connsiteY140" fmla="*/ 669354 h 1016771"/>
                    <a:gd name="connsiteX141" fmla="*/ 282053 w 761692"/>
                    <a:gd name="connsiteY141" fmla="*/ 667658 h 1016771"/>
                    <a:gd name="connsiteX142" fmla="*/ 266795 w 761692"/>
                    <a:gd name="connsiteY142" fmla="*/ 672744 h 1016771"/>
                    <a:gd name="connsiteX143" fmla="*/ 265100 w 761692"/>
                    <a:gd name="connsiteY143" fmla="*/ 672744 h 1016771"/>
                    <a:gd name="connsiteX144" fmla="*/ 263404 w 761692"/>
                    <a:gd name="connsiteY144" fmla="*/ 671049 h 1016771"/>
                    <a:gd name="connsiteX145" fmla="*/ 260014 w 761692"/>
                    <a:gd name="connsiteY145" fmla="*/ 671049 h 1016771"/>
                    <a:gd name="connsiteX146" fmla="*/ 258318 w 761692"/>
                    <a:gd name="connsiteY146" fmla="*/ 671049 h 1016771"/>
                    <a:gd name="connsiteX147" fmla="*/ 253232 w 761692"/>
                    <a:gd name="connsiteY147" fmla="*/ 671049 h 1016771"/>
                    <a:gd name="connsiteX148" fmla="*/ 248146 w 761692"/>
                    <a:gd name="connsiteY148" fmla="*/ 672744 h 1016771"/>
                    <a:gd name="connsiteX149" fmla="*/ 248146 w 761692"/>
                    <a:gd name="connsiteY149" fmla="*/ 674440 h 1016771"/>
                    <a:gd name="connsiteX150" fmla="*/ 246451 w 761692"/>
                    <a:gd name="connsiteY150" fmla="*/ 674440 h 1016771"/>
                    <a:gd name="connsiteX151" fmla="*/ 236279 w 761692"/>
                    <a:gd name="connsiteY151" fmla="*/ 679526 h 1016771"/>
                    <a:gd name="connsiteX152" fmla="*/ 226107 w 761692"/>
                    <a:gd name="connsiteY152" fmla="*/ 684612 h 1016771"/>
                    <a:gd name="connsiteX153" fmla="*/ 217630 w 761692"/>
                    <a:gd name="connsiteY153" fmla="*/ 684612 h 1016771"/>
                    <a:gd name="connsiteX154" fmla="*/ 207458 w 761692"/>
                    <a:gd name="connsiteY154" fmla="*/ 693088 h 1016771"/>
                    <a:gd name="connsiteX155" fmla="*/ 198982 w 761692"/>
                    <a:gd name="connsiteY155" fmla="*/ 694783 h 1016771"/>
                    <a:gd name="connsiteX156" fmla="*/ 192200 w 761692"/>
                    <a:gd name="connsiteY156" fmla="*/ 699869 h 1016771"/>
                    <a:gd name="connsiteX157" fmla="*/ 178638 w 761692"/>
                    <a:gd name="connsiteY157" fmla="*/ 706651 h 1016771"/>
                    <a:gd name="connsiteX158" fmla="*/ 163380 w 761692"/>
                    <a:gd name="connsiteY158" fmla="*/ 710041 h 1016771"/>
                    <a:gd name="connsiteX159" fmla="*/ 141340 w 761692"/>
                    <a:gd name="connsiteY159" fmla="*/ 710041 h 1016771"/>
                    <a:gd name="connsiteX160" fmla="*/ 134559 w 761692"/>
                    <a:gd name="connsiteY160" fmla="*/ 716823 h 1016771"/>
                    <a:gd name="connsiteX161" fmla="*/ 127778 w 761692"/>
                    <a:gd name="connsiteY161" fmla="*/ 718518 h 1016771"/>
                    <a:gd name="connsiteX162" fmla="*/ 120996 w 761692"/>
                    <a:gd name="connsiteY162" fmla="*/ 725299 h 1016771"/>
                    <a:gd name="connsiteX163" fmla="*/ 111172 w 761692"/>
                    <a:gd name="connsiteY163" fmla="*/ 733720 h 1016771"/>
                    <a:gd name="connsiteX164" fmla="*/ 106283 w 761692"/>
                    <a:gd name="connsiteY164" fmla="*/ 729808 h 1016771"/>
                    <a:gd name="connsiteX165" fmla="*/ 92112 w 761692"/>
                    <a:gd name="connsiteY165" fmla="*/ 724494 h 1016771"/>
                    <a:gd name="connsiteX166" fmla="*/ 77941 w 761692"/>
                    <a:gd name="connsiteY166" fmla="*/ 726265 h 1016771"/>
                    <a:gd name="connsiteX167" fmla="*/ 70855 w 761692"/>
                    <a:gd name="connsiteY167" fmla="*/ 719180 h 1016771"/>
                    <a:gd name="connsiteX168" fmla="*/ 70855 w 761692"/>
                    <a:gd name="connsiteY168" fmla="*/ 699695 h 1016771"/>
                    <a:gd name="connsiteX169" fmla="*/ 81483 w 761692"/>
                    <a:gd name="connsiteY169" fmla="*/ 685524 h 1016771"/>
                    <a:gd name="connsiteX170" fmla="*/ 85026 w 761692"/>
                    <a:gd name="connsiteY170" fmla="*/ 673124 h 1016771"/>
                    <a:gd name="connsiteX171" fmla="*/ 86797 w 761692"/>
                    <a:gd name="connsiteY171" fmla="*/ 660724 h 1016771"/>
                    <a:gd name="connsiteX172" fmla="*/ 97426 w 761692"/>
                    <a:gd name="connsiteY172" fmla="*/ 650096 h 1016771"/>
                    <a:gd name="connsiteX173" fmla="*/ 102740 w 761692"/>
                    <a:gd name="connsiteY173" fmla="*/ 635925 h 1016771"/>
                    <a:gd name="connsiteX174" fmla="*/ 113368 w 761692"/>
                    <a:gd name="connsiteY174" fmla="*/ 625297 h 1016771"/>
                    <a:gd name="connsiteX175" fmla="*/ 115139 w 761692"/>
                    <a:gd name="connsiteY175" fmla="*/ 612897 h 1016771"/>
                    <a:gd name="connsiteX176" fmla="*/ 127539 w 761692"/>
                    <a:gd name="connsiteY176" fmla="*/ 609354 h 1016771"/>
                    <a:gd name="connsiteX177" fmla="*/ 136396 w 761692"/>
                    <a:gd name="connsiteY177" fmla="*/ 604040 h 1016771"/>
                    <a:gd name="connsiteX178" fmla="*/ 132853 w 761692"/>
                    <a:gd name="connsiteY178" fmla="*/ 593412 h 1016771"/>
                    <a:gd name="connsiteX179" fmla="*/ 134625 w 761692"/>
                    <a:gd name="connsiteY179" fmla="*/ 584555 h 1016771"/>
                    <a:gd name="connsiteX180" fmla="*/ 131082 w 761692"/>
                    <a:gd name="connsiteY180" fmla="*/ 575698 h 1016771"/>
                    <a:gd name="connsiteX181" fmla="*/ 120454 w 761692"/>
                    <a:gd name="connsiteY181" fmla="*/ 568613 h 1016771"/>
                    <a:gd name="connsiteX182" fmla="*/ 125768 w 761692"/>
                    <a:gd name="connsiteY182" fmla="*/ 552670 h 1016771"/>
                    <a:gd name="connsiteX183" fmla="*/ 118682 w 761692"/>
                    <a:gd name="connsiteY183" fmla="*/ 543813 h 1016771"/>
                    <a:gd name="connsiteX184" fmla="*/ 90340 w 761692"/>
                    <a:gd name="connsiteY184" fmla="*/ 543813 h 1016771"/>
                    <a:gd name="connsiteX185" fmla="*/ 86797 w 761692"/>
                    <a:gd name="connsiteY185" fmla="*/ 542042 h 1016771"/>
                    <a:gd name="connsiteX186" fmla="*/ 83255 w 761692"/>
                    <a:gd name="connsiteY186" fmla="*/ 542042 h 1016771"/>
                    <a:gd name="connsiteX187" fmla="*/ 81483 w 761692"/>
                    <a:gd name="connsiteY187" fmla="*/ 540271 h 1016771"/>
                    <a:gd name="connsiteX188" fmla="*/ 81483 w 761692"/>
                    <a:gd name="connsiteY188" fmla="*/ 536728 h 1016771"/>
                    <a:gd name="connsiteX189" fmla="*/ 79712 w 761692"/>
                    <a:gd name="connsiteY189" fmla="*/ 531414 h 1016771"/>
                    <a:gd name="connsiteX190" fmla="*/ 77941 w 761692"/>
                    <a:gd name="connsiteY190" fmla="*/ 529642 h 1016771"/>
                    <a:gd name="connsiteX191" fmla="*/ 70855 w 761692"/>
                    <a:gd name="connsiteY191" fmla="*/ 527871 h 1016771"/>
                    <a:gd name="connsiteX192" fmla="*/ 60227 w 761692"/>
                    <a:gd name="connsiteY192" fmla="*/ 536728 h 1016771"/>
                    <a:gd name="connsiteX193" fmla="*/ 47827 w 761692"/>
                    <a:gd name="connsiteY193" fmla="*/ 526100 h 1016771"/>
                    <a:gd name="connsiteX194" fmla="*/ 42513 w 761692"/>
                    <a:gd name="connsiteY194" fmla="*/ 515471 h 1016771"/>
                    <a:gd name="connsiteX195" fmla="*/ 33656 w 761692"/>
                    <a:gd name="connsiteY195" fmla="*/ 506614 h 1016771"/>
                    <a:gd name="connsiteX196" fmla="*/ 31885 w 761692"/>
                    <a:gd name="connsiteY196" fmla="*/ 490672 h 1016771"/>
                    <a:gd name="connsiteX197" fmla="*/ 26571 w 761692"/>
                    <a:gd name="connsiteY197" fmla="*/ 476501 h 1016771"/>
                    <a:gd name="connsiteX198" fmla="*/ 24799 w 761692"/>
                    <a:gd name="connsiteY198" fmla="*/ 471187 h 1016771"/>
                    <a:gd name="connsiteX199" fmla="*/ 12400 w 761692"/>
                    <a:gd name="connsiteY199" fmla="*/ 472958 h 1016771"/>
                    <a:gd name="connsiteX200" fmla="*/ 7086 w 761692"/>
                    <a:gd name="connsiteY200" fmla="*/ 464101 h 1016771"/>
                    <a:gd name="connsiteX201" fmla="*/ 8857 w 761692"/>
                    <a:gd name="connsiteY201" fmla="*/ 446388 h 1016771"/>
                    <a:gd name="connsiteX202" fmla="*/ 3543 w 761692"/>
                    <a:gd name="connsiteY202" fmla="*/ 435759 h 1016771"/>
                    <a:gd name="connsiteX203" fmla="*/ 5314 w 761692"/>
                    <a:gd name="connsiteY203" fmla="*/ 412731 h 1016771"/>
                    <a:gd name="connsiteX204" fmla="*/ 0 w 761692"/>
                    <a:gd name="connsiteY204" fmla="*/ 396789 h 1016771"/>
                    <a:gd name="connsiteX205" fmla="*/ 3543 w 761692"/>
                    <a:gd name="connsiteY205" fmla="*/ 384389 h 1016771"/>
                    <a:gd name="connsiteX206" fmla="*/ 14171 w 761692"/>
                    <a:gd name="connsiteY206" fmla="*/ 380846 h 1016771"/>
                    <a:gd name="connsiteX207" fmla="*/ 24799 w 761692"/>
                    <a:gd name="connsiteY207" fmla="*/ 364904 h 1016771"/>
                    <a:gd name="connsiteX208" fmla="*/ 30113 w 761692"/>
                    <a:gd name="connsiteY208" fmla="*/ 350733 h 1016771"/>
                    <a:gd name="connsiteX209" fmla="*/ 35428 w 761692"/>
                    <a:gd name="connsiteY209" fmla="*/ 341876 h 1016771"/>
                    <a:gd name="connsiteX210" fmla="*/ 42513 w 761692"/>
                    <a:gd name="connsiteY210" fmla="*/ 327705 h 1016771"/>
                    <a:gd name="connsiteX211" fmla="*/ 42513 w 761692"/>
                    <a:gd name="connsiteY211" fmla="*/ 315305 h 1016771"/>
                    <a:gd name="connsiteX212" fmla="*/ 56684 w 761692"/>
                    <a:gd name="connsiteY212" fmla="*/ 309991 h 1016771"/>
                    <a:gd name="connsiteX213" fmla="*/ 60227 w 761692"/>
                    <a:gd name="connsiteY213" fmla="*/ 309991 h 1016771"/>
                    <a:gd name="connsiteX214" fmla="*/ 61998 w 761692"/>
                    <a:gd name="connsiteY214" fmla="*/ 311763 h 1016771"/>
                    <a:gd name="connsiteX215" fmla="*/ 67312 w 761692"/>
                    <a:gd name="connsiteY215" fmla="*/ 311763 h 1016771"/>
                    <a:gd name="connsiteX216" fmla="*/ 67312 w 761692"/>
                    <a:gd name="connsiteY216" fmla="*/ 309991 h 1016771"/>
                    <a:gd name="connsiteX217" fmla="*/ 67312 w 761692"/>
                    <a:gd name="connsiteY217" fmla="*/ 308220 h 1016771"/>
                    <a:gd name="connsiteX218" fmla="*/ 69084 w 761692"/>
                    <a:gd name="connsiteY218" fmla="*/ 302906 h 1016771"/>
                    <a:gd name="connsiteX219" fmla="*/ 70855 w 761692"/>
                    <a:gd name="connsiteY219" fmla="*/ 301134 h 1016771"/>
                    <a:gd name="connsiteX220" fmla="*/ 70855 w 761692"/>
                    <a:gd name="connsiteY220" fmla="*/ 299363 h 1016771"/>
                    <a:gd name="connsiteX221" fmla="*/ 77941 w 761692"/>
                    <a:gd name="connsiteY221" fmla="*/ 295820 h 1016771"/>
                    <a:gd name="connsiteX222" fmla="*/ 85026 w 761692"/>
                    <a:gd name="connsiteY222" fmla="*/ 295820 h 1016771"/>
                    <a:gd name="connsiteX223" fmla="*/ 93883 w 761692"/>
                    <a:gd name="connsiteY223" fmla="*/ 297592 h 1016771"/>
                    <a:gd name="connsiteX224" fmla="*/ 100968 w 761692"/>
                    <a:gd name="connsiteY224" fmla="*/ 288735 h 1016771"/>
                    <a:gd name="connsiteX225" fmla="*/ 97426 w 761692"/>
                    <a:gd name="connsiteY225" fmla="*/ 279878 h 1016771"/>
                    <a:gd name="connsiteX226" fmla="*/ 85026 w 761692"/>
                    <a:gd name="connsiteY226" fmla="*/ 276335 h 1016771"/>
                    <a:gd name="connsiteX227" fmla="*/ 76169 w 761692"/>
                    <a:gd name="connsiteY227" fmla="*/ 271021 h 1016771"/>
                    <a:gd name="connsiteX228" fmla="*/ 76169 w 761692"/>
                    <a:gd name="connsiteY228" fmla="*/ 262164 h 1016771"/>
                    <a:gd name="connsiteX229" fmla="*/ 81483 w 761692"/>
                    <a:gd name="connsiteY229" fmla="*/ 251536 h 1016771"/>
                    <a:gd name="connsiteX230" fmla="*/ 86797 w 761692"/>
                    <a:gd name="connsiteY230" fmla="*/ 255079 h 1016771"/>
                    <a:gd name="connsiteX231" fmla="*/ 104511 w 761692"/>
                    <a:gd name="connsiteY231" fmla="*/ 262164 h 1016771"/>
                    <a:gd name="connsiteX232" fmla="*/ 116911 w 761692"/>
                    <a:gd name="connsiteY232" fmla="*/ 265707 h 1016771"/>
                    <a:gd name="connsiteX233" fmla="*/ 132853 w 761692"/>
                    <a:gd name="connsiteY233" fmla="*/ 269250 h 1016771"/>
                    <a:gd name="connsiteX234" fmla="*/ 138167 w 761692"/>
                    <a:gd name="connsiteY234" fmla="*/ 265707 h 1016771"/>
                    <a:gd name="connsiteX235" fmla="*/ 150567 w 761692"/>
                    <a:gd name="connsiteY235" fmla="*/ 255079 h 1016771"/>
                    <a:gd name="connsiteX236" fmla="*/ 166509 w 761692"/>
                    <a:gd name="connsiteY236" fmla="*/ 255079 h 1016771"/>
                    <a:gd name="connsiteX237" fmla="*/ 166509 w 761692"/>
                    <a:gd name="connsiteY237" fmla="*/ 265707 h 1016771"/>
                    <a:gd name="connsiteX238" fmla="*/ 177138 w 761692"/>
                    <a:gd name="connsiteY238" fmla="*/ 272792 h 1016771"/>
                    <a:gd name="connsiteX239" fmla="*/ 194851 w 761692"/>
                    <a:gd name="connsiteY239" fmla="*/ 276335 h 1016771"/>
                    <a:gd name="connsiteX240" fmla="*/ 209022 w 761692"/>
                    <a:gd name="connsiteY240" fmla="*/ 279878 h 1016771"/>
                    <a:gd name="connsiteX241" fmla="*/ 221422 w 761692"/>
                    <a:gd name="connsiteY241" fmla="*/ 276335 h 1016771"/>
                    <a:gd name="connsiteX242" fmla="*/ 226736 w 761692"/>
                    <a:gd name="connsiteY242" fmla="*/ 269250 h 1016771"/>
                    <a:gd name="connsiteX243" fmla="*/ 226736 w 761692"/>
                    <a:gd name="connsiteY243" fmla="*/ 251536 h 1016771"/>
                    <a:gd name="connsiteX244" fmla="*/ 224965 w 761692"/>
                    <a:gd name="connsiteY244" fmla="*/ 239136 h 1016771"/>
                    <a:gd name="connsiteX245" fmla="*/ 214337 w 761692"/>
                    <a:gd name="connsiteY245" fmla="*/ 230279 h 1016771"/>
                    <a:gd name="connsiteX246" fmla="*/ 210794 w 761692"/>
                    <a:gd name="connsiteY246" fmla="*/ 217880 h 1016771"/>
                    <a:gd name="connsiteX247" fmla="*/ 221422 w 761692"/>
                    <a:gd name="connsiteY247" fmla="*/ 207251 h 1016771"/>
                    <a:gd name="connsiteX248" fmla="*/ 235593 w 761692"/>
                    <a:gd name="connsiteY248" fmla="*/ 214337 h 1016771"/>
                    <a:gd name="connsiteX249" fmla="*/ 246221 w 761692"/>
                    <a:gd name="connsiteY249" fmla="*/ 219651 h 1016771"/>
                    <a:gd name="connsiteX250" fmla="*/ 253307 w 761692"/>
                    <a:gd name="connsiteY250" fmla="*/ 221422 h 1016771"/>
                    <a:gd name="connsiteX251" fmla="*/ 262164 w 761692"/>
                    <a:gd name="connsiteY251" fmla="*/ 210794 h 1016771"/>
                    <a:gd name="connsiteX252" fmla="*/ 263935 w 761692"/>
                    <a:gd name="connsiteY252" fmla="*/ 201937 h 1016771"/>
                    <a:gd name="connsiteX253" fmla="*/ 274563 w 761692"/>
                    <a:gd name="connsiteY253" fmla="*/ 189538 h 1016771"/>
                    <a:gd name="connsiteX254" fmla="*/ 283420 w 761692"/>
                    <a:gd name="connsiteY254" fmla="*/ 178909 h 1016771"/>
                    <a:gd name="connsiteX255" fmla="*/ 286963 w 761692"/>
                    <a:gd name="connsiteY255" fmla="*/ 173595 h 1016771"/>
                    <a:gd name="connsiteX256" fmla="*/ 311762 w 761692"/>
                    <a:gd name="connsiteY256" fmla="*/ 168281 h 1016771"/>
                    <a:gd name="connsiteX257" fmla="*/ 325933 w 761692"/>
                    <a:gd name="connsiteY257" fmla="*/ 164738 h 1016771"/>
                    <a:gd name="connsiteX258" fmla="*/ 336562 w 761692"/>
                    <a:gd name="connsiteY258" fmla="*/ 159424 h 1016771"/>
                    <a:gd name="connsiteX259" fmla="*/ 348961 w 761692"/>
                    <a:gd name="connsiteY259" fmla="*/ 145253 h 1016771"/>
                    <a:gd name="connsiteX260" fmla="*/ 359589 w 761692"/>
                    <a:gd name="connsiteY260" fmla="*/ 143482 h 1016771"/>
                    <a:gd name="connsiteX261" fmla="*/ 371989 w 761692"/>
                    <a:gd name="connsiteY261" fmla="*/ 143482 h 1016771"/>
                    <a:gd name="connsiteX262" fmla="*/ 391474 w 761692"/>
                    <a:gd name="connsiteY262" fmla="*/ 143482 h 1016771"/>
                    <a:gd name="connsiteX263" fmla="*/ 396788 w 761692"/>
                    <a:gd name="connsiteY263" fmla="*/ 141710 h 1016771"/>
                    <a:gd name="connsiteX264" fmla="*/ 403874 w 761692"/>
                    <a:gd name="connsiteY264" fmla="*/ 134625 h 1016771"/>
                    <a:gd name="connsiteX265" fmla="*/ 409188 w 761692"/>
                    <a:gd name="connsiteY265" fmla="*/ 129311 h 1016771"/>
                    <a:gd name="connsiteX266" fmla="*/ 409188 w 761692"/>
                    <a:gd name="connsiteY266" fmla="*/ 123997 h 1016771"/>
                    <a:gd name="connsiteX267" fmla="*/ 414502 w 761692"/>
                    <a:gd name="connsiteY267" fmla="*/ 115140 h 1016771"/>
                    <a:gd name="connsiteX268" fmla="*/ 428673 w 761692"/>
                    <a:gd name="connsiteY268" fmla="*/ 115140 h 1016771"/>
                    <a:gd name="connsiteX269" fmla="*/ 432216 w 761692"/>
                    <a:gd name="connsiteY269" fmla="*/ 109826 h 1016771"/>
                    <a:gd name="connsiteX270" fmla="*/ 437530 w 761692"/>
                    <a:gd name="connsiteY270" fmla="*/ 100969 h 1016771"/>
                    <a:gd name="connsiteX271" fmla="*/ 448158 w 761692"/>
                    <a:gd name="connsiteY271" fmla="*/ 99197 h 1016771"/>
                    <a:gd name="connsiteX272" fmla="*/ 460558 w 761692"/>
                    <a:gd name="connsiteY272" fmla="*/ 97426 h 1016771"/>
                    <a:gd name="connsiteX273" fmla="*/ 472958 w 761692"/>
                    <a:gd name="connsiteY273" fmla="*/ 93883 h 1016771"/>
                    <a:gd name="connsiteX274" fmla="*/ 492443 w 761692"/>
                    <a:gd name="connsiteY274" fmla="*/ 93883 h 1016771"/>
                    <a:gd name="connsiteX275" fmla="*/ 501300 w 761692"/>
                    <a:gd name="connsiteY275" fmla="*/ 83255 h 1016771"/>
                    <a:gd name="connsiteX276" fmla="*/ 517242 w 761692"/>
                    <a:gd name="connsiteY276" fmla="*/ 81484 h 1016771"/>
                    <a:gd name="connsiteX277" fmla="*/ 522556 w 761692"/>
                    <a:gd name="connsiteY277" fmla="*/ 81484 h 1016771"/>
                    <a:gd name="connsiteX278" fmla="*/ 522556 w 761692"/>
                    <a:gd name="connsiteY278" fmla="*/ 60227 h 1016771"/>
                    <a:gd name="connsiteX279" fmla="*/ 526099 w 761692"/>
                    <a:gd name="connsiteY279" fmla="*/ 54913 h 1016771"/>
                    <a:gd name="connsiteX280" fmla="*/ 529642 w 761692"/>
                    <a:gd name="connsiteY280" fmla="*/ 46056 h 1016771"/>
                    <a:gd name="connsiteX281" fmla="*/ 538499 w 761692"/>
                    <a:gd name="connsiteY281" fmla="*/ 40742 h 1016771"/>
                    <a:gd name="connsiteX282" fmla="*/ 540270 w 761692"/>
                    <a:gd name="connsiteY282" fmla="*/ 30114 h 1016771"/>
                    <a:gd name="connsiteX283" fmla="*/ 536727 w 761692"/>
                    <a:gd name="connsiteY283" fmla="*/ 19485 h 1016771"/>
                    <a:gd name="connsiteX284" fmla="*/ 543813 w 761692"/>
                    <a:gd name="connsiteY284" fmla="*/ 5314 h 1016771"/>
                    <a:gd name="connsiteX285" fmla="*/ 554441 w 761692"/>
                    <a:gd name="connsiteY285" fmla="*/ 0 h 1016771"/>
                    <a:gd name="connsiteX0" fmla="*/ 116476 w 761692"/>
                    <a:gd name="connsiteY0" fmla="*/ 741349 h 1016771"/>
                    <a:gd name="connsiteX1" fmla="*/ 117606 w 761692"/>
                    <a:gd name="connsiteY1" fmla="*/ 742253 h 1016771"/>
                    <a:gd name="connsiteX2" fmla="*/ 122692 w 761692"/>
                    <a:gd name="connsiteY2" fmla="*/ 759206 h 1016771"/>
                    <a:gd name="connsiteX3" fmla="*/ 126082 w 761692"/>
                    <a:gd name="connsiteY3" fmla="*/ 771073 h 1016771"/>
                    <a:gd name="connsiteX4" fmla="*/ 129473 w 761692"/>
                    <a:gd name="connsiteY4" fmla="*/ 782940 h 1016771"/>
                    <a:gd name="connsiteX5" fmla="*/ 132864 w 761692"/>
                    <a:gd name="connsiteY5" fmla="*/ 793112 h 1016771"/>
                    <a:gd name="connsiteX6" fmla="*/ 127539 w 761692"/>
                    <a:gd name="connsiteY6" fmla="*/ 779407 h 1016771"/>
                    <a:gd name="connsiteX7" fmla="*/ 123996 w 761692"/>
                    <a:gd name="connsiteY7" fmla="*/ 767007 h 1016771"/>
                    <a:gd name="connsiteX8" fmla="*/ 120454 w 761692"/>
                    <a:gd name="connsiteY8" fmla="*/ 754607 h 1016771"/>
                    <a:gd name="connsiteX9" fmla="*/ 116476 w 761692"/>
                    <a:gd name="connsiteY9" fmla="*/ 741349 h 1016771"/>
                    <a:gd name="connsiteX10" fmla="*/ 554441 w 761692"/>
                    <a:gd name="connsiteY10" fmla="*/ 0 h 1016771"/>
                    <a:gd name="connsiteX11" fmla="*/ 570383 w 761692"/>
                    <a:gd name="connsiteY11" fmla="*/ 3543 h 1016771"/>
                    <a:gd name="connsiteX12" fmla="*/ 577469 w 761692"/>
                    <a:gd name="connsiteY12" fmla="*/ 8857 h 1016771"/>
                    <a:gd name="connsiteX13" fmla="*/ 582783 w 761692"/>
                    <a:gd name="connsiteY13" fmla="*/ 17714 h 1016771"/>
                    <a:gd name="connsiteX14" fmla="*/ 582783 w 761692"/>
                    <a:gd name="connsiteY14" fmla="*/ 24799 h 1016771"/>
                    <a:gd name="connsiteX15" fmla="*/ 588097 w 761692"/>
                    <a:gd name="connsiteY15" fmla="*/ 33656 h 1016771"/>
                    <a:gd name="connsiteX16" fmla="*/ 598725 w 761692"/>
                    <a:gd name="connsiteY16" fmla="*/ 31885 h 1016771"/>
                    <a:gd name="connsiteX17" fmla="*/ 612896 w 761692"/>
                    <a:gd name="connsiteY17" fmla="*/ 37199 h 1016771"/>
                    <a:gd name="connsiteX18" fmla="*/ 618211 w 761692"/>
                    <a:gd name="connsiteY18" fmla="*/ 46056 h 1016771"/>
                    <a:gd name="connsiteX19" fmla="*/ 619982 w 761692"/>
                    <a:gd name="connsiteY19" fmla="*/ 54913 h 1016771"/>
                    <a:gd name="connsiteX20" fmla="*/ 618211 w 761692"/>
                    <a:gd name="connsiteY20" fmla="*/ 74398 h 1016771"/>
                    <a:gd name="connsiteX21" fmla="*/ 616439 w 761692"/>
                    <a:gd name="connsiteY21" fmla="*/ 85026 h 1016771"/>
                    <a:gd name="connsiteX22" fmla="*/ 621753 w 761692"/>
                    <a:gd name="connsiteY22" fmla="*/ 97426 h 1016771"/>
                    <a:gd name="connsiteX23" fmla="*/ 637696 w 761692"/>
                    <a:gd name="connsiteY23" fmla="*/ 113368 h 1016771"/>
                    <a:gd name="connsiteX24" fmla="*/ 644781 w 761692"/>
                    <a:gd name="connsiteY24" fmla="*/ 120454 h 1016771"/>
                    <a:gd name="connsiteX25" fmla="*/ 650095 w 761692"/>
                    <a:gd name="connsiteY25" fmla="*/ 136396 h 1016771"/>
                    <a:gd name="connsiteX26" fmla="*/ 655409 w 761692"/>
                    <a:gd name="connsiteY26" fmla="*/ 155881 h 1016771"/>
                    <a:gd name="connsiteX27" fmla="*/ 662495 w 761692"/>
                    <a:gd name="connsiteY27" fmla="*/ 171824 h 1016771"/>
                    <a:gd name="connsiteX28" fmla="*/ 660724 w 761692"/>
                    <a:gd name="connsiteY28" fmla="*/ 185995 h 1016771"/>
                    <a:gd name="connsiteX29" fmla="*/ 635924 w 761692"/>
                    <a:gd name="connsiteY29" fmla="*/ 194852 h 1016771"/>
                    <a:gd name="connsiteX30" fmla="*/ 619982 w 761692"/>
                    <a:gd name="connsiteY30" fmla="*/ 207251 h 1016771"/>
                    <a:gd name="connsiteX31" fmla="*/ 614668 w 761692"/>
                    <a:gd name="connsiteY31" fmla="*/ 223194 h 1016771"/>
                    <a:gd name="connsiteX32" fmla="*/ 618211 w 761692"/>
                    <a:gd name="connsiteY32" fmla="*/ 242679 h 1016771"/>
                    <a:gd name="connsiteX33" fmla="*/ 612896 w 761692"/>
                    <a:gd name="connsiteY33" fmla="*/ 256850 h 1016771"/>
                    <a:gd name="connsiteX34" fmla="*/ 625296 w 761692"/>
                    <a:gd name="connsiteY34" fmla="*/ 267478 h 1016771"/>
                    <a:gd name="connsiteX35" fmla="*/ 641238 w 761692"/>
                    <a:gd name="connsiteY35" fmla="*/ 269250 h 1016771"/>
                    <a:gd name="connsiteX36" fmla="*/ 658952 w 761692"/>
                    <a:gd name="connsiteY36" fmla="*/ 286963 h 1016771"/>
                    <a:gd name="connsiteX37" fmla="*/ 653638 w 761692"/>
                    <a:gd name="connsiteY37" fmla="*/ 309991 h 1016771"/>
                    <a:gd name="connsiteX38" fmla="*/ 653638 w 761692"/>
                    <a:gd name="connsiteY38" fmla="*/ 329476 h 1016771"/>
                    <a:gd name="connsiteX39" fmla="*/ 643010 w 761692"/>
                    <a:gd name="connsiteY39" fmla="*/ 338333 h 1016771"/>
                    <a:gd name="connsiteX40" fmla="*/ 632382 w 761692"/>
                    <a:gd name="connsiteY40" fmla="*/ 338333 h 1016771"/>
                    <a:gd name="connsiteX41" fmla="*/ 618211 w 761692"/>
                    <a:gd name="connsiteY41" fmla="*/ 357819 h 1016771"/>
                    <a:gd name="connsiteX42" fmla="*/ 609354 w 761692"/>
                    <a:gd name="connsiteY42" fmla="*/ 361361 h 1016771"/>
                    <a:gd name="connsiteX43" fmla="*/ 596954 w 761692"/>
                    <a:gd name="connsiteY43" fmla="*/ 363133 h 1016771"/>
                    <a:gd name="connsiteX44" fmla="*/ 581012 w 761692"/>
                    <a:gd name="connsiteY44" fmla="*/ 379075 h 1016771"/>
                    <a:gd name="connsiteX45" fmla="*/ 589868 w 761692"/>
                    <a:gd name="connsiteY45" fmla="*/ 393246 h 1016771"/>
                    <a:gd name="connsiteX46" fmla="*/ 586326 w 761692"/>
                    <a:gd name="connsiteY46" fmla="*/ 409189 h 1016771"/>
                    <a:gd name="connsiteX47" fmla="*/ 570383 w 761692"/>
                    <a:gd name="connsiteY47" fmla="*/ 398560 h 1016771"/>
                    <a:gd name="connsiteX48" fmla="*/ 550898 w 761692"/>
                    <a:gd name="connsiteY48" fmla="*/ 405646 h 1016771"/>
                    <a:gd name="connsiteX49" fmla="*/ 531413 w 761692"/>
                    <a:gd name="connsiteY49" fmla="*/ 425131 h 1016771"/>
                    <a:gd name="connsiteX50" fmla="*/ 543813 w 761692"/>
                    <a:gd name="connsiteY50" fmla="*/ 444616 h 1016771"/>
                    <a:gd name="connsiteX51" fmla="*/ 557984 w 761692"/>
                    <a:gd name="connsiteY51" fmla="*/ 462330 h 1016771"/>
                    <a:gd name="connsiteX52" fmla="*/ 570383 w 761692"/>
                    <a:gd name="connsiteY52" fmla="*/ 478272 h 1016771"/>
                    <a:gd name="connsiteX53" fmla="*/ 579240 w 761692"/>
                    <a:gd name="connsiteY53" fmla="*/ 485358 h 1016771"/>
                    <a:gd name="connsiteX54" fmla="*/ 602268 w 761692"/>
                    <a:gd name="connsiteY54" fmla="*/ 483586 h 1016771"/>
                    <a:gd name="connsiteX55" fmla="*/ 623525 w 761692"/>
                    <a:gd name="connsiteY55" fmla="*/ 474730 h 1016771"/>
                    <a:gd name="connsiteX56" fmla="*/ 639467 w 761692"/>
                    <a:gd name="connsiteY56" fmla="*/ 464101 h 1016771"/>
                    <a:gd name="connsiteX57" fmla="*/ 662495 w 761692"/>
                    <a:gd name="connsiteY57" fmla="*/ 464101 h 1016771"/>
                    <a:gd name="connsiteX58" fmla="*/ 673123 w 761692"/>
                    <a:gd name="connsiteY58" fmla="*/ 464101 h 1016771"/>
                    <a:gd name="connsiteX59" fmla="*/ 681980 w 761692"/>
                    <a:gd name="connsiteY59" fmla="*/ 467644 h 1016771"/>
                    <a:gd name="connsiteX60" fmla="*/ 703237 w 761692"/>
                    <a:gd name="connsiteY60" fmla="*/ 471187 h 1016771"/>
                    <a:gd name="connsiteX61" fmla="*/ 708551 w 761692"/>
                    <a:gd name="connsiteY61" fmla="*/ 474730 h 1016771"/>
                    <a:gd name="connsiteX62" fmla="*/ 722722 w 761692"/>
                    <a:gd name="connsiteY62" fmla="*/ 501300 h 1016771"/>
                    <a:gd name="connsiteX63" fmla="*/ 724493 w 761692"/>
                    <a:gd name="connsiteY63" fmla="*/ 522557 h 1016771"/>
                    <a:gd name="connsiteX64" fmla="*/ 722722 w 761692"/>
                    <a:gd name="connsiteY64" fmla="*/ 540271 h 1016771"/>
                    <a:gd name="connsiteX65" fmla="*/ 735121 w 761692"/>
                    <a:gd name="connsiteY65" fmla="*/ 552670 h 1016771"/>
                    <a:gd name="connsiteX66" fmla="*/ 735121 w 761692"/>
                    <a:gd name="connsiteY66" fmla="*/ 570384 h 1016771"/>
                    <a:gd name="connsiteX67" fmla="*/ 751064 w 761692"/>
                    <a:gd name="connsiteY67" fmla="*/ 581012 h 1016771"/>
                    <a:gd name="connsiteX68" fmla="*/ 761692 w 761692"/>
                    <a:gd name="connsiteY68" fmla="*/ 604040 h 1016771"/>
                    <a:gd name="connsiteX69" fmla="*/ 747521 w 761692"/>
                    <a:gd name="connsiteY69" fmla="*/ 616440 h 1016771"/>
                    <a:gd name="connsiteX70" fmla="*/ 728036 w 761692"/>
                    <a:gd name="connsiteY70" fmla="*/ 627068 h 1016771"/>
                    <a:gd name="connsiteX71" fmla="*/ 726264 w 761692"/>
                    <a:gd name="connsiteY71" fmla="*/ 650096 h 1016771"/>
                    <a:gd name="connsiteX72" fmla="*/ 728036 w 761692"/>
                    <a:gd name="connsiteY72" fmla="*/ 673124 h 1016771"/>
                    <a:gd name="connsiteX73" fmla="*/ 742207 w 761692"/>
                    <a:gd name="connsiteY73" fmla="*/ 689066 h 1016771"/>
                    <a:gd name="connsiteX74" fmla="*/ 742207 w 761692"/>
                    <a:gd name="connsiteY74" fmla="*/ 712094 h 1016771"/>
                    <a:gd name="connsiteX75" fmla="*/ 740435 w 761692"/>
                    <a:gd name="connsiteY75" fmla="*/ 735122 h 1016771"/>
                    <a:gd name="connsiteX76" fmla="*/ 742207 w 761692"/>
                    <a:gd name="connsiteY76" fmla="*/ 751065 h 1016771"/>
                    <a:gd name="connsiteX77" fmla="*/ 747521 w 761692"/>
                    <a:gd name="connsiteY77" fmla="*/ 768778 h 1016771"/>
                    <a:gd name="connsiteX78" fmla="*/ 759921 w 761692"/>
                    <a:gd name="connsiteY78" fmla="*/ 777635 h 1016771"/>
                    <a:gd name="connsiteX79" fmla="*/ 758149 w 761692"/>
                    <a:gd name="connsiteY79" fmla="*/ 802434 h 1016771"/>
                    <a:gd name="connsiteX80" fmla="*/ 752835 w 761692"/>
                    <a:gd name="connsiteY80" fmla="*/ 814834 h 1016771"/>
                    <a:gd name="connsiteX81" fmla="*/ 743978 w 761692"/>
                    <a:gd name="connsiteY81" fmla="*/ 827234 h 1016771"/>
                    <a:gd name="connsiteX82" fmla="*/ 743978 w 761692"/>
                    <a:gd name="connsiteY82" fmla="*/ 837862 h 1016771"/>
                    <a:gd name="connsiteX83" fmla="*/ 747521 w 761692"/>
                    <a:gd name="connsiteY83" fmla="*/ 853804 h 1016771"/>
                    <a:gd name="connsiteX84" fmla="*/ 733350 w 761692"/>
                    <a:gd name="connsiteY84" fmla="*/ 867975 h 1016771"/>
                    <a:gd name="connsiteX85" fmla="*/ 724493 w 761692"/>
                    <a:gd name="connsiteY85" fmla="*/ 880375 h 1016771"/>
                    <a:gd name="connsiteX86" fmla="*/ 722722 w 761692"/>
                    <a:gd name="connsiteY86" fmla="*/ 899860 h 1016771"/>
                    <a:gd name="connsiteX87" fmla="*/ 722722 w 761692"/>
                    <a:gd name="connsiteY87" fmla="*/ 919345 h 1016771"/>
                    <a:gd name="connsiteX88" fmla="*/ 715636 w 761692"/>
                    <a:gd name="connsiteY88" fmla="*/ 940602 h 1016771"/>
                    <a:gd name="connsiteX89" fmla="*/ 708551 w 761692"/>
                    <a:gd name="connsiteY89" fmla="*/ 954773 h 1016771"/>
                    <a:gd name="connsiteX90" fmla="*/ 699694 w 761692"/>
                    <a:gd name="connsiteY90" fmla="*/ 965401 h 1016771"/>
                    <a:gd name="connsiteX91" fmla="*/ 692608 w 761692"/>
                    <a:gd name="connsiteY91" fmla="*/ 984886 h 1016771"/>
                    <a:gd name="connsiteX92" fmla="*/ 683751 w 761692"/>
                    <a:gd name="connsiteY92" fmla="*/ 997286 h 1016771"/>
                    <a:gd name="connsiteX93" fmla="*/ 673123 w 761692"/>
                    <a:gd name="connsiteY93" fmla="*/ 1002600 h 1016771"/>
                    <a:gd name="connsiteX94" fmla="*/ 662495 w 761692"/>
                    <a:gd name="connsiteY94" fmla="*/ 1013228 h 1016771"/>
                    <a:gd name="connsiteX95" fmla="*/ 644781 w 761692"/>
                    <a:gd name="connsiteY95" fmla="*/ 1016771 h 1016771"/>
                    <a:gd name="connsiteX96" fmla="*/ 635924 w 761692"/>
                    <a:gd name="connsiteY96" fmla="*/ 1004372 h 1016771"/>
                    <a:gd name="connsiteX97" fmla="*/ 623525 w 761692"/>
                    <a:gd name="connsiteY97" fmla="*/ 997286 h 1016771"/>
                    <a:gd name="connsiteX98" fmla="*/ 614668 w 761692"/>
                    <a:gd name="connsiteY98" fmla="*/ 986658 h 1016771"/>
                    <a:gd name="connsiteX99" fmla="*/ 593411 w 761692"/>
                    <a:gd name="connsiteY99" fmla="*/ 970715 h 1016771"/>
                    <a:gd name="connsiteX100" fmla="*/ 582783 w 761692"/>
                    <a:gd name="connsiteY100" fmla="*/ 965401 h 1016771"/>
                    <a:gd name="connsiteX101" fmla="*/ 531413 w 761692"/>
                    <a:gd name="connsiteY101" fmla="*/ 965401 h 1016771"/>
                    <a:gd name="connsiteX102" fmla="*/ 511928 w 761692"/>
                    <a:gd name="connsiteY102" fmla="*/ 965401 h 1016771"/>
                    <a:gd name="connsiteX103" fmla="*/ 492443 w 761692"/>
                    <a:gd name="connsiteY103" fmla="*/ 963630 h 1016771"/>
                    <a:gd name="connsiteX104" fmla="*/ 483586 w 761692"/>
                    <a:gd name="connsiteY104" fmla="*/ 958316 h 1016771"/>
                    <a:gd name="connsiteX105" fmla="*/ 469415 w 761692"/>
                    <a:gd name="connsiteY105" fmla="*/ 954773 h 1016771"/>
                    <a:gd name="connsiteX106" fmla="*/ 460558 w 761692"/>
                    <a:gd name="connsiteY106" fmla="*/ 942373 h 1016771"/>
                    <a:gd name="connsiteX107" fmla="*/ 446387 w 761692"/>
                    <a:gd name="connsiteY107" fmla="*/ 935288 h 1016771"/>
                    <a:gd name="connsiteX108" fmla="*/ 428673 w 761692"/>
                    <a:gd name="connsiteY108" fmla="*/ 928202 h 1016771"/>
                    <a:gd name="connsiteX109" fmla="*/ 418045 w 761692"/>
                    <a:gd name="connsiteY109" fmla="*/ 917574 h 1016771"/>
                    <a:gd name="connsiteX110" fmla="*/ 421588 w 761692"/>
                    <a:gd name="connsiteY110" fmla="*/ 903403 h 1016771"/>
                    <a:gd name="connsiteX111" fmla="*/ 418045 w 761692"/>
                    <a:gd name="connsiteY111" fmla="*/ 898089 h 1016771"/>
                    <a:gd name="connsiteX112" fmla="*/ 396788 w 761692"/>
                    <a:gd name="connsiteY112" fmla="*/ 898089 h 1016771"/>
                    <a:gd name="connsiteX113" fmla="*/ 382617 w 761692"/>
                    <a:gd name="connsiteY113" fmla="*/ 896318 h 1016771"/>
                    <a:gd name="connsiteX114" fmla="*/ 380846 w 761692"/>
                    <a:gd name="connsiteY114" fmla="*/ 906946 h 1016771"/>
                    <a:gd name="connsiteX115" fmla="*/ 373601 w 761692"/>
                    <a:gd name="connsiteY115" fmla="*/ 894832 h 1016771"/>
                    <a:gd name="connsiteX116" fmla="*/ 387164 w 761692"/>
                    <a:gd name="connsiteY116" fmla="*/ 896527 h 1016771"/>
                    <a:gd name="connsiteX117" fmla="*/ 383773 w 761692"/>
                    <a:gd name="connsiteY117" fmla="*/ 886355 h 1016771"/>
                    <a:gd name="connsiteX118" fmla="*/ 387164 w 761692"/>
                    <a:gd name="connsiteY118" fmla="*/ 876183 h 1016771"/>
                    <a:gd name="connsiteX119" fmla="*/ 388859 w 761692"/>
                    <a:gd name="connsiteY119" fmla="*/ 867707 h 1016771"/>
                    <a:gd name="connsiteX120" fmla="*/ 380382 w 761692"/>
                    <a:gd name="connsiteY120" fmla="*/ 859230 h 1016771"/>
                    <a:gd name="connsiteX121" fmla="*/ 373601 w 761692"/>
                    <a:gd name="connsiteY121" fmla="*/ 849058 h 1016771"/>
                    <a:gd name="connsiteX122" fmla="*/ 380382 w 761692"/>
                    <a:gd name="connsiteY122" fmla="*/ 838886 h 1016771"/>
                    <a:gd name="connsiteX123" fmla="*/ 383773 w 761692"/>
                    <a:gd name="connsiteY123" fmla="*/ 833800 h 1016771"/>
                    <a:gd name="connsiteX124" fmla="*/ 388859 w 761692"/>
                    <a:gd name="connsiteY124" fmla="*/ 825324 h 1016771"/>
                    <a:gd name="connsiteX125" fmla="*/ 387164 w 761692"/>
                    <a:gd name="connsiteY125" fmla="*/ 810066 h 1016771"/>
                    <a:gd name="connsiteX126" fmla="*/ 387164 w 761692"/>
                    <a:gd name="connsiteY126" fmla="*/ 796503 h 1016771"/>
                    <a:gd name="connsiteX127" fmla="*/ 378687 w 761692"/>
                    <a:gd name="connsiteY127" fmla="*/ 789722 h 1016771"/>
                    <a:gd name="connsiteX128" fmla="*/ 366820 w 761692"/>
                    <a:gd name="connsiteY128" fmla="*/ 782940 h 1016771"/>
                    <a:gd name="connsiteX129" fmla="*/ 356648 w 761692"/>
                    <a:gd name="connsiteY129" fmla="*/ 781245 h 1016771"/>
                    <a:gd name="connsiteX130" fmla="*/ 349866 w 761692"/>
                    <a:gd name="connsiteY130" fmla="*/ 771073 h 1016771"/>
                    <a:gd name="connsiteX131" fmla="*/ 349866 w 761692"/>
                    <a:gd name="connsiteY131" fmla="*/ 752425 h 1016771"/>
                    <a:gd name="connsiteX132" fmla="*/ 353257 w 761692"/>
                    <a:gd name="connsiteY132" fmla="*/ 743948 h 1016771"/>
                    <a:gd name="connsiteX133" fmla="*/ 354952 w 761692"/>
                    <a:gd name="connsiteY133" fmla="*/ 730385 h 1016771"/>
                    <a:gd name="connsiteX134" fmla="*/ 353257 w 761692"/>
                    <a:gd name="connsiteY134" fmla="*/ 713432 h 1016771"/>
                    <a:gd name="connsiteX135" fmla="*/ 346476 w 761692"/>
                    <a:gd name="connsiteY135" fmla="*/ 701565 h 1016771"/>
                    <a:gd name="connsiteX136" fmla="*/ 332913 w 761692"/>
                    <a:gd name="connsiteY136" fmla="*/ 689697 h 1016771"/>
                    <a:gd name="connsiteX137" fmla="*/ 324436 w 761692"/>
                    <a:gd name="connsiteY137" fmla="*/ 681221 h 1016771"/>
                    <a:gd name="connsiteX138" fmla="*/ 314264 w 761692"/>
                    <a:gd name="connsiteY138" fmla="*/ 676135 h 1016771"/>
                    <a:gd name="connsiteX139" fmla="*/ 293920 w 761692"/>
                    <a:gd name="connsiteY139" fmla="*/ 669354 h 1016771"/>
                    <a:gd name="connsiteX140" fmla="*/ 282053 w 761692"/>
                    <a:gd name="connsiteY140" fmla="*/ 667658 h 1016771"/>
                    <a:gd name="connsiteX141" fmla="*/ 266795 w 761692"/>
                    <a:gd name="connsiteY141" fmla="*/ 672744 h 1016771"/>
                    <a:gd name="connsiteX142" fmla="*/ 265100 w 761692"/>
                    <a:gd name="connsiteY142" fmla="*/ 672744 h 1016771"/>
                    <a:gd name="connsiteX143" fmla="*/ 263404 w 761692"/>
                    <a:gd name="connsiteY143" fmla="*/ 671049 h 1016771"/>
                    <a:gd name="connsiteX144" fmla="*/ 260014 w 761692"/>
                    <a:gd name="connsiteY144" fmla="*/ 671049 h 1016771"/>
                    <a:gd name="connsiteX145" fmla="*/ 258318 w 761692"/>
                    <a:gd name="connsiteY145" fmla="*/ 671049 h 1016771"/>
                    <a:gd name="connsiteX146" fmla="*/ 253232 w 761692"/>
                    <a:gd name="connsiteY146" fmla="*/ 671049 h 1016771"/>
                    <a:gd name="connsiteX147" fmla="*/ 248146 w 761692"/>
                    <a:gd name="connsiteY147" fmla="*/ 672744 h 1016771"/>
                    <a:gd name="connsiteX148" fmla="*/ 248146 w 761692"/>
                    <a:gd name="connsiteY148" fmla="*/ 674440 h 1016771"/>
                    <a:gd name="connsiteX149" fmla="*/ 246451 w 761692"/>
                    <a:gd name="connsiteY149" fmla="*/ 674440 h 1016771"/>
                    <a:gd name="connsiteX150" fmla="*/ 236279 w 761692"/>
                    <a:gd name="connsiteY150" fmla="*/ 679526 h 1016771"/>
                    <a:gd name="connsiteX151" fmla="*/ 226107 w 761692"/>
                    <a:gd name="connsiteY151" fmla="*/ 684612 h 1016771"/>
                    <a:gd name="connsiteX152" fmla="*/ 217630 w 761692"/>
                    <a:gd name="connsiteY152" fmla="*/ 684612 h 1016771"/>
                    <a:gd name="connsiteX153" fmla="*/ 207458 w 761692"/>
                    <a:gd name="connsiteY153" fmla="*/ 693088 h 1016771"/>
                    <a:gd name="connsiteX154" fmla="*/ 198982 w 761692"/>
                    <a:gd name="connsiteY154" fmla="*/ 694783 h 1016771"/>
                    <a:gd name="connsiteX155" fmla="*/ 192200 w 761692"/>
                    <a:gd name="connsiteY155" fmla="*/ 699869 h 1016771"/>
                    <a:gd name="connsiteX156" fmla="*/ 178638 w 761692"/>
                    <a:gd name="connsiteY156" fmla="*/ 706651 h 1016771"/>
                    <a:gd name="connsiteX157" fmla="*/ 163380 w 761692"/>
                    <a:gd name="connsiteY157" fmla="*/ 710041 h 1016771"/>
                    <a:gd name="connsiteX158" fmla="*/ 141340 w 761692"/>
                    <a:gd name="connsiteY158" fmla="*/ 710041 h 1016771"/>
                    <a:gd name="connsiteX159" fmla="*/ 134559 w 761692"/>
                    <a:gd name="connsiteY159" fmla="*/ 716823 h 1016771"/>
                    <a:gd name="connsiteX160" fmla="*/ 127778 w 761692"/>
                    <a:gd name="connsiteY160" fmla="*/ 718518 h 1016771"/>
                    <a:gd name="connsiteX161" fmla="*/ 120996 w 761692"/>
                    <a:gd name="connsiteY161" fmla="*/ 725299 h 1016771"/>
                    <a:gd name="connsiteX162" fmla="*/ 111172 w 761692"/>
                    <a:gd name="connsiteY162" fmla="*/ 733720 h 1016771"/>
                    <a:gd name="connsiteX163" fmla="*/ 106283 w 761692"/>
                    <a:gd name="connsiteY163" fmla="*/ 729808 h 1016771"/>
                    <a:gd name="connsiteX164" fmla="*/ 92112 w 761692"/>
                    <a:gd name="connsiteY164" fmla="*/ 724494 h 1016771"/>
                    <a:gd name="connsiteX165" fmla="*/ 77941 w 761692"/>
                    <a:gd name="connsiteY165" fmla="*/ 726265 h 1016771"/>
                    <a:gd name="connsiteX166" fmla="*/ 70855 w 761692"/>
                    <a:gd name="connsiteY166" fmla="*/ 719180 h 1016771"/>
                    <a:gd name="connsiteX167" fmla="*/ 70855 w 761692"/>
                    <a:gd name="connsiteY167" fmla="*/ 699695 h 1016771"/>
                    <a:gd name="connsiteX168" fmla="*/ 81483 w 761692"/>
                    <a:gd name="connsiteY168" fmla="*/ 685524 h 1016771"/>
                    <a:gd name="connsiteX169" fmla="*/ 85026 w 761692"/>
                    <a:gd name="connsiteY169" fmla="*/ 673124 h 1016771"/>
                    <a:gd name="connsiteX170" fmla="*/ 86797 w 761692"/>
                    <a:gd name="connsiteY170" fmla="*/ 660724 h 1016771"/>
                    <a:gd name="connsiteX171" fmla="*/ 97426 w 761692"/>
                    <a:gd name="connsiteY171" fmla="*/ 650096 h 1016771"/>
                    <a:gd name="connsiteX172" fmla="*/ 102740 w 761692"/>
                    <a:gd name="connsiteY172" fmla="*/ 635925 h 1016771"/>
                    <a:gd name="connsiteX173" fmla="*/ 113368 w 761692"/>
                    <a:gd name="connsiteY173" fmla="*/ 625297 h 1016771"/>
                    <a:gd name="connsiteX174" fmla="*/ 115139 w 761692"/>
                    <a:gd name="connsiteY174" fmla="*/ 612897 h 1016771"/>
                    <a:gd name="connsiteX175" fmla="*/ 127539 w 761692"/>
                    <a:gd name="connsiteY175" fmla="*/ 609354 h 1016771"/>
                    <a:gd name="connsiteX176" fmla="*/ 136396 w 761692"/>
                    <a:gd name="connsiteY176" fmla="*/ 604040 h 1016771"/>
                    <a:gd name="connsiteX177" fmla="*/ 132853 w 761692"/>
                    <a:gd name="connsiteY177" fmla="*/ 593412 h 1016771"/>
                    <a:gd name="connsiteX178" fmla="*/ 134625 w 761692"/>
                    <a:gd name="connsiteY178" fmla="*/ 584555 h 1016771"/>
                    <a:gd name="connsiteX179" fmla="*/ 131082 w 761692"/>
                    <a:gd name="connsiteY179" fmla="*/ 575698 h 1016771"/>
                    <a:gd name="connsiteX180" fmla="*/ 120454 w 761692"/>
                    <a:gd name="connsiteY180" fmla="*/ 568613 h 1016771"/>
                    <a:gd name="connsiteX181" fmla="*/ 125768 w 761692"/>
                    <a:gd name="connsiteY181" fmla="*/ 552670 h 1016771"/>
                    <a:gd name="connsiteX182" fmla="*/ 118682 w 761692"/>
                    <a:gd name="connsiteY182" fmla="*/ 543813 h 1016771"/>
                    <a:gd name="connsiteX183" fmla="*/ 90340 w 761692"/>
                    <a:gd name="connsiteY183" fmla="*/ 543813 h 1016771"/>
                    <a:gd name="connsiteX184" fmla="*/ 86797 w 761692"/>
                    <a:gd name="connsiteY184" fmla="*/ 542042 h 1016771"/>
                    <a:gd name="connsiteX185" fmla="*/ 83255 w 761692"/>
                    <a:gd name="connsiteY185" fmla="*/ 542042 h 1016771"/>
                    <a:gd name="connsiteX186" fmla="*/ 81483 w 761692"/>
                    <a:gd name="connsiteY186" fmla="*/ 540271 h 1016771"/>
                    <a:gd name="connsiteX187" fmla="*/ 81483 w 761692"/>
                    <a:gd name="connsiteY187" fmla="*/ 536728 h 1016771"/>
                    <a:gd name="connsiteX188" fmla="*/ 79712 w 761692"/>
                    <a:gd name="connsiteY188" fmla="*/ 531414 h 1016771"/>
                    <a:gd name="connsiteX189" fmla="*/ 77941 w 761692"/>
                    <a:gd name="connsiteY189" fmla="*/ 529642 h 1016771"/>
                    <a:gd name="connsiteX190" fmla="*/ 70855 w 761692"/>
                    <a:gd name="connsiteY190" fmla="*/ 527871 h 1016771"/>
                    <a:gd name="connsiteX191" fmla="*/ 60227 w 761692"/>
                    <a:gd name="connsiteY191" fmla="*/ 536728 h 1016771"/>
                    <a:gd name="connsiteX192" fmla="*/ 47827 w 761692"/>
                    <a:gd name="connsiteY192" fmla="*/ 526100 h 1016771"/>
                    <a:gd name="connsiteX193" fmla="*/ 42513 w 761692"/>
                    <a:gd name="connsiteY193" fmla="*/ 515471 h 1016771"/>
                    <a:gd name="connsiteX194" fmla="*/ 33656 w 761692"/>
                    <a:gd name="connsiteY194" fmla="*/ 506614 h 1016771"/>
                    <a:gd name="connsiteX195" fmla="*/ 31885 w 761692"/>
                    <a:gd name="connsiteY195" fmla="*/ 490672 h 1016771"/>
                    <a:gd name="connsiteX196" fmla="*/ 26571 w 761692"/>
                    <a:gd name="connsiteY196" fmla="*/ 476501 h 1016771"/>
                    <a:gd name="connsiteX197" fmla="*/ 24799 w 761692"/>
                    <a:gd name="connsiteY197" fmla="*/ 471187 h 1016771"/>
                    <a:gd name="connsiteX198" fmla="*/ 12400 w 761692"/>
                    <a:gd name="connsiteY198" fmla="*/ 472958 h 1016771"/>
                    <a:gd name="connsiteX199" fmla="*/ 7086 w 761692"/>
                    <a:gd name="connsiteY199" fmla="*/ 464101 h 1016771"/>
                    <a:gd name="connsiteX200" fmla="*/ 8857 w 761692"/>
                    <a:gd name="connsiteY200" fmla="*/ 446388 h 1016771"/>
                    <a:gd name="connsiteX201" fmla="*/ 3543 w 761692"/>
                    <a:gd name="connsiteY201" fmla="*/ 435759 h 1016771"/>
                    <a:gd name="connsiteX202" fmla="*/ 5314 w 761692"/>
                    <a:gd name="connsiteY202" fmla="*/ 412731 h 1016771"/>
                    <a:gd name="connsiteX203" fmla="*/ 0 w 761692"/>
                    <a:gd name="connsiteY203" fmla="*/ 396789 h 1016771"/>
                    <a:gd name="connsiteX204" fmla="*/ 3543 w 761692"/>
                    <a:gd name="connsiteY204" fmla="*/ 384389 h 1016771"/>
                    <a:gd name="connsiteX205" fmla="*/ 14171 w 761692"/>
                    <a:gd name="connsiteY205" fmla="*/ 380846 h 1016771"/>
                    <a:gd name="connsiteX206" fmla="*/ 24799 w 761692"/>
                    <a:gd name="connsiteY206" fmla="*/ 364904 h 1016771"/>
                    <a:gd name="connsiteX207" fmla="*/ 30113 w 761692"/>
                    <a:gd name="connsiteY207" fmla="*/ 350733 h 1016771"/>
                    <a:gd name="connsiteX208" fmla="*/ 35428 w 761692"/>
                    <a:gd name="connsiteY208" fmla="*/ 341876 h 1016771"/>
                    <a:gd name="connsiteX209" fmla="*/ 42513 w 761692"/>
                    <a:gd name="connsiteY209" fmla="*/ 327705 h 1016771"/>
                    <a:gd name="connsiteX210" fmla="*/ 42513 w 761692"/>
                    <a:gd name="connsiteY210" fmla="*/ 315305 h 1016771"/>
                    <a:gd name="connsiteX211" fmla="*/ 56684 w 761692"/>
                    <a:gd name="connsiteY211" fmla="*/ 309991 h 1016771"/>
                    <a:gd name="connsiteX212" fmla="*/ 60227 w 761692"/>
                    <a:gd name="connsiteY212" fmla="*/ 309991 h 1016771"/>
                    <a:gd name="connsiteX213" fmla="*/ 61998 w 761692"/>
                    <a:gd name="connsiteY213" fmla="*/ 311763 h 1016771"/>
                    <a:gd name="connsiteX214" fmla="*/ 67312 w 761692"/>
                    <a:gd name="connsiteY214" fmla="*/ 311763 h 1016771"/>
                    <a:gd name="connsiteX215" fmla="*/ 67312 w 761692"/>
                    <a:gd name="connsiteY215" fmla="*/ 309991 h 1016771"/>
                    <a:gd name="connsiteX216" fmla="*/ 67312 w 761692"/>
                    <a:gd name="connsiteY216" fmla="*/ 308220 h 1016771"/>
                    <a:gd name="connsiteX217" fmla="*/ 69084 w 761692"/>
                    <a:gd name="connsiteY217" fmla="*/ 302906 h 1016771"/>
                    <a:gd name="connsiteX218" fmla="*/ 70855 w 761692"/>
                    <a:gd name="connsiteY218" fmla="*/ 301134 h 1016771"/>
                    <a:gd name="connsiteX219" fmla="*/ 70855 w 761692"/>
                    <a:gd name="connsiteY219" fmla="*/ 299363 h 1016771"/>
                    <a:gd name="connsiteX220" fmla="*/ 77941 w 761692"/>
                    <a:gd name="connsiteY220" fmla="*/ 295820 h 1016771"/>
                    <a:gd name="connsiteX221" fmla="*/ 85026 w 761692"/>
                    <a:gd name="connsiteY221" fmla="*/ 295820 h 1016771"/>
                    <a:gd name="connsiteX222" fmla="*/ 93883 w 761692"/>
                    <a:gd name="connsiteY222" fmla="*/ 297592 h 1016771"/>
                    <a:gd name="connsiteX223" fmla="*/ 100968 w 761692"/>
                    <a:gd name="connsiteY223" fmla="*/ 288735 h 1016771"/>
                    <a:gd name="connsiteX224" fmla="*/ 97426 w 761692"/>
                    <a:gd name="connsiteY224" fmla="*/ 279878 h 1016771"/>
                    <a:gd name="connsiteX225" fmla="*/ 85026 w 761692"/>
                    <a:gd name="connsiteY225" fmla="*/ 276335 h 1016771"/>
                    <a:gd name="connsiteX226" fmla="*/ 76169 w 761692"/>
                    <a:gd name="connsiteY226" fmla="*/ 271021 h 1016771"/>
                    <a:gd name="connsiteX227" fmla="*/ 76169 w 761692"/>
                    <a:gd name="connsiteY227" fmla="*/ 262164 h 1016771"/>
                    <a:gd name="connsiteX228" fmla="*/ 81483 w 761692"/>
                    <a:gd name="connsiteY228" fmla="*/ 251536 h 1016771"/>
                    <a:gd name="connsiteX229" fmla="*/ 86797 w 761692"/>
                    <a:gd name="connsiteY229" fmla="*/ 255079 h 1016771"/>
                    <a:gd name="connsiteX230" fmla="*/ 104511 w 761692"/>
                    <a:gd name="connsiteY230" fmla="*/ 262164 h 1016771"/>
                    <a:gd name="connsiteX231" fmla="*/ 116911 w 761692"/>
                    <a:gd name="connsiteY231" fmla="*/ 265707 h 1016771"/>
                    <a:gd name="connsiteX232" fmla="*/ 132853 w 761692"/>
                    <a:gd name="connsiteY232" fmla="*/ 269250 h 1016771"/>
                    <a:gd name="connsiteX233" fmla="*/ 138167 w 761692"/>
                    <a:gd name="connsiteY233" fmla="*/ 265707 h 1016771"/>
                    <a:gd name="connsiteX234" fmla="*/ 150567 w 761692"/>
                    <a:gd name="connsiteY234" fmla="*/ 255079 h 1016771"/>
                    <a:gd name="connsiteX235" fmla="*/ 166509 w 761692"/>
                    <a:gd name="connsiteY235" fmla="*/ 255079 h 1016771"/>
                    <a:gd name="connsiteX236" fmla="*/ 166509 w 761692"/>
                    <a:gd name="connsiteY236" fmla="*/ 265707 h 1016771"/>
                    <a:gd name="connsiteX237" fmla="*/ 177138 w 761692"/>
                    <a:gd name="connsiteY237" fmla="*/ 272792 h 1016771"/>
                    <a:gd name="connsiteX238" fmla="*/ 194851 w 761692"/>
                    <a:gd name="connsiteY238" fmla="*/ 276335 h 1016771"/>
                    <a:gd name="connsiteX239" fmla="*/ 209022 w 761692"/>
                    <a:gd name="connsiteY239" fmla="*/ 279878 h 1016771"/>
                    <a:gd name="connsiteX240" fmla="*/ 221422 w 761692"/>
                    <a:gd name="connsiteY240" fmla="*/ 276335 h 1016771"/>
                    <a:gd name="connsiteX241" fmla="*/ 226736 w 761692"/>
                    <a:gd name="connsiteY241" fmla="*/ 269250 h 1016771"/>
                    <a:gd name="connsiteX242" fmla="*/ 226736 w 761692"/>
                    <a:gd name="connsiteY242" fmla="*/ 251536 h 1016771"/>
                    <a:gd name="connsiteX243" fmla="*/ 224965 w 761692"/>
                    <a:gd name="connsiteY243" fmla="*/ 239136 h 1016771"/>
                    <a:gd name="connsiteX244" fmla="*/ 214337 w 761692"/>
                    <a:gd name="connsiteY244" fmla="*/ 230279 h 1016771"/>
                    <a:gd name="connsiteX245" fmla="*/ 210794 w 761692"/>
                    <a:gd name="connsiteY245" fmla="*/ 217880 h 1016771"/>
                    <a:gd name="connsiteX246" fmla="*/ 221422 w 761692"/>
                    <a:gd name="connsiteY246" fmla="*/ 207251 h 1016771"/>
                    <a:gd name="connsiteX247" fmla="*/ 235593 w 761692"/>
                    <a:gd name="connsiteY247" fmla="*/ 214337 h 1016771"/>
                    <a:gd name="connsiteX248" fmla="*/ 246221 w 761692"/>
                    <a:gd name="connsiteY248" fmla="*/ 219651 h 1016771"/>
                    <a:gd name="connsiteX249" fmla="*/ 253307 w 761692"/>
                    <a:gd name="connsiteY249" fmla="*/ 221422 h 1016771"/>
                    <a:gd name="connsiteX250" fmla="*/ 262164 w 761692"/>
                    <a:gd name="connsiteY250" fmla="*/ 210794 h 1016771"/>
                    <a:gd name="connsiteX251" fmla="*/ 263935 w 761692"/>
                    <a:gd name="connsiteY251" fmla="*/ 201937 h 1016771"/>
                    <a:gd name="connsiteX252" fmla="*/ 274563 w 761692"/>
                    <a:gd name="connsiteY252" fmla="*/ 189538 h 1016771"/>
                    <a:gd name="connsiteX253" fmla="*/ 283420 w 761692"/>
                    <a:gd name="connsiteY253" fmla="*/ 178909 h 1016771"/>
                    <a:gd name="connsiteX254" fmla="*/ 286963 w 761692"/>
                    <a:gd name="connsiteY254" fmla="*/ 173595 h 1016771"/>
                    <a:gd name="connsiteX255" fmla="*/ 311762 w 761692"/>
                    <a:gd name="connsiteY255" fmla="*/ 168281 h 1016771"/>
                    <a:gd name="connsiteX256" fmla="*/ 325933 w 761692"/>
                    <a:gd name="connsiteY256" fmla="*/ 164738 h 1016771"/>
                    <a:gd name="connsiteX257" fmla="*/ 336562 w 761692"/>
                    <a:gd name="connsiteY257" fmla="*/ 159424 h 1016771"/>
                    <a:gd name="connsiteX258" fmla="*/ 348961 w 761692"/>
                    <a:gd name="connsiteY258" fmla="*/ 145253 h 1016771"/>
                    <a:gd name="connsiteX259" fmla="*/ 359589 w 761692"/>
                    <a:gd name="connsiteY259" fmla="*/ 143482 h 1016771"/>
                    <a:gd name="connsiteX260" fmla="*/ 371989 w 761692"/>
                    <a:gd name="connsiteY260" fmla="*/ 143482 h 1016771"/>
                    <a:gd name="connsiteX261" fmla="*/ 391474 w 761692"/>
                    <a:gd name="connsiteY261" fmla="*/ 143482 h 1016771"/>
                    <a:gd name="connsiteX262" fmla="*/ 396788 w 761692"/>
                    <a:gd name="connsiteY262" fmla="*/ 141710 h 1016771"/>
                    <a:gd name="connsiteX263" fmla="*/ 403874 w 761692"/>
                    <a:gd name="connsiteY263" fmla="*/ 134625 h 1016771"/>
                    <a:gd name="connsiteX264" fmla="*/ 409188 w 761692"/>
                    <a:gd name="connsiteY264" fmla="*/ 129311 h 1016771"/>
                    <a:gd name="connsiteX265" fmla="*/ 409188 w 761692"/>
                    <a:gd name="connsiteY265" fmla="*/ 123997 h 1016771"/>
                    <a:gd name="connsiteX266" fmla="*/ 414502 w 761692"/>
                    <a:gd name="connsiteY266" fmla="*/ 115140 h 1016771"/>
                    <a:gd name="connsiteX267" fmla="*/ 428673 w 761692"/>
                    <a:gd name="connsiteY267" fmla="*/ 115140 h 1016771"/>
                    <a:gd name="connsiteX268" fmla="*/ 432216 w 761692"/>
                    <a:gd name="connsiteY268" fmla="*/ 109826 h 1016771"/>
                    <a:gd name="connsiteX269" fmla="*/ 437530 w 761692"/>
                    <a:gd name="connsiteY269" fmla="*/ 100969 h 1016771"/>
                    <a:gd name="connsiteX270" fmla="*/ 448158 w 761692"/>
                    <a:gd name="connsiteY270" fmla="*/ 99197 h 1016771"/>
                    <a:gd name="connsiteX271" fmla="*/ 460558 w 761692"/>
                    <a:gd name="connsiteY271" fmla="*/ 97426 h 1016771"/>
                    <a:gd name="connsiteX272" fmla="*/ 472958 w 761692"/>
                    <a:gd name="connsiteY272" fmla="*/ 93883 h 1016771"/>
                    <a:gd name="connsiteX273" fmla="*/ 492443 w 761692"/>
                    <a:gd name="connsiteY273" fmla="*/ 93883 h 1016771"/>
                    <a:gd name="connsiteX274" fmla="*/ 501300 w 761692"/>
                    <a:gd name="connsiteY274" fmla="*/ 83255 h 1016771"/>
                    <a:gd name="connsiteX275" fmla="*/ 517242 w 761692"/>
                    <a:gd name="connsiteY275" fmla="*/ 81484 h 1016771"/>
                    <a:gd name="connsiteX276" fmla="*/ 522556 w 761692"/>
                    <a:gd name="connsiteY276" fmla="*/ 81484 h 1016771"/>
                    <a:gd name="connsiteX277" fmla="*/ 522556 w 761692"/>
                    <a:gd name="connsiteY277" fmla="*/ 60227 h 1016771"/>
                    <a:gd name="connsiteX278" fmla="*/ 526099 w 761692"/>
                    <a:gd name="connsiteY278" fmla="*/ 54913 h 1016771"/>
                    <a:gd name="connsiteX279" fmla="*/ 529642 w 761692"/>
                    <a:gd name="connsiteY279" fmla="*/ 46056 h 1016771"/>
                    <a:gd name="connsiteX280" fmla="*/ 538499 w 761692"/>
                    <a:gd name="connsiteY280" fmla="*/ 40742 h 1016771"/>
                    <a:gd name="connsiteX281" fmla="*/ 540270 w 761692"/>
                    <a:gd name="connsiteY281" fmla="*/ 30114 h 1016771"/>
                    <a:gd name="connsiteX282" fmla="*/ 536727 w 761692"/>
                    <a:gd name="connsiteY282" fmla="*/ 19485 h 1016771"/>
                    <a:gd name="connsiteX283" fmla="*/ 543813 w 761692"/>
                    <a:gd name="connsiteY283" fmla="*/ 5314 h 1016771"/>
                    <a:gd name="connsiteX284" fmla="*/ 554441 w 761692"/>
                    <a:gd name="connsiteY284" fmla="*/ 0 h 1016771"/>
                    <a:gd name="connsiteX0" fmla="*/ 116476 w 761692"/>
                    <a:gd name="connsiteY0" fmla="*/ 741349 h 1016771"/>
                    <a:gd name="connsiteX1" fmla="*/ 117606 w 761692"/>
                    <a:gd name="connsiteY1" fmla="*/ 742253 h 1016771"/>
                    <a:gd name="connsiteX2" fmla="*/ 122692 w 761692"/>
                    <a:gd name="connsiteY2" fmla="*/ 759206 h 1016771"/>
                    <a:gd name="connsiteX3" fmla="*/ 126082 w 761692"/>
                    <a:gd name="connsiteY3" fmla="*/ 771073 h 1016771"/>
                    <a:gd name="connsiteX4" fmla="*/ 129473 w 761692"/>
                    <a:gd name="connsiteY4" fmla="*/ 782940 h 1016771"/>
                    <a:gd name="connsiteX5" fmla="*/ 127539 w 761692"/>
                    <a:gd name="connsiteY5" fmla="*/ 779407 h 1016771"/>
                    <a:gd name="connsiteX6" fmla="*/ 123996 w 761692"/>
                    <a:gd name="connsiteY6" fmla="*/ 767007 h 1016771"/>
                    <a:gd name="connsiteX7" fmla="*/ 120454 w 761692"/>
                    <a:gd name="connsiteY7" fmla="*/ 754607 h 1016771"/>
                    <a:gd name="connsiteX8" fmla="*/ 116476 w 761692"/>
                    <a:gd name="connsiteY8" fmla="*/ 741349 h 1016771"/>
                    <a:gd name="connsiteX9" fmla="*/ 554441 w 761692"/>
                    <a:gd name="connsiteY9" fmla="*/ 0 h 1016771"/>
                    <a:gd name="connsiteX10" fmla="*/ 570383 w 761692"/>
                    <a:gd name="connsiteY10" fmla="*/ 3543 h 1016771"/>
                    <a:gd name="connsiteX11" fmla="*/ 577469 w 761692"/>
                    <a:gd name="connsiteY11" fmla="*/ 8857 h 1016771"/>
                    <a:gd name="connsiteX12" fmla="*/ 582783 w 761692"/>
                    <a:gd name="connsiteY12" fmla="*/ 17714 h 1016771"/>
                    <a:gd name="connsiteX13" fmla="*/ 582783 w 761692"/>
                    <a:gd name="connsiteY13" fmla="*/ 24799 h 1016771"/>
                    <a:gd name="connsiteX14" fmla="*/ 588097 w 761692"/>
                    <a:gd name="connsiteY14" fmla="*/ 33656 h 1016771"/>
                    <a:gd name="connsiteX15" fmla="*/ 598725 w 761692"/>
                    <a:gd name="connsiteY15" fmla="*/ 31885 h 1016771"/>
                    <a:gd name="connsiteX16" fmla="*/ 612896 w 761692"/>
                    <a:gd name="connsiteY16" fmla="*/ 37199 h 1016771"/>
                    <a:gd name="connsiteX17" fmla="*/ 618211 w 761692"/>
                    <a:gd name="connsiteY17" fmla="*/ 46056 h 1016771"/>
                    <a:gd name="connsiteX18" fmla="*/ 619982 w 761692"/>
                    <a:gd name="connsiteY18" fmla="*/ 54913 h 1016771"/>
                    <a:gd name="connsiteX19" fmla="*/ 618211 w 761692"/>
                    <a:gd name="connsiteY19" fmla="*/ 74398 h 1016771"/>
                    <a:gd name="connsiteX20" fmla="*/ 616439 w 761692"/>
                    <a:gd name="connsiteY20" fmla="*/ 85026 h 1016771"/>
                    <a:gd name="connsiteX21" fmla="*/ 621753 w 761692"/>
                    <a:gd name="connsiteY21" fmla="*/ 97426 h 1016771"/>
                    <a:gd name="connsiteX22" fmla="*/ 637696 w 761692"/>
                    <a:gd name="connsiteY22" fmla="*/ 113368 h 1016771"/>
                    <a:gd name="connsiteX23" fmla="*/ 644781 w 761692"/>
                    <a:gd name="connsiteY23" fmla="*/ 120454 h 1016771"/>
                    <a:gd name="connsiteX24" fmla="*/ 650095 w 761692"/>
                    <a:gd name="connsiteY24" fmla="*/ 136396 h 1016771"/>
                    <a:gd name="connsiteX25" fmla="*/ 655409 w 761692"/>
                    <a:gd name="connsiteY25" fmla="*/ 155881 h 1016771"/>
                    <a:gd name="connsiteX26" fmla="*/ 662495 w 761692"/>
                    <a:gd name="connsiteY26" fmla="*/ 171824 h 1016771"/>
                    <a:gd name="connsiteX27" fmla="*/ 660724 w 761692"/>
                    <a:gd name="connsiteY27" fmla="*/ 185995 h 1016771"/>
                    <a:gd name="connsiteX28" fmla="*/ 635924 w 761692"/>
                    <a:gd name="connsiteY28" fmla="*/ 194852 h 1016771"/>
                    <a:gd name="connsiteX29" fmla="*/ 619982 w 761692"/>
                    <a:gd name="connsiteY29" fmla="*/ 207251 h 1016771"/>
                    <a:gd name="connsiteX30" fmla="*/ 614668 w 761692"/>
                    <a:gd name="connsiteY30" fmla="*/ 223194 h 1016771"/>
                    <a:gd name="connsiteX31" fmla="*/ 618211 w 761692"/>
                    <a:gd name="connsiteY31" fmla="*/ 242679 h 1016771"/>
                    <a:gd name="connsiteX32" fmla="*/ 612896 w 761692"/>
                    <a:gd name="connsiteY32" fmla="*/ 256850 h 1016771"/>
                    <a:gd name="connsiteX33" fmla="*/ 625296 w 761692"/>
                    <a:gd name="connsiteY33" fmla="*/ 267478 h 1016771"/>
                    <a:gd name="connsiteX34" fmla="*/ 641238 w 761692"/>
                    <a:gd name="connsiteY34" fmla="*/ 269250 h 1016771"/>
                    <a:gd name="connsiteX35" fmla="*/ 658952 w 761692"/>
                    <a:gd name="connsiteY35" fmla="*/ 286963 h 1016771"/>
                    <a:gd name="connsiteX36" fmla="*/ 653638 w 761692"/>
                    <a:gd name="connsiteY36" fmla="*/ 309991 h 1016771"/>
                    <a:gd name="connsiteX37" fmla="*/ 653638 w 761692"/>
                    <a:gd name="connsiteY37" fmla="*/ 329476 h 1016771"/>
                    <a:gd name="connsiteX38" fmla="*/ 643010 w 761692"/>
                    <a:gd name="connsiteY38" fmla="*/ 338333 h 1016771"/>
                    <a:gd name="connsiteX39" fmla="*/ 632382 w 761692"/>
                    <a:gd name="connsiteY39" fmla="*/ 338333 h 1016771"/>
                    <a:gd name="connsiteX40" fmla="*/ 618211 w 761692"/>
                    <a:gd name="connsiteY40" fmla="*/ 357819 h 1016771"/>
                    <a:gd name="connsiteX41" fmla="*/ 609354 w 761692"/>
                    <a:gd name="connsiteY41" fmla="*/ 361361 h 1016771"/>
                    <a:gd name="connsiteX42" fmla="*/ 596954 w 761692"/>
                    <a:gd name="connsiteY42" fmla="*/ 363133 h 1016771"/>
                    <a:gd name="connsiteX43" fmla="*/ 581012 w 761692"/>
                    <a:gd name="connsiteY43" fmla="*/ 379075 h 1016771"/>
                    <a:gd name="connsiteX44" fmla="*/ 589868 w 761692"/>
                    <a:gd name="connsiteY44" fmla="*/ 393246 h 1016771"/>
                    <a:gd name="connsiteX45" fmla="*/ 586326 w 761692"/>
                    <a:gd name="connsiteY45" fmla="*/ 409189 h 1016771"/>
                    <a:gd name="connsiteX46" fmla="*/ 570383 w 761692"/>
                    <a:gd name="connsiteY46" fmla="*/ 398560 h 1016771"/>
                    <a:gd name="connsiteX47" fmla="*/ 550898 w 761692"/>
                    <a:gd name="connsiteY47" fmla="*/ 405646 h 1016771"/>
                    <a:gd name="connsiteX48" fmla="*/ 531413 w 761692"/>
                    <a:gd name="connsiteY48" fmla="*/ 425131 h 1016771"/>
                    <a:gd name="connsiteX49" fmla="*/ 543813 w 761692"/>
                    <a:gd name="connsiteY49" fmla="*/ 444616 h 1016771"/>
                    <a:gd name="connsiteX50" fmla="*/ 557984 w 761692"/>
                    <a:gd name="connsiteY50" fmla="*/ 462330 h 1016771"/>
                    <a:gd name="connsiteX51" fmla="*/ 570383 w 761692"/>
                    <a:gd name="connsiteY51" fmla="*/ 478272 h 1016771"/>
                    <a:gd name="connsiteX52" fmla="*/ 579240 w 761692"/>
                    <a:gd name="connsiteY52" fmla="*/ 485358 h 1016771"/>
                    <a:gd name="connsiteX53" fmla="*/ 602268 w 761692"/>
                    <a:gd name="connsiteY53" fmla="*/ 483586 h 1016771"/>
                    <a:gd name="connsiteX54" fmla="*/ 623525 w 761692"/>
                    <a:gd name="connsiteY54" fmla="*/ 474730 h 1016771"/>
                    <a:gd name="connsiteX55" fmla="*/ 639467 w 761692"/>
                    <a:gd name="connsiteY55" fmla="*/ 464101 h 1016771"/>
                    <a:gd name="connsiteX56" fmla="*/ 662495 w 761692"/>
                    <a:gd name="connsiteY56" fmla="*/ 464101 h 1016771"/>
                    <a:gd name="connsiteX57" fmla="*/ 673123 w 761692"/>
                    <a:gd name="connsiteY57" fmla="*/ 464101 h 1016771"/>
                    <a:gd name="connsiteX58" fmla="*/ 681980 w 761692"/>
                    <a:gd name="connsiteY58" fmla="*/ 467644 h 1016771"/>
                    <a:gd name="connsiteX59" fmla="*/ 703237 w 761692"/>
                    <a:gd name="connsiteY59" fmla="*/ 471187 h 1016771"/>
                    <a:gd name="connsiteX60" fmla="*/ 708551 w 761692"/>
                    <a:gd name="connsiteY60" fmla="*/ 474730 h 1016771"/>
                    <a:gd name="connsiteX61" fmla="*/ 722722 w 761692"/>
                    <a:gd name="connsiteY61" fmla="*/ 501300 h 1016771"/>
                    <a:gd name="connsiteX62" fmla="*/ 724493 w 761692"/>
                    <a:gd name="connsiteY62" fmla="*/ 522557 h 1016771"/>
                    <a:gd name="connsiteX63" fmla="*/ 722722 w 761692"/>
                    <a:gd name="connsiteY63" fmla="*/ 540271 h 1016771"/>
                    <a:gd name="connsiteX64" fmla="*/ 735121 w 761692"/>
                    <a:gd name="connsiteY64" fmla="*/ 552670 h 1016771"/>
                    <a:gd name="connsiteX65" fmla="*/ 735121 w 761692"/>
                    <a:gd name="connsiteY65" fmla="*/ 570384 h 1016771"/>
                    <a:gd name="connsiteX66" fmla="*/ 751064 w 761692"/>
                    <a:gd name="connsiteY66" fmla="*/ 581012 h 1016771"/>
                    <a:gd name="connsiteX67" fmla="*/ 761692 w 761692"/>
                    <a:gd name="connsiteY67" fmla="*/ 604040 h 1016771"/>
                    <a:gd name="connsiteX68" fmla="*/ 747521 w 761692"/>
                    <a:gd name="connsiteY68" fmla="*/ 616440 h 1016771"/>
                    <a:gd name="connsiteX69" fmla="*/ 728036 w 761692"/>
                    <a:gd name="connsiteY69" fmla="*/ 627068 h 1016771"/>
                    <a:gd name="connsiteX70" fmla="*/ 726264 w 761692"/>
                    <a:gd name="connsiteY70" fmla="*/ 650096 h 1016771"/>
                    <a:gd name="connsiteX71" fmla="*/ 728036 w 761692"/>
                    <a:gd name="connsiteY71" fmla="*/ 673124 h 1016771"/>
                    <a:gd name="connsiteX72" fmla="*/ 742207 w 761692"/>
                    <a:gd name="connsiteY72" fmla="*/ 689066 h 1016771"/>
                    <a:gd name="connsiteX73" fmla="*/ 742207 w 761692"/>
                    <a:gd name="connsiteY73" fmla="*/ 712094 h 1016771"/>
                    <a:gd name="connsiteX74" fmla="*/ 740435 w 761692"/>
                    <a:gd name="connsiteY74" fmla="*/ 735122 h 1016771"/>
                    <a:gd name="connsiteX75" fmla="*/ 742207 w 761692"/>
                    <a:gd name="connsiteY75" fmla="*/ 751065 h 1016771"/>
                    <a:gd name="connsiteX76" fmla="*/ 747521 w 761692"/>
                    <a:gd name="connsiteY76" fmla="*/ 768778 h 1016771"/>
                    <a:gd name="connsiteX77" fmla="*/ 759921 w 761692"/>
                    <a:gd name="connsiteY77" fmla="*/ 777635 h 1016771"/>
                    <a:gd name="connsiteX78" fmla="*/ 758149 w 761692"/>
                    <a:gd name="connsiteY78" fmla="*/ 802434 h 1016771"/>
                    <a:gd name="connsiteX79" fmla="*/ 752835 w 761692"/>
                    <a:gd name="connsiteY79" fmla="*/ 814834 h 1016771"/>
                    <a:gd name="connsiteX80" fmla="*/ 743978 w 761692"/>
                    <a:gd name="connsiteY80" fmla="*/ 827234 h 1016771"/>
                    <a:gd name="connsiteX81" fmla="*/ 743978 w 761692"/>
                    <a:gd name="connsiteY81" fmla="*/ 837862 h 1016771"/>
                    <a:gd name="connsiteX82" fmla="*/ 747521 w 761692"/>
                    <a:gd name="connsiteY82" fmla="*/ 853804 h 1016771"/>
                    <a:gd name="connsiteX83" fmla="*/ 733350 w 761692"/>
                    <a:gd name="connsiteY83" fmla="*/ 867975 h 1016771"/>
                    <a:gd name="connsiteX84" fmla="*/ 724493 w 761692"/>
                    <a:gd name="connsiteY84" fmla="*/ 880375 h 1016771"/>
                    <a:gd name="connsiteX85" fmla="*/ 722722 w 761692"/>
                    <a:gd name="connsiteY85" fmla="*/ 899860 h 1016771"/>
                    <a:gd name="connsiteX86" fmla="*/ 722722 w 761692"/>
                    <a:gd name="connsiteY86" fmla="*/ 919345 h 1016771"/>
                    <a:gd name="connsiteX87" fmla="*/ 715636 w 761692"/>
                    <a:gd name="connsiteY87" fmla="*/ 940602 h 1016771"/>
                    <a:gd name="connsiteX88" fmla="*/ 708551 w 761692"/>
                    <a:gd name="connsiteY88" fmla="*/ 954773 h 1016771"/>
                    <a:gd name="connsiteX89" fmla="*/ 699694 w 761692"/>
                    <a:gd name="connsiteY89" fmla="*/ 965401 h 1016771"/>
                    <a:gd name="connsiteX90" fmla="*/ 692608 w 761692"/>
                    <a:gd name="connsiteY90" fmla="*/ 984886 h 1016771"/>
                    <a:gd name="connsiteX91" fmla="*/ 683751 w 761692"/>
                    <a:gd name="connsiteY91" fmla="*/ 997286 h 1016771"/>
                    <a:gd name="connsiteX92" fmla="*/ 673123 w 761692"/>
                    <a:gd name="connsiteY92" fmla="*/ 1002600 h 1016771"/>
                    <a:gd name="connsiteX93" fmla="*/ 662495 w 761692"/>
                    <a:gd name="connsiteY93" fmla="*/ 1013228 h 1016771"/>
                    <a:gd name="connsiteX94" fmla="*/ 644781 w 761692"/>
                    <a:gd name="connsiteY94" fmla="*/ 1016771 h 1016771"/>
                    <a:gd name="connsiteX95" fmla="*/ 635924 w 761692"/>
                    <a:gd name="connsiteY95" fmla="*/ 1004372 h 1016771"/>
                    <a:gd name="connsiteX96" fmla="*/ 623525 w 761692"/>
                    <a:gd name="connsiteY96" fmla="*/ 997286 h 1016771"/>
                    <a:gd name="connsiteX97" fmla="*/ 614668 w 761692"/>
                    <a:gd name="connsiteY97" fmla="*/ 986658 h 1016771"/>
                    <a:gd name="connsiteX98" fmla="*/ 593411 w 761692"/>
                    <a:gd name="connsiteY98" fmla="*/ 970715 h 1016771"/>
                    <a:gd name="connsiteX99" fmla="*/ 582783 w 761692"/>
                    <a:gd name="connsiteY99" fmla="*/ 965401 h 1016771"/>
                    <a:gd name="connsiteX100" fmla="*/ 531413 w 761692"/>
                    <a:gd name="connsiteY100" fmla="*/ 965401 h 1016771"/>
                    <a:gd name="connsiteX101" fmla="*/ 511928 w 761692"/>
                    <a:gd name="connsiteY101" fmla="*/ 965401 h 1016771"/>
                    <a:gd name="connsiteX102" fmla="*/ 492443 w 761692"/>
                    <a:gd name="connsiteY102" fmla="*/ 963630 h 1016771"/>
                    <a:gd name="connsiteX103" fmla="*/ 483586 w 761692"/>
                    <a:gd name="connsiteY103" fmla="*/ 958316 h 1016771"/>
                    <a:gd name="connsiteX104" fmla="*/ 469415 w 761692"/>
                    <a:gd name="connsiteY104" fmla="*/ 954773 h 1016771"/>
                    <a:gd name="connsiteX105" fmla="*/ 460558 w 761692"/>
                    <a:gd name="connsiteY105" fmla="*/ 942373 h 1016771"/>
                    <a:gd name="connsiteX106" fmla="*/ 446387 w 761692"/>
                    <a:gd name="connsiteY106" fmla="*/ 935288 h 1016771"/>
                    <a:gd name="connsiteX107" fmla="*/ 428673 w 761692"/>
                    <a:gd name="connsiteY107" fmla="*/ 928202 h 1016771"/>
                    <a:gd name="connsiteX108" fmla="*/ 418045 w 761692"/>
                    <a:gd name="connsiteY108" fmla="*/ 917574 h 1016771"/>
                    <a:gd name="connsiteX109" fmla="*/ 421588 w 761692"/>
                    <a:gd name="connsiteY109" fmla="*/ 903403 h 1016771"/>
                    <a:gd name="connsiteX110" fmla="*/ 418045 w 761692"/>
                    <a:gd name="connsiteY110" fmla="*/ 898089 h 1016771"/>
                    <a:gd name="connsiteX111" fmla="*/ 396788 w 761692"/>
                    <a:gd name="connsiteY111" fmla="*/ 898089 h 1016771"/>
                    <a:gd name="connsiteX112" fmla="*/ 382617 w 761692"/>
                    <a:gd name="connsiteY112" fmla="*/ 896318 h 1016771"/>
                    <a:gd name="connsiteX113" fmla="*/ 380846 w 761692"/>
                    <a:gd name="connsiteY113" fmla="*/ 906946 h 1016771"/>
                    <a:gd name="connsiteX114" fmla="*/ 373601 w 761692"/>
                    <a:gd name="connsiteY114" fmla="*/ 894832 h 1016771"/>
                    <a:gd name="connsiteX115" fmla="*/ 387164 w 761692"/>
                    <a:gd name="connsiteY115" fmla="*/ 896527 h 1016771"/>
                    <a:gd name="connsiteX116" fmla="*/ 383773 w 761692"/>
                    <a:gd name="connsiteY116" fmla="*/ 886355 h 1016771"/>
                    <a:gd name="connsiteX117" fmla="*/ 387164 w 761692"/>
                    <a:gd name="connsiteY117" fmla="*/ 876183 h 1016771"/>
                    <a:gd name="connsiteX118" fmla="*/ 388859 w 761692"/>
                    <a:gd name="connsiteY118" fmla="*/ 867707 h 1016771"/>
                    <a:gd name="connsiteX119" fmla="*/ 380382 w 761692"/>
                    <a:gd name="connsiteY119" fmla="*/ 859230 h 1016771"/>
                    <a:gd name="connsiteX120" fmla="*/ 373601 w 761692"/>
                    <a:gd name="connsiteY120" fmla="*/ 849058 h 1016771"/>
                    <a:gd name="connsiteX121" fmla="*/ 380382 w 761692"/>
                    <a:gd name="connsiteY121" fmla="*/ 838886 h 1016771"/>
                    <a:gd name="connsiteX122" fmla="*/ 383773 w 761692"/>
                    <a:gd name="connsiteY122" fmla="*/ 833800 h 1016771"/>
                    <a:gd name="connsiteX123" fmla="*/ 388859 w 761692"/>
                    <a:gd name="connsiteY123" fmla="*/ 825324 h 1016771"/>
                    <a:gd name="connsiteX124" fmla="*/ 387164 w 761692"/>
                    <a:gd name="connsiteY124" fmla="*/ 810066 h 1016771"/>
                    <a:gd name="connsiteX125" fmla="*/ 387164 w 761692"/>
                    <a:gd name="connsiteY125" fmla="*/ 796503 h 1016771"/>
                    <a:gd name="connsiteX126" fmla="*/ 378687 w 761692"/>
                    <a:gd name="connsiteY126" fmla="*/ 789722 h 1016771"/>
                    <a:gd name="connsiteX127" fmla="*/ 366820 w 761692"/>
                    <a:gd name="connsiteY127" fmla="*/ 782940 h 1016771"/>
                    <a:gd name="connsiteX128" fmla="*/ 356648 w 761692"/>
                    <a:gd name="connsiteY128" fmla="*/ 781245 h 1016771"/>
                    <a:gd name="connsiteX129" fmla="*/ 349866 w 761692"/>
                    <a:gd name="connsiteY129" fmla="*/ 771073 h 1016771"/>
                    <a:gd name="connsiteX130" fmla="*/ 349866 w 761692"/>
                    <a:gd name="connsiteY130" fmla="*/ 752425 h 1016771"/>
                    <a:gd name="connsiteX131" fmla="*/ 353257 w 761692"/>
                    <a:gd name="connsiteY131" fmla="*/ 743948 h 1016771"/>
                    <a:gd name="connsiteX132" fmla="*/ 354952 w 761692"/>
                    <a:gd name="connsiteY132" fmla="*/ 730385 h 1016771"/>
                    <a:gd name="connsiteX133" fmla="*/ 353257 w 761692"/>
                    <a:gd name="connsiteY133" fmla="*/ 713432 h 1016771"/>
                    <a:gd name="connsiteX134" fmla="*/ 346476 w 761692"/>
                    <a:gd name="connsiteY134" fmla="*/ 701565 h 1016771"/>
                    <a:gd name="connsiteX135" fmla="*/ 332913 w 761692"/>
                    <a:gd name="connsiteY135" fmla="*/ 689697 h 1016771"/>
                    <a:gd name="connsiteX136" fmla="*/ 324436 w 761692"/>
                    <a:gd name="connsiteY136" fmla="*/ 681221 h 1016771"/>
                    <a:gd name="connsiteX137" fmla="*/ 314264 w 761692"/>
                    <a:gd name="connsiteY137" fmla="*/ 676135 h 1016771"/>
                    <a:gd name="connsiteX138" fmla="*/ 293920 w 761692"/>
                    <a:gd name="connsiteY138" fmla="*/ 669354 h 1016771"/>
                    <a:gd name="connsiteX139" fmla="*/ 282053 w 761692"/>
                    <a:gd name="connsiteY139" fmla="*/ 667658 h 1016771"/>
                    <a:gd name="connsiteX140" fmla="*/ 266795 w 761692"/>
                    <a:gd name="connsiteY140" fmla="*/ 672744 h 1016771"/>
                    <a:gd name="connsiteX141" fmla="*/ 265100 w 761692"/>
                    <a:gd name="connsiteY141" fmla="*/ 672744 h 1016771"/>
                    <a:gd name="connsiteX142" fmla="*/ 263404 w 761692"/>
                    <a:gd name="connsiteY142" fmla="*/ 671049 h 1016771"/>
                    <a:gd name="connsiteX143" fmla="*/ 260014 w 761692"/>
                    <a:gd name="connsiteY143" fmla="*/ 671049 h 1016771"/>
                    <a:gd name="connsiteX144" fmla="*/ 258318 w 761692"/>
                    <a:gd name="connsiteY144" fmla="*/ 671049 h 1016771"/>
                    <a:gd name="connsiteX145" fmla="*/ 253232 w 761692"/>
                    <a:gd name="connsiteY145" fmla="*/ 671049 h 1016771"/>
                    <a:gd name="connsiteX146" fmla="*/ 248146 w 761692"/>
                    <a:gd name="connsiteY146" fmla="*/ 672744 h 1016771"/>
                    <a:gd name="connsiteX147" fmla="*/ 248146 w 761692"/>
                    <a:gd name="connsiteY147" fmla="*/ 674440 h 1016771"/>
                    <a:gd name="connsiteX148" fmla="*/ 246451 w 761692"/>
                    <a:gd name="connsiteY148" fmla="*/ 674440 h 1016771"/>
                    <a:gd name="connsiteX149" fmla="*/ 236279 w 761692"/>
                    <a:gd name="connsiteY149" fmla="*/ 679526 h 1016771"/>
                    <a:gd name="connsiteX150" fmla="*/ 226107 w 761692"/>
                    <a:gd name="connsiteY150" fmla="*/ 684612 h 1016771"/>
                    <a:gd name="connsiteX151" fmla="*/ 217630 w 761692"/>
                    <a:gd name="connsiteY151" fmla="*/ 684612 h 1016771"/>
                    <a:gd name="connsiteX152" fmla="*/ 207458 w 761692"/>
                    <a:gd name="connsiteY152" fmla="*/ 693088 h 1016771"/>
                    <a:gd name="connsiteX153" fmla="*/ 198982 w 761692"/>
                    <a:gd name="connsiteY153" fmla="*/ 694783 h 1016771"/>
                    <a:gd name="connsiteX154" fmla="*/ 192200 w 761692"/>
                    <a:gd name="connsiteY154" fmla="*/ 699869 h 1016771"/>
                    <a:gd name="connsiteX155" fmla="*/ 178638 w 761692"/>
                    <a:gd name="connsiteY155" fmla="*/ 706651 h 1016771"/>
                    <a:gd name="connsiteX156" fmla="*/ 163380 w 761692"/>
                    <a:gd name="connsiteY156" fmla="*/ 710041 h 1016771"/>
                    <a:gd name="connsiteX157" fmla="*/ 141340 w 761692"/>
                    <a:gd name="connsiteY157" fmla="*/ 710041 h 1016771"/>
                    <a:gd name="connsiteX158" fmla="*/ 134559 w 761692"/>
                    <a:gd name="connsiteY158" fmla="*/ 716823 h 1016771"/>
                    <a:gd name="connsiteX159" fmla="*/ 127778 w 761692"/>
                    <a:gd name="connsiteY159" fmla="*/ 718518 h 1016771"/>
                    <a:gd name="connsiteX160" fmla="*/ 120996 w 761692"/>
                    <a:gd name="connsiteY160" fmla="*/ 725299 h 1016771"/>
                    <a:gd name="connsiteX161" fmla="*/ 111172 w 761692"/>
                    <a:gd name="connsiteY161" fmla="*/ 733720 h 1016771"/>
                    <a:gd name="connsiteX162" fmla="*/ 106283 w 761692"/>
                    <a:gd name="connsiteY162" fmla="*/ 729808 h 1016771"/>
                    <a:gd name="connsiteX163" fmla="*/ 92112 w 761692"/>
                    <a:gd name="connsiteY163" fmla="*/ 724494 h 1016771"/>
                    <a:gd name="connsiteX164" fmla="*/ 77941 w 761692"/>
                    <a:gd name="connsiteY164" fmla="*/ 726265 h 1016771"/>
                    <a:gd name="connsiteX165" fmla="*/ 70855 w 761692"/>
                    <a:gd name="connsiteY165" fmla="*/ 719180 h 1016771"/>
                    <a:gd name="connsiteX166" fmla="*/ 70855 w 761692"/>
                    <a:gd name="connsiteY166" fmla="*/ 699695 h 1016771"/>
                    <a:gd name="connsiteX167" fmla="*/ 81483 w 761692"/>
                    <a:gd name="connsiteY167" fmla="*/ 685524 h 1016771"/>
                    <a:gd name="connsiteX168" fmla="*/ 85026 w 761692"/>
                    <a:gd name="connsiteY168" fmla="*/ 673124 h 1016771"/>
                    <a:gd name="connsiteX169" fmla="*/ 86797 w 761692"/>
                    <a:gd name="connsiteY169" fmla="*/ 660724 h 1016771"/>
                    <a:gd name="connsiteX170" fmla="*/ 97426 w 761692"/>
                    <a:gd name="connsiteY170" fmla="*/ 650096 h 1016771"/>
                    <a:gd name="connsiteX171" fmla="*/ 102740 w 761692"/>
                    <a:gd name="connsiteY171" fmla="*/ 635925 h 1016771"/>
                    <a:gd name="connsiteX172" fmla="*/ 113368 w 761692"/>
                    <a:gd name="connsiteY172" fmla="*/ 625297 h 1016771"/>
                    <a:gd name="connsiteX173" fmla="*/ 115139 w 761692"/>
                    <a:gd name="connsiteY173" fmla="*/ 612897 h 1016771"/>
                    <a:gd name="connsiteX174" fmla="*/ 127539 w 761692"/>
                    <a:gd name="connsiteY174" fmla="*/ 609354 h 1016771"/>
                    <a:gd name="connsiteX175" fmla="*/ 136396 w 761692"/>
                    <a:gd name="connsiteY175" fmla="*/ 604040 h 1016771"/>
                    <a:gd name="connsiteX176" fmla="*/ 132853 w 761692"/>
                    <a:gd name="connsiteY176" fmla="*/ 593412 h 1016771"/>
                    <a:gd name="connsiteX177" fmla="*/ 134625 w 761692"/>
                    <a:gd name="connsiteY177" fmla="*/ 584555 h 1016771"/>
                    <a:gd name="connsiteX178" fmla="*/ 131082 w 761692"/>
                    <a:gd name="connsiteY178" fmla="*/ 575698 h 1016771"/>
                    <a:gd name="connsiteX179" fmla="*/ 120454 w 761692"/>
                    <a:gd name="connsiteY179" fmla="*/ 568613 h 1016771"/>
                    <a:gd name="connsiteX180" fmla="*/ 125768 w 761692"/>
                    <a:gd name="connsiteY180" fmla="*/ 552670 h 1016771"/>
                    <a:gd name="connsiteX181" fmla="*/ 118682 w 761692"/>
                    <a:gd name="connsiteY181" fmla="*/ 543813 h 1016771"/>
                    <a:gd name="connsiteX182" fmla="*/ 90340 w 761692"/>
                    <a:gd name="connsiteY182" fmla="*/ 543813 h 1016771"/>
                    <a:gd name="connsiteX183" fmla="*/ 86797 w 761692"/>
                    <a:gd name="connsiteY183" fmla="*/ 542042 h 1016771"/>
                    <a:gd name="connsiteX184" fmla="*/ 83255 w 761692"/>
                    <a:gd name="connsiteY184" fmla="*/ 542042 h 1016771"/>
                    <a:gd name="connsiteX185" fmla="*/ 81483 w 761692"/>
                    <a:gd name="connsiteY185" fmla="*/ 540271 h 1016771"/>
                    <a:gd name="connsiteX186" fmla="*/ 81483 w 761692"/>
                    <a:gd name="connsiteY186" fmla="*/ 536728 h 1016771"/>
                    <a:gd name="connsiteX187" fmla="*/ 79712 w 761692"/>
                    <a:gd name="connsiteY187" fmla="*/ 531414 h 1016771"/>
                    <a:gd name="connsiteX188" fmla="*/ 77941 w 761692"/>
                    <a:gd name="connsiteY188" fmla="*/ 529642 h 1016771"/>
                    <a:gd name="connsiteX189" fmla="*/ 70855 w 761692"/>
                    <a:gd name="connsiteY189" fmla="*/ 527871 h 1016771"/>
                    <a:gd name="connsiteX190" fmla="*/ 60227 w 761692"/>
                    <a:gd name="connsiteY190" fmla="*/ 536728 h 1016771"/>
                    <a:gd name="connsiteX191" fmla="*/ 47827 w 761692"/>
                    <a:gd name="connsiteY191" fmla="*/ 526100 h 1016771"/>
                    <a:gd name="connsiteX192" fmla="*/ 42513 w 761692"/>
                    <a:gd name="connsiteY192" fmla="*/ 515471 h 1016771"/>
                    <a:gd name="connsiteX193" fmla="*/ 33656 w 761692"/>
                    <a:gd name="connsiteY193" fmla="*/ 506614 h 1016771"/>
                    <a:gd name="connsiteX194" fmla="*/ 31885 w 761692"/>
                    <a:gd name="connsiteY194" fmla="*/ 490672 h 1016771"/>
                    <a:gd name="connsiteX195" fmla="*/ 26571 w 761692"/>
                    <a:gd name="connsiteY195" fmla="*/ 476501 h 1016771"/>
                    <a:gd name="connsiteX196" fmla="*/ 24799 w 761692"/>
                    <a:gd name="connsiteY196" fmla="*/ 471187 h 1016771"/>
                    <a:gd name="connsiteX197" fmla="*/ 12400 w 761692"/>
                    <a:gd name="connsiteY197" fmla="*/ 472958 h 1016771"/>
                    <a:gd name="connsiteX198" fmla="*/ 7086 w 761692"/>
                    <a:gd name="connsiteY198" fmla="*/ 464101 h 1016771"/>
                    <a:gd name="connsiteX199" fmla="*/ 8857 w 761692"/>
                    <a:gd name="connsiteY199" fmla="*/ 446388 h 1016771"/>
                    <a:gd name="connsiteX200" fmla="*/ 3543 w 761692"/>
                    <a:gd name="connsiteY200" fmla="*/ 435759 h 1016771"/>
                    <a:gd name="connsiteX201" fmla="*/ 5314 w 761692"/>
                    <a:gd name="connsiteY201" fmla="*/ 412731 h 1016771"/>
                    <a:gd name="connsiteX202" fmla="*/ 0 w 761692"/>
                    <a:gd name="connsiteY202" fmla="*/ 396789 h 1016771"/>
                    <a:gd name="connsiteX203" fmla="*/ 3543 w 761692"/>
                    <a:gd name="connsiteY203" fmla="*/ 384389 h 1016771"/>
                    <a:gd name="connsiteX204" fmla="*/ 14171 w 761692"/>
                    <a:gd name="connsiteY204" fmla="*/ 380846 h 1016771"/>
                    <a:gd name="connsiteX205" fmla="*/ 24799 w 761692"/>
                    <a:gd name="connsiteY205" fmla="*/ 364904 h 1016771"/>
                    <a:gd name="connsiteX206" fmla="*/ 30113 w 761692"/>
                    <a:gd name="connsiteY206" fmla="*/ 350733 h 1016771"/>
                    <a:gd name="connsiteX207" fmla="*/ 35428 w 761692"/>
                    <a:gd name="connsiteY207" fmla="*/ 341876 h 1016771"/>
                    <a:gd name="connsiteX208" fmla="*/ 42513 w 761692"/>
                    <a:gd name="connsiteY208" fmla="*/ 327705 h 1016771"/>
                    <a:gd name="connsiteX209" fmla="*/ 42513 w 761692"/>
                    <a:gd name="connsiteY209" fmla="*/ 315305 h 1016771"/>
                    <a:gd name="connsiteX210" fmla="*/ 56684 w 761692"/>
                    <a:gd name="connsiteY210" fmla="*/ 309991 h 1016771"/>
                    <a:gd name="connsiteX211" fmla="*/ 60227 w 761692"/>
                    <a:gd name="connsiteY211" fmla="*/ 309991 h 1016771"/>
                    <a:gd name="connsiteX212" fmla="*/ 61998 w 761692"/>
                    <a:gd name="connsiteY212" fmla="*/ 311763 h 1016771"/>
                    <a:gd name="connsiteX213" fmla="*/ 67312 w 761692"/>
                    <a:gd name="connsiteY213" fmla="*/ 311763 h 1016771"/>
                    <a:gd name="connsiteX214" fmla="*/ 67312 w 761692"/>
                    <a:gd name="connsiteY214" fmla="*/ 309991 h 1016771"/>
                    <a:gd name="connsiteX215" fmla="*/ 67312 w 761692"/>
                    <a:gd name="connsiteY215" fmla="*/ 308220 h 1016771"/>
                    <a:gd name="connsiteX216" fmla="*/ 69084 w 761692"/>
                    <a:gd name="connsiteY216" fmla="*/ 302906 h 1016771"/>
                    <a:gd name="connsiteX217" fmla="*/ 70855 w 761692"/>
                    <a:gd name="connsiteY217" fmla="*/ 301134 h 1016771"/>
                    <a:gd name="connsiteX218" fmla="*/ 70855 w 761692"/>
                    <a:gd name="connsiteY218" fmla="*/ 299363 h 1016771"/>
                    <a:gd name="connsiteX219" fmla="*/ 77941 w 761692"/>
                    <a:gd name="connsiteY219" fmla="*/ 295820 h 1016771"/>
                    <a:gd name="connsiteX220" fmla="*/ 85026 w 761692"/>
                    <a:gd name="connsiteY220" fmla="*/ 295820 h 1016771"/>
                    <a:gd name="connsiteX221" fmla="*/ 93883 w 761692"/>
                    <a:gd name="connsiteY221" fmla="*/ 297592 h 1016771"/>
                    <a:gd name="connsiteX222" fmla="*/ 100968 w 761692"/>
                    <a:gd name="connsiteY222" fmla="*/ 288735 h 1016771"/>
                    <a:gd name="connsiteX223" fmla="*/ 97426 w 761692"/>
                    <a:gd name="connsiteY223" fmla="*/ 279878 h 1016771"/>
                    <a:gd name="connsiteX224" fmla="*/ 85026 w 761692"/>
                    <a:gd name="connsiteY224" fmla="*/ 276335 h 1016771"/>
                    <a:gd name="connsiteX225" fmla="*/ 76169 w 761692"/>
                    <a:gd name="connsiteY225" fmla="*/ 271021 h 1016771"/>
                    <a:gd name="connsiteX226" fmla="*/ 76169 w 761692"/>
                    <a:gd name="connsiteY226" fmla="*/ 262164 h 1016771"/>
                    <a:gd name="connsiteX227" fmla="*/ 81483 w 761692"/>
                    <a:gd name="connsiteY227" fmla="*/ 251536 h 1016771"/>
                    <a:gd name="connsiteX228" fmla="*/ 86797 w 761692"/>
                    <a:gd name="connsiteY228" fmla="*/ 255079 h 1016771"/>
                    <a:gd name="connsiteX229" fmla="*/ 104511 w 761692"/>
                    <a:gd name="connsiteY229" fmla="*/ 262164 h 1016771"/>
                    <a:gd name="connsiteX230" fmla="*/ 116911 w 761692"/>
                    <a:gd name="connsiteY230" fmla="*/ 265707 h 1016771"/>
                    <a:gd name="connsiteX231" fmla="*/ 132853 w 761692"/>
                    <a:gd name="connsiteY231" fmla="*/ 269250 h 1016771"/>
                    <a:gd name="connsiteX232" fmla="*/ 138167 w 761692"/>
                    <a:gd name="connsiteY232" fmla="*/ 265707 h 1016771"/>
                    <a:gd name="connsiteX233" fmla="*/ 150567 w 761692"/>
                    <a:gd name="connsiteY233" fmla="*/ 255079 h 1016771"/>
                    <a:gd name="connsiteX234" fmla="*/ 166509 w 761692"/>
                    <a:gd name="connsiteY234" fmla="*/ 255079 h 1016771"/>
                    <a:gd name="connsiteX235" fmla="*/ 166509 w 761692"/>
                    <a:gd name="connsiteY235" fmla="*/ 265707 h 1016771"/>
                    <a:gd name="connsiteX236" fmla="*/ 177138 w 761692"/>
                    <a:gd name="connsiteY236" fmla="*/ 272792 h 1016771"/>
                    <a:gd name="connsiteX237" fmla="*/ 194851 w 761692"/>
                    <a:gd name="connsiteY237" fmla="*/ 276335 h 1016771"/>
                    <a:gd name="connsiteX238" fmla="*/ 209022 w 761692"/>
                    <a:gd name="connsiteY238" fmla="*/ 279878 h 1016771"/>
                    <a:gd name="connsiteX239" fmla="*/ 221422 w 761692"/>
                    <a:gd name="connsiteY239" fmla="*/ 276335 h 1016771"/>
                    <a:gd name="connsiteX240" fmla="*/ 226736 w 761692"/>
                    <a:gd name="connsiteY240" fmla="*/ 269250 h 1016771"/>
                    <a:gd name="connsiteX241" fmla="*/ 226736 w 761692"/>
                    <a:gd name="connsiteY241" fmla="*/ 251536 h 1016771"/>
                    <a:gd name="connsiteX242" fmla="*/ 224965 w 761692"/>
                    <a:gd name="connsiteY242" fmla="*/ 239136 h 1016771"/>
                    <a:gd name="connsiteX243" fmla="*/ 214337 w 761692"/>
                    <a:gd name="connsiteY243" fmla="*/ 230279 h 1016771"/>
                    <a:gd name="connsiteX244" fmla="*/ 210794 w 761692"/>
                    <a:gd name="connsiteY244" fmla="*/ 217880 h 1016771"/>
                    <a:gd name="connsiteX245" fmla="*/ 221422 w 761692"/>
                    <a:gd name="connsiteY245" fmla="*/ 207251 h 1016771"/>
                    <a:gd name="connsiteX246" fmla="*/ 235593 w 761692"/>
                    <a:gd name="connsiteY246" fmla="*/ 214337 h 1016771"/>
                    <a:gd name="connsiteX247" fmla="*/ 246221 w 761692"/>
                    <a:gd name="connsiteY247" fmla="*/ 219651 h 1016771"/>
                    <a:gd name="connsiteX248" fmla="*/ 253307 w 761692"/>
                    <a:gd name="connsiteY248" fmla="*/ 221422 h 1016771"/>
                    <a:gd name="connsiteX249" fmla="*/ 262164 w 761692"/>
                    <a:gd name="connsiteY249" fmla="*/ 210794 h 1016771"/>
                    <a:gd name="connsiteX250" fmla="*/ 263935 w 761692"/>
                    <a:gd name="connsiteY250" fmla="*/ 201937 h 1016771"/>
                    <a:gd name="connsiteX251" fmla="*/ 274563 w 761692"/>
                    <a:gd name="connsiteY251" fmla="*/ 189538 h 1016771"/>
                    <a:gd name="connsiteX252" fmla="*/ 283420 w 761692"/>
                    <a:gd name="connsiteY252" fmla="*/ 178909 h 1016771"/>
                    <a:gd name="connsiteX253" fmla="*/ 286963 w 761692"/>
                    <a:gd name="connsiteY253" fmla="*/ 173595 h 1016771"/>
                    <a:gd name="connsiteX254" fmla="*/ 311762 w 761692"/>
                    <a:gd name="connsiteY254" fmla="*/ 168281 h 1016771"/>
                    <a:gd name="connsiteX255" fmla="*/ 325933 w 761692"/>
                    <a:gd name="connsiteY255" fmla="*/ 164738 h 1016771"/>
                    <a:gd name="connsiteX256" fmla="*/ 336562 w 761692"/>
                    <a:gd name="connsiteY256" fmla="*/ 159424 h 1016771"/>
                    <a:gd name="connsiteX257" fmla="*/ 348961 w 761692"/>
                    <a:gd name="connsiteY257" fmla="*/ 145253 h 1016771"/>
                    <a:gd name="connsiteX258" fmla="*/ 359589 w 761692"/>
                    <a:gd name="connsiteY258" fmla="*/ 143482 h 1016771"/>
                    <a:gd name="connsiteX259" fmla="*/ 371989 w 761692"/>
                    <a:gd name="connsiteY259" fmla="*/ 143482 h 1016771"/>
                    <a:gd name="connsiteX260" fmla="*/ 391474 w 761692"/>
                    <a:gd name="connsiteY260" fmla="*/ 143482 h 1016771"/>
                    <a:gd name="connsiteX261" fmla="*/ 396788 w 761692"/>
                    <a:gd name="connsiteY261" fmla="*/ 141710 h 1016771"/>
                    <a:gd name="connsiteX262" fmla="*/ 403874 w 761692"/>
                    <a:gd name="connsiteY262" fmla="*/ 134625 h 1016771"/>
                    <a:gd name="connsiteX263" fmla="*/ 409188 w 761692"/>
                    <a:gd name="connsiteY263" fmla="*/ 129311 h 1016771"/>
                    <a:gd name="connsiteX264" fmla="*/ 409188 w 761692"/>
                    <a:gd name="connsiteY264" fmla="*/ 123997 h 1016771"/>
                    <a:gd name="connsiteX265" fmla="*/ 414502 w 761692"/>
                    <a:gd name="connsiteY265" fmla="*/ 115140 h 1016771"/>
                    <a:gd name="connsiteX266" fmla="*/ 428673 w 761692"/>
                    <a:gd name="connsiteY266" fmla="*/ 115140 h 1016771"/>
                    <a:gd name="connsiteX267" fmla="*/ 432216 w 761692"/>
                    <a:gd name="connsiteY267" fmla="*/ 109826 h 1016771"/>
                    <a:gd name="connsiteX268" fmla="*/ 437530 w 761692"/>
                    <a:gd name="connsiteY268" fmla="*/ 100969 h 1016771"/>
                    <a:gd name="connsiteX269" fmla="*/ 448158 w 761692"/>
                    <a:gd name="connsiteY269" fmla="*/ 99197 h 1016771"/>
                    <a:gd name="connsiteX270" fmla="*/ 460558 w 761692"/>
                    <a:gd name="connsiteY270" fmla="*/ 97426 h 1016771"/>
                    <a:gd name="connsiteX271" fmla="*/ 472958 w 761692"/>
                    <a:gd name="connsiteY271" fmla="*/ 93883 h 1016771"/>
                    <a:gd name="connsiteX272" fmla="*/ 492443 w 761692"/>
                    <a:gd name="connsiteY272" fmla="*/ 93883 h 1016771"/>
                    <a:gd name="connsiteX273" fmla="*/ 501300 w 761692"/>
                    <a:gd name="connsiteY273" fmla="*/ 83255 h 1016771"/>
                    <a:gd name="connsiteX274" fmla="*/ 517242 w 761692"/>
                    <a:gd name="connsiteY274" fmla="*/ 81484 h 1016771"/>
                    <a:gd name="connsiteX275" fmla="*/ 522556 w 761692"/>
                    <a:gd name="connsiteY275" fmla="*/ 81484 h 1016771"/>
                    <a:gd name="connsiteX276" fmla="*/ 522556 w 761692"/>
                    <a:gd name="connsiteY276" fmla="*/ 60227 h 1016771"/>
                    <a:gd name="connsiteX277" fmla="*/ 526099 w 761692"/>
                    <a:gd name="connsiteY277" fmla="*/ 54913 h 1016771"/>
                    <a:gd name="connsiteX278" fmla="*/ 529642 w 761692"/>
                    <a:gd name="connsiteY278" fmla="*/ 46056 h 1016771"/>
                    <a:gd name="connsiteX279" fmla="*/ 538499 w 761692"/>
                    <a:gd name="connsiteY279" fmla="*/ 40742 h 1016771"/>
                    <a:gd name="connsiteX280" fmla="*/ 540270 w 761692"/>
                    <a:gd name="connsiteY280" fmla="*/ 30114 h 1016771"/>
                    <a:gd name="connsiteX281" fmla="*/ 536727 w 761692"/>
                    <a:gd name="connsiteY281" fmla="*/ 19485 h 1016771"/>
                    <a:gd name="connsiteX282" fmla="*/ 543813 w 761692"/>
                    <a:gd name="connsiteY282" fmla="*/ 5314 h 1016771"/>
                    <a:gd name="connsiteX283" fmla="*/ 554441 w 761692"/>
                    <a:gd name="connsiteY283" fmla="*/ 0 h 1016771"/>
                    <a:gd name="connsiteX0" fmla="*/ 116476 w 761692"/>
                    <a:gd name="connsiteY0" fmla="*/ 741349 h 1016771"/>
                    <a:gd name="connsiteX1" fmla="*/ 117606 w 761692"/>
                    <a:gd name="connsiteY1" fmla="*/ 742253 h 1016771"/>
                    <a:gd name="connsiteX2" fmla="*/ 122692 w 761692"/>
                    <a:gd name="connsiteY2" fmla="*/ 759206 h 1016771"/>
                    <a:gd name="connsiteX3" fmla="*/ 126082 w 761692"/>
                    <a:gd name="connsiteY3" fmla="*/ 771073 h 1016771"/>
                    <a:gd name="connsiteX4" fmla="*/ 129473 w 761692"/>
                    <a:gd name="connsiteY4" fmla="*/ 782940 h 1016771"/>
                    <a:gd name="connsiteX5" fmla="*/ 123996 w 761692"/>
                    <a:gd name="connsiteY5" fmla="*/ 767007 h 1016771"/>
                    <a:gd name="connsiteX6" fmla="*/ 120454 w 761692"/>
                    <a:gd name="connsiteY6" fmla="*/ 754607 h 1016771"/>
                    <a:gd name="connsiteX7" fmla="*/ 116476 w 761692"/>
                    <a:gd name="connsiteY7" fmla="*/ 741349 h 1016771"/>
                    <a:gd name="connsiteX8" fmla="*/ 554441 w 761692"/>
                    <a:gd name="connsiteY8" fmla="*/ 0 h 1016771"/>
                    <a:gd name="connsiteX9" fmla="*/ 570383 w 761692"/>
                    <a:gd name="connsiteY9" fmla="*/ 3543 h 1016771"/>
                    <a:gd name="connsiteX10" fmla="*/ 577469 w 761692"/>
                    <a:gd name="connsiteY10" fmla="*/ 8857 h 1016771"/>
                    <a:gd name="connsiteX11" fmla="*/ 582783 w 761692"/>
                    <a:gd name="connsiteY11" fmla="*/ 17714 h 1016771"/>
                    <a:gd name="connsiteX12" fmla="*/ 582783 w 761692"/>
                    <a:gd name="connsiteY12" fmla="*/ 24799 h 1016771"/>
                    <a:gd name="connsiteX13" fmla="*/ 588097 w 761692"/>
                    <a:gd name="connsiteY13" fmla="*/ 33656 h 1016771"/>
                    <a:gd name="connsiteX14" fmla="*/ 598725 w 761692"/>
                    <a:gd name="connsiteY14" fmla="*/ 31885 h 1016771"/>
                    <a:gd name="connsiteX15" fmla="*/ 612896 w 761692"/>
                    <a:gd name="connsiteY15" fmla="*/ 37199 h 1016771"/>
                    <a:gd name="connsiteX16" fmla="*/ 618211 w 761692"/>
                    <a:gd name="connsiteY16" fmla="*/ 46056 h 1016771"/>
                    <a:gd name="connsiteX17" fmla="*/ 619982 w 761692"/>
                    <a:gd name="connsiteY17" fmla="*/ 54913 h 1016771"/>
                    <a:gd name="connsiteX18" fmla="*/ 618211 w 761692"/>
                    <a:gd name="connsiteY18" fmla="*/ 74398 h 1016771"/>
                    <a:gd name="connsiteX19" fmla="*/ 616439 w 761692"/>
                    <a:gd name="connsiteY19" fmla="*/ 85026 h 1016771"/>
                    <a:gd name="connsiteX20" fmla="*/ 621753 w 761692"/>
                    <a:gd name="connsiteY20" fmla="*/ 97426 h 1016771"/>
                    <a:gd name="connsiteX21" fmla="*/ 637696 w 761692"/>
                    <a:gd name="connsiteY21" fmla="*/ 113368 h 1016771"/>
                    <a:gd name="connsiteX22" fmla="*/ 644781 w 761692"/>
                    <a:gd name="connsiteY22" fmla="*/ 120454 h 1016771"/>
                    <a:gd name="connsiteX23" fmla="*/ 650095 w 761692"/>
                    <a:gd name="connsiteY23" fmla="*/ 136396 h 1016771"/>
                    <a:gd name="connsiteX24" fmla="*/ 655409 w 761692"/>
                    <a:gd name="connsiteY24" fmla="*/ 155881 h 1016771"/>
                    <a:gd name="connsiteX25" fmla="*/ 662495 w 761692"/>
                    <a:gd name="connsiteY25" fmla="*/ 171824 h 1016771"/>
                    <a:gd name="connsiteX26" fmla="*/ 660724 w 761692"/>
                    <a:gd name="connsiteY26" fmla="*/ 185995 h 1016771"/>
                    <a:gd name="connsiteX27" fmla="*/ 635924 w 761692"/>
                    <a:gd name="connsiteY27" fmla="*/ 194852 h 1016771"/>
                    <a:gd name="connsiteX28" fmla="*/ 619982 w 761692"/>
                    <a:gd name="connsiteY28" fmla="*/ 207251 h 1016771"/>
                    <a:gd name="connsiteX29" fmla="*/ 614668 w 761692"/>
                    <a:gd name="connsiteY29" fmla="*/ 223194 h 1016771"/>
                    <a:gd name="connsiteX30" fmla="*/ 618211 w 761692"/>
                    <a:gd name="connsiteY30" fmla="*/ 242679 h 1016771"/>
                    <a:gd name="connsiteX31" fmla="*/ 612896 w 761692"/>
                    <a:gd name="connsiteY31" fmla="*/ 256850 h 1016771"/>
                    <a:gd name="connsiteX32" fmla="*/ 625296 w 761692"/>
                    <a:gd name="connsiteY32" fmla="*/ 267478 h 1016771"/>
                    <a:gd name="connsiteX33" fmla="*/ 641238 w 761692"/>
                    <a:gd name="connsiteY33" fmla="*/ 269250 h 1016771"/>
                    <a:gd name="connsiteX34" fmla="*/ 658952 w 761692"/>
                    <a:gd name="connsiteY34" fmla="*/ 286963 h 1016771"/>
                    <a:gd name="connsiteX35" fmla="*/ 653638 w 761692"/>
                    <a:gd name="connsiteY35" fmla="*/ 309991 h 1016771"/>
                    <a:gd name="connsiteX36" fmla="*/ 653638 w 761692"/>
                    <a:gd name="connsiteY36" fmla="*/ 329476 h 1016771"/>
                    <a:gd name="connsiteX37" fmla="*/ 643010 w 761692"/>
                    <a:gd name="connsiteY37" fmla="*/ 338333 h 1016771"/>
                    <a:gd name="connsiteX38" fmla="*/ 632382 w 761692"/>
                    <a:gd name="connsiteY38" fmla="*/ 338333 h 1016771"/>
                    <a:gd name="connsiteX39" fmla="*/ 618211 w 761692"/>
                    <a:gd name="connsiteY39" fmla="*/ 357819 h 1016771"/>
                    <a:gd name="connsiteX40" fmla="*/ 609354 w 761692"/>
                    <a:gd name="connsiteY40" fmla="*/ 361361 h 1016771"/>
                    <a:gd name="connsiteX41" fmla="*/ 596954 w 761692"/>
                    <a:gd name="connsiteY41" fmla="*/ 363133 h 1016771"/>
                    <a:gd name="connsiteX42" fmla="*/ 581012 w 761692"/>
                    <a:gd name="connsiteY42" fmla="*/ 379075 h 1016771"/>
                    <a:gd name="connsiteX43" fmla="*/ 589868 w 761692"/>
                    <a:gd name="connsiteY43" fmla="*/ 393246 h 1016771"/>
                    <a:gd name="connsiteX44" fmla="*/ 586326 w 761692"/>
                    <a:gd name="connsiteY44" fmla="*/ 409189 h 1016771"/>
                    <a:gd name="connsiteX45" fmla="*/ 570383 w 761692"/>
                    <a:gd name="connsiteY45" fmla="*/ 398560 h 1016771"/>
                    <a:gd name="connsiteX46" fmla="*/ 550898 w 761692"/>
                    <a:gd name="connsiteY46" fmla="*/ 405646 h 1016771"/>
                    <a:gd name="connsiteX47" fmla="*/ 531413 w 761692"/>
                    <a:gd name="connsiteY47" fmla="*/ 425131 h 1016771"/>
                    <a:gd name="connsiteX48" fmla="*/ 543813 w 761692"/>
                    <a:gd name="connsiteY48" fmla="*/ 444616 h 1016771"/>
                    <a:gd name="connsiteX49" fmla="*/ 557984 w 761692"/>
                    <a:gd name="connsiteY49" fmla="*/ 462330 h 1016771"/>
                    <a:gd name="connsiteX50" fmla="*/ 570383 w 761692"/>
                    <a:gd name="connsiteY50" fmla="*/ 478272 h 1016771"/>
                    <a:gd name="connsiteX51" fmla="*/ 579240 w 761692"/>
                    <a:gd name="connsiteY51" fmla="*/ 485358 h 1016771"/>
                    <a:gd name="connsiteX52" fmla="*/ 602268 w 761692"/>
                    <a:gd name="connsiteY52" fmla="*/ 483586 h 1016771"/>
                    <a:gd name="connsiteX53" fmla="*/ 623525 w 761692"/>
                    <a:gd name="connsiteY53" fmla="*/ 474730 h 1016771"/>
                    <a:gd name="connsiteX54" fmla="*/ 639467 w 761692"/>
                    <a:gd name="connsiteY54" fmla="*/ 464101 h 1016771"/>
                    <a:gd name="connsiteX55" fmla="*/ 662495 w 761692"/>
                    <a:gd name="connsiteY55" fmla="*/ 464101 h 1016771"/>
                    <a:gd name="connsiteX56" fmla="*/ 673123 w 761692"/>
                    <a:gd name="connsiteY56" fmla="*/ 464101 h 1016771"/>
                    <a:gd name="connsiteX57" fmla="*/ 681980 w 761692"/>
                    <a:gd name="connsiteY57" fmla="*/ 467644 h 1016771"/>
                    <a:gd name="connsiteX58" fmla="*/ 703237 w 761692"/>
                    <a:gd name="connsiteY58" fmla="*/ 471187 h 1016771"/>
                    <a:gd name="connsiteX59" fmla="*/ 708551 w 761692"/>
                    <a:gd name="connsiteY59" fmla="*/ 474730 h 1016771"/>
                    <a:gd name="connsiteX60" fmla="*/ 722722 w 761692"/>
                    <a:gd name="connsiteY60" fmla="*/ 501300 h 1016771"/>
                    <a:gd name="connsiteX61" fmla="*/ 724493 w 761692"/>
                    <a:gd name="connsiteY61" fmla="*/ 522557 h 1016771"/>
                    <a:gd name="connsiteX62" fmla="*/ 722722 w 761692"/>
                    <a:gd name="connsiteY62" fmla="*/ 540271 h 1016771"/>
                    <a:gd name="connsiteX63" fmla="*/ 735121 w 761692"/>
                    <a:gd name="connsiteY63" fmla="*/ 552670 h 1016771"/>
                    <a:gd name="connsiteX64" fmla="*/ 735121 w 761692"/>
                    <a:gd name="connsiteY64" fmla="*/ 570384 h 1016771"/>
                    <a:gd name="connsiteX65" fmla="*/ 751064 w 761692"/>
                    <a:gd name="connsiteY65" fmla="*/ 581012 h 1016771"/>
                    <a:gd name="connsiteX66" fmla="*/ 761692 w 761692"/>
                    <a:gd name="connsiteY66" fmla="*/ 604040 h 1016771"/>
                    <a:gd name="connsiteX67" fmla="*/ 747521 w 761692"/>
                    <a:gd name="connsiteY67" fmla="*/ 616440 h 1016771"/>
                    <a:gd name="connsiteX68" fmla="*/ 728036 w 761692"/>
                    <a:gd name="connsiteY68" fmla="*/ 627068 h 1016771"/>
                    <a:gd name="connsiteX69" fmla="*/ 726264 w 761692"/>
                    <a:gd name="connsiteY69" fmla="*/ 650096 h 1016771"/>
                    <a:gd name="connsiteX70" fmla="*/ 728036 w 761692"/>
                    <a:gd name="connsiteY70" fmla="*/ 673124 h 1016771"/>
                    <a:gd name="connsiteX71" fmla="*/ 742207 w 761692"/>
                    <a:gd name="connsiteY71" fmla="*/ 689066 h 1016771"/>
                    <a:gd name="connsiteX72" fmla="*/ 742207 w 761692"/>
                    <a:gd name="connsiteY72" fmla="*/ 712094 h 1016771"/>
                    <a:gd name="connsiteX73" fmla="*/ 740435 w 761692"/>
                    <a:gd name="connsiteY73" fmla="*/ 735122 h 1016771"/>
                    <a:gd name="connsiteX74" fmla="*/ 742207 w 761692"/>
                    <a:gd name="connsiteY74" fmla="*/ 751065 h 1016771"/>
                    <a:gd name="connsiteX75" fmla="*/ 747521 w 761692"/>
                    <a:gd name="connsiteY75" fmla="*/ 768778 h 1016771"/>
                    <a:gd name="connsiteX76" fmla="*/ 759921 w 761692"/>
                    <a:gd name="connsiteY76" fmla="*/ 777635 h 1016771"/>
                    <a:gd name="connsiteX77" fmla="*/ 758149 w 761692"/>
                    <a:gd name="connsiteY77" fmla="*/ 802434 h 1016771"/>
                    <a:gd name="connsiteX78" fmla="*/ 752835 w 761692"/>
                    <a:gd name="connsiteY78" fmla="*/ 814834 h 1016771"/>
                    <a:gd name="connsiteX79" fmla="*/ 743978 w 761692"/>
                    <a:gd name="connsiteY79" fmla="*/ 827234 h 1016771"/>
                    <a:gd name="connsiteX80" fmla="*/ 743978 w 761692"/>
                    <a:gd name="connsiteY80" fmla="*/ 837862 h 1016771"/>
                    <a:gd name="connsiteX81" fmla="*/ 747521 w 761692"/>
                    <a:gd name="connsiteY81" fmla="*/ 853804 h 1016771"/>
                    <a:gd name="connsiteX82" fmla="*/ 733350 w 761692"/>
                    <a:gd name="connsiteY82" fmla="*/ 867975 h 1016771"/>
                    <a:gd name="connsiteX83" fmla="*/ 724493 w 761692"/>
                    <a:gd name="connsiteY83" fmla="*/ 880375 h 1016771"/>
                    <a:gd name="connsiteX84" fmla="*/ 722722 w 761692"/>
                    <a:gd name="connsiteY84" fmla="*/ 899860 h 1016771"/>
                    <a:gd name="connsiteX85" fmla="*/ 722722 w 761692"/>
                    <a:gd name="connsiteY85" fmla="*/ 919345 h 1016771"/>
                    <a:gd name="connsiteX86" fmla="*/ 715636 w 761692"/>
                    <a:gd name="connsiteY86" fmla="*/ 940602 h 1016771"/>
                    <a:gd name="connsiteX87" fmla="*/ 708551 w 761692"/>
                    <a:gd name="connsiteY87" fmla="*/ 954773 h 1016771"/>
                    <a:gd name="connsiteX88" fmla="*/ 699694 w 761692"/>
                    <a:gd name="connsiteY88" fmla="*/ 965401 h 1016771"/>
                    <a:gd name="connsiteX89" fmla="*/ 692608 w 761692"/>
                    <a:gd name="connsiteY89" fmla="*/ 984886 h 1016771"/>
                    <a:gd name="connsiteX90" fmla="*/ 683751 w 761692"/>
                    <a:gd name="connsiteY90" fmla="*/ 997286 h 1016771"/>
                    <a:gd name="connsiteX91" fmla="*/ 673123 w 761692"/>
                    <a:gd name="connsiteY91" fmla="*/ 1002600 h 1016771"/>
                    <a:gd name="connsiteX92" fmla="*/ 662495 w 761692"/>
                    <a:gd name="connsiteY92" fmla="*/ 1013228 h 1016771"/>
                    <a:gd name="connsiteX93" fmla="*/ 644781 w 761692"/>
                    <a:gd name="connsiteY93" fmla="*/ 1016771 h 1016771"/>
                    <a:gd name="connsiteX94" fmla="*/ 635924 w 761692"/>
                    <a:gd name="connsiteY94" fmla="*/ 1004372 h 1016771"/>
                    <a:gd name="connsiteX95" fmla="*/ 623525 w 761692"/>
                    <a:gd name="connsiteY95" fmla="*/ 997286 h 1016771"/>
                    <a:gd name="connsiteX96" fmla="*/ 614668 w 761692"/>
                    <a:gd name="connsiteY96" fmla="*/ 986658 h 1016771"/>
                    <a:gd name="connsiteX97" fmla="*/ 593411 w 761692"/>
                    <a:gd name="connsiteY97" fmla="*/ 970715 h 1016771"/>
                    <a:gd name="connsiteX98" fmla="*/ 582783 w 761692"/>
                    <a:gd name="connsiteY98" fmla="*/ 965401 h 1016771"/>
                    <a:gd name="connsiteX99" fmla="*/ 531413 w 761692"/>
                    <a:gd name="connsiteY99" fmla="*/ 965401 h 1016771"/>
                    <a:gd name="connsiteX100" fmla="*/ 511928 w 761692"/>
                    <a:gd name="connsiteY100" fmla="*/ 965401 h 1016771"/>
                    <a:gd name="connsiteX101" fmla="*/ 492443 w 761692"/>
                    <a:gd name="connsiteY101" fmla="*/ 963630 h 1016771"/>
                    <a:gd name="connsiteX102" fmla="*/ 483586 w 761692"/>
                    <a:gd name="connsiteY102" fmla="*/ 958316 h 1016771"/>
                    <a:gd name="connsiteX103" fmla="*/ 469415 w 761692"/>
                    <a:gd name="connsiteY103" fmla="*/ 954773 h 1016771"/>
                    <a:gd name="connsiteX104" fmla="*/ 460558 w 761692"/>
                    <a:gd name="connsiteY104" fmla="*/ 942373 h 1016771"/>
                    <a:gd name="connsiteX105" fmla="*/ 446387 w 761692"/>
                    <a:gd name="connsiteY105" fmla="*/ 935288 h 1016771"/>
                    <a:gd name="connsiteX106" fmla="*/ 428673 w 761692"/>
                    <a:gd name="connsiteY106" fmla="*/ 928202 h 1016771"/>
                    <a:gd name="connsiteX107" fmla="*/ 418045 w 761692"/>
                    <a:gd name="connsiteY107" fmla="*/ 917574 h 1016771"/>
                    <a:gd name="connsiteX108" fmla="*/ 421588 w 761692"/>
                    <a:gd name="connsiteY108" fmla="*/ 903403 h 1016771"/>
                    <a:gd name="connsiteX109" fmla="*/ 418045 w 761692"/>
                    <a:gd name="connsiteY109" fmla="*/ 898089 h 1016771"/>
                    <a:gd name="connsiteX110" fmla="*/ 396788 w 761692"/>
                    <a:gd name="connsiteY110" fmla="*/ 898089 h 1016771"/>
                    <a:gd name="connsiteX111" fmla="*/ 382617 w 761692"/>
                    <a:gd name="connsiteY111" fmla="*/ 896318 h 1016771"/>
                    <a:gd name="connsiteX112" fmla="*/ 380846 w 761692"/>
                    <a:gd name="connsiteY112" fmla="*/ 906946 h 1016771"/>
                    <a:gd name="connsiteX113" fmla="*/ 373601 w 761692"/>
                    <a:gd name="connsiteY113" fmla="*/ 894832 h 1016771"/>
                    <a:gd name="connsiteX114" fmla="*/ 387164 w 761692"/>
                    <a:gd name="connsiteY114" fmla="*/ 896527 h 1016771"/>
                    <a:gd name="connsiteX115" fmla="*/ 383773 w 761692"/>
                    <a:gd name="connsiteY115" fmla="*/ 886355 h 1016771"/>
                    <a:gd name="connsiteX116" fmla="*/ 387164 w 761692"/>
                    <a:gd name="connsiteY116" fmla="*/ 876183 h 1016771"/>
                    <a:gd name="connsiteX117" fmla="*/ 388859 w 761692"/>
                    <a:gd name="connsiteY117" fmla="*/ 867707 h 1016771"/>
                    <a:gd name="connsiteX118" fmla="*/ 380382 w 761692"/>
                    <a:gd name="connsiteY118" fmla="*/ 859230 h 1016771"/>
                    <a:gd name="connsiteX119" fmla="*/ 373601 w 761692"/>
                    <a:gd name="connsiteY119" fmla="*/ 849058 h 1016771"/>
                    <a:gd name="connsiteX120" fmla="*/ 380382 w 761692"/>
                    <a:gd name="connsiteY120" fmla="*/ 838886 h 1016771"/>
                    <a:gd name="connsiteX121" fmla="*/ 383773 w 761692"/>
                    <a:gd name="connsiteY121" fmla="*/ 833800 h 1016771"/>
                    <a:gd name="connsiteX122" fmla="*/ 388859 w 761692"/>
                    <a:gd name="connsiteY122" fmla="*/ 825324 h 1016771"/>
                    <a:gd name="connsiteX123" fmla="*/ 387164 w 761692"/>
                    <a:gd name="connsiteY123" fmla="*/ 810066 h 1016771"/>
                    <a:gd name="connsiteX124" fmla="*/ 387164 w 761692"/>
                    <a:gd name="connsiteY124" fmla="*/ 796503 h 1016771"/>
                    <a:gd name="connsiteX125" fmla="*/ 378687 w 761692"/>
                    <a:gd name="connsiteY125" fmla="*/ 789722 h 1016771"/>
                    <a:gd name="connsiteX126" fmla="*/ 366820 w 761692"/>
                    <a:gd name="connsiteY126" fmla="*/ 782940 h 1016771"/>
                    <a:gd name="connsiteX127" fmla="*/ 356648 w 761692"/>
                    <a:gd name="connsiteY127" fmla="*/ 781245 h 1016771"/>
                    <a:gd name="connsiteX128" fmla="*/ 349866 w 761692"/>
                    <a:gd name="connsiteY128" fmla="*/ 771073 h 1016771"/>
                    <a:gd name="connsiteX129" fmla="*/ 349866 w 761692"/>
                    <a:gd name="connsiteY129" fmla="*/ 752425 h 1016771"/>
                    <a:gd name="connsiteX130" fmla="*/ 353257 w 761692"/>
                    <a:gd name="connsiteY130" fmla="*/ 743948 h 1016771"/>
                    <a:gd name="connsiteX131" fmla="*/ 354952 w 761692"/>
                    <a:gd name="connsiteY131" fmla="*/ 730385 h 1016771"/>
                    <a:gd name="connsiteX132" fmla="*/ 353257 w 761692"/>
                    <a:gd name="connsiteY132" fmla="*/ 713432 h 1016771"/>
                    <a:gd name="connsiteX133" fmla="*/ 346476 w 761692"/>
                    <a:gd name="connsiteY133" fmla="*/ 701565 h 1016771"/>
                    <a:gd name="connsiteX134" fmla="*/ 332913 w 761692"/>
                    <a:gd name="connsiteY134" fmla="*/ 689697 h 1016771"/>
                    <a:gd name="connsiteX135" fmla="*/ 324436 w 761692"/>
                    <a:gd name="connsiteY135" fmla="*/ 681221 h 1016771"/>
                    <a:gd name="connsiteX136" fmla="*/ 314264 w 761692"/>
                    <a:gd name="connsiteY136" fmla="*/ 676135 h 1016771"/>
                    <a:gd name="connsiteX137" fmla="*/ 293920 w 761692"/>
                    <a:gd name="connsiteY137" fmla="*/ 669354 h 1016771"/>
                    <a:gd name="connsiteX138" fmla="*/ 282053 w 761692"/>
                    <a:gd name="connsiteY138" fmla="*/ 667658 h 1016771"/>
                    <a:gd name="connsiteX139" fmla="*/ 266795 w 761692"/>
                    <a:gd name="connsiteY139" fmla="*/ 672744 h 1016771"/>
                    <a:gd name="connsiteX140" fmla="*/ 265100 w 761692"/>
                    <a:gd name="connsiteY140" fmla="*/ 672744 h 1016771"/>
                    <a:gd name="connsiteX141" fmla="*/ 263404 w 761692"/>
                    <a:gd name="connsiteY141" fmla="*/ 671049 h 1016771"/>
                    <a:gd name="connsiteX142" fmla="*/ 260014 w 761692"/>
                    <a:gd name="connsiteY142" fmla="*/ 671049 h 1016771"/>
                    <a:gd name="connsiteX143" fmla="*/ 258318 w 761692"/>
                    <a:gd name="connsiteY143" fmla="*/ 671049 h 1016771"/>
                    <a:gd name="connsiteX144" fmla="*/ 253232 w 761692"/>
                    <a:gd name="connsiteY144" fmla="*/ 671049 h 1016771"/>
                    <a:gd name="connsiteX145" fmla="*/ 248146 w 761692"/>
                    <a:gd name="connsiteY145" fmla="*/ 672744 h 1016771"/>
                    <a:gd name="connsiteX146" fmla="*/ 248146 w 761692"/>
                    <a:gd name="connsiteY146" fmla="*/ 674440 h 1016771"/>
                    <a:gd name="connsiteX147" fmla="*/ 246451 w 761692"/>
                    <a:gd name="connsiteY147" fmla="*/ 674440 h 1016771"/>
                    <a:gd name="connsiteX148" fmla="*/ 236279 w 761692"/>
                    <a:gd name="connsiteY148" fmla="*/ 679526 h 1016771"/>
                    <a:gd name="connsiteX149" fmla="*/ 226107 w 761692"/>
                    <a:gd name="connsiteY149" fmla="*/ 684612 h 1016771"/>
                    <a:gd name="connsiteX150" fmla="*/ 217630 w 761692"/>
                    <a:gd name="connsiteY150" fmla="*/ 684612 h 1016771"/>
                    <a:gd name="connsiteX151" fmla="*/ 207458 w 761692"/>
                    <a:gd name="connsiteY151" fmla="*/ 693088 h 1016771"/>
                    <a:gd name="connsiteX152" fmla="*/ 198982 w 761692"/>
                    <a:gd name="connsiteY152" fmla="*/ 694783 h 1016771"/>
                    <a:gd name="connsiteX153" fmla="*/ 192200 w 761692"/>
                    <a:gd name="connsiteY153" fmla="*/ 699869 h 1016771"/>
                    <a:gd name="connsiteX154" fmla="*/ 178638 w 761692"/>
                    <a:gd name="connsiteY154" fmla="*/ 706651 h 1016771"/>
                    <a:gd name="connsiteX155" fmla="*/ 163380 w 761692"/>
                    <a:gd name="connsiteY155" fmla="*/ 710041 h 1016771"/>
                    <a:gd name="connsiteX156" fmla="*/ 141340 w 761692"/>
                    <a:gd name="connsiteY156" fmla="*/ 710041 h 1016771"/>
                    <a:gd name="connsiteX157" fmla="*/ 134559 w 761692"/>
                    <a:gd name="connsiteY157" fmla="*/ 716823 h 1016771"/>
                    <a:gd name="connsiteX158" fmla="*/ 127778 w 761692"/>
                    <a:gd name="connsiteY158" fmla="*/ 718518 h 1016771"/>
                    <a:gd name="connsiteX159" fmla="*/ 120996 w 761692"/>
                    <a:gd name="connsiteY159" fmla="*/ 725299 h 1016771"/>
                    <a:gd name="connsiteX160" fmla="*/ 111172 w 761692"/>
                    <a:gd name="connsiteY160" fmla="*/ 733720 h 1016771"/>
                    <a:gd name="connsiteX161" fmla="*/ 106283 w 761692"/>
                    <a:gd name="connsiteY161" fmla="*/ 729808 h 1016771"/>
                    <a:gd name="connsiteX162" fmla="*/ 92112 w 761692"/>
                    <a:gd name="connsiteY162" fmla="*/ 724494 h 1016771"/>
                    <a:gd name="connsiteX163" fmla="*/ 77941 w 761692"/>
                    <a:gd name="connsiteY163" fmla="*/ 726265 h 1016771"/>
                    <a:gd name="connsiteX164" fmla="*/ 70855 w 761692"/>
                    <a:gd name="connsiteY164" fmla="*/ 719180 h 1016771"/>
                    <a:gd name="connsiteX165" fmla="*/ 70855 w 761692"/>
                    <a:gd name="connsiteY165" fmla="*/ 699695 h 1016771"/>
                    <a:gd name="connsiteX166" fmla="*/ 81483 w 761692"/>
                    <a:gd name="connsiteY166" fmla="*/ 685524 h 1016771"/>
                    <a:gd name="connsiteX167" fmla="*/ 85026 w 761692"/>
                    <a:gd name="connsiteY167" fmla="*/ 673124 h 1016771"/>
                    <a:gd name="connsiteX168" fmla="*/ 86797 w 761692"/>
                    <a:gd name="connsiteY168" fmla="*/ 660724 h 1016771"/>
                    <a:gd name="connsiteX169" fmla="*/ 97426 w 761692"/>
                    <a:gd name="connsiteY169" fmla="*/ 650096 h 1016771"/>
                    <a:gd name="connsiteX170" fmla="*/ 102740 w 761692"/>
                    <a:gd name="connsiteY170" fmla="*/ 635925 h 1016771"/>
                    <a:gd name="connsiteX171" fmla="*/ 113368 w 761692"/>
                    <a:gd name="connsiteY171" fmla="*/ 625297 h 1016771"/>
                    <a:gd name="connsiteX172" fmla="*/ 115139 w 761692"/>
                    <a:gd name="connsiteY172" fmla="*/ 612897 h 1016771"/>
                    <a:gd name="connsiteX173" fmla="*/ 127539 w 761692"/>
                    <a:gd name="connsiteY173" fmla="*/ 609354 h 1016771"/>
                    <a:gd name="connsiteX174" fmla="*/ 136396 w 761692"/>
                    <a:gd name="connsiteY174" fmla="*/ 604040 h 1016771"/>
                    <a:gd name="connsiteX175" fmla="*/ 132853 w 761692"/>
                    <a:gd name="connsiteY175" fmla="*/ 593412 h 1016771"/>
                    <a:gd name="connsiteX176" fmla="*/ 134625 w 761692"/>
                    <a:gd name="connsiteY176" fmla="*/ 584555 h 1016771"/>
                    <a:gd name="connsiteX177" fmla="*/ 131082 w 761692"/>
                    <a:gd name="connsiteY177" fmla="*/ 575698 h 1016771"/>
                    <a:gd name="connsiteX178" fmla="*/ 120454 w 761692"/>
                    <a:gd name="connsiteY178" fmla="*/ 568613 h 1016771"/>
                    <a:gd name="connsiteX179" fmla="*/ 125768 w 761692"/>
                    <a:gd name="connsiteY179" fmla="*/ 552670 h 1016771"/>
                    <a:gd name="connsiteX180" fmla="*/ 118682 w 761692"/>
                    <a:gd name="connsiteY180" fmla="*/ 543813 h 1016771"/>
                    <a:gd name="connsiteX181" fmla="*/ 90340 w 761692"/>
                    <a:gd name="connsiteY181" fmla="*/ 543813 h 1016771"/>
                    <a:gd name="connsiteX182" fmla="*/ 86797 w 761692"/>
                    <a:gd name="connsiteY182" fmla="*/ 542042 h 1016771"/>
                    <a:gd name="connsiteX183" fmla="*/ 83255 w 761692"/>
                    <a:gd name="connsiteY183" fmla="*/ 542042 h 1016771"/>
                    <a:gd name="connsiteX184" fmla="*/ 81483 w 761692"/>
                    <a:gd name="connsiteY184" fmla="*/ 540271 h 1016771"/>
                    <a:gd name="connsiteX185" fmla="*/ 81483 w 761692"/>
                    <a:gd name="connsiteY185" fmla="*/ 536728 h 1016771"/>
                    <a:gd name="connsiteX186" fmla="*/ 79712 w 761692"/>
                    <a:gd name="connsiteY186" fmla="*/ 531414 h 1016771"/>
                    <a:gd name="connsiteX187" fmla="*/ 77941 w 761692"/>
                    <a:gd name="connsiteY187" fmla="*/ 529642 h 1016771"/>
                    <a:gd name="connsiteX188" fmla="*/ 70855 w 761692"/>
                    <a:gd name="connsiteY188" fmla="*/ 527871 h 1016771"/>
                    <a:gd name="connsiteX189" fmla="*/ 60227 w 761692"/>
                    <a:gd name="connsiteY189" fmla="*/ 536728 h 1016771"/>
                    <a:gd name="connsiteX190" fmla="*/ 47827 w 761692"/>
                    <a:gd name="connsiteY190" fmla="*/ 526100 h 1016771"/>
                    <a:gd name="connsiteX191" fmla="*/ 42513 w 761692"/>
                    <a:gd name="connsiteY191" fmla="*/ 515471 h 1016771"/>
                    <a:gd name="connsiteX192" fmla="*/ 33656 w 761692"/>
                    <a:gd name="connsiteY192" fmla="*/ 506614 h 1016771"/>
                    <a:gd name="connsiteX193" fmla="*/ 31885 w 761692"/>
                    <a:gd name="connsiteY193" fmla="*/ 490672 h 1016771"/>
                    <a:gd name="connsiteX194" fmla="*/ 26571 w 761692"/>
                    <a:gd name="connsiteY194" fmla="*/ 476501 h 1016771"/>
                    <a:gd name="connsiteX195" fmla="*/ 24799 w 761692"/>
                    <a:gd name="connsiteY195" fmla="*/ 471187 h 1016771"/>
                    <a:gd name="connsiteX196" fmla="*/ 12400 w 761692"/>
                    <a:gd name="connsiteY196" fmla="*/ 472958 h 1016771"/>
                    <a:gd name="connsiteX197" fmla="*/ 7086 w 761692"/>
                    <a:gd name="connsiteY197" fmla="*/ 464101 h 1016771"/>
                    <a:gd name="connsiteX198" fmla="*/ 8857 w 761692"/>
                    <a:gd name="connsiteY198" fmla="*/ 446388 h 1016771"/>
                    <a:gd name="connsiteX199" fmla="*/ 3543 w 761692"/>
                    <a:gd name="connsiteY199" fmla="*/ 435759 h 1016771"/>
                    <a:gd name="connsiteX200" fmla="*/ 5314 w 761692"/>
                    <a:gd name="connsiteY200" fmla="*/ 412731 h 1016771"/>
                    <a:gd name="connsiteX201" fmla="*/ 0 w 761692"/>
                    <a:gd name="connsiteY201" fmla="*/ 396789 h 1016771"/>
                    <a:gd name="connsiteX202" fmla="*/ 3543 w 761692"/>
                    <a:gd name="connsiteY202" fmla="*/ 384389 h 1016771"/>
                    <a:gd name="connsiteX203" fmla="*/ 14171 w 761692"/>
                    <a:gd name="connsiteY203" fmla="*/ 380846 h 1016771"/>
                    <a:gd name="connsiteX204" fmla="*/ 24799 w 761692"/>
                    <a:gd name="connsiteY204" fmla="*/ 364904 h 1016771"/>
                    <a:gd name="connsiteX205" fmla="*/ 30113 w 761692"/>
                    <a:gd name="connsiteY205" fmla="*/ 350733 h 1016771"/>
                    <a:gd name="connsiteX206" fmla="*/ 35428 w 761692"/>
                    <a:gd name="connsiteY206" fmla="*/ 341876 h 1016771"/>
                    <a:gd name="connsiteX207" fmla="*/ 42513 w 761692"/>
                    <a:gd name="connsiteY207" fmla="*/ 327705 h 1016771"/>
                    <a:gd name="connsiteX208" fmla="*/ 42513 w 761692"/>
                    <a:gd name="connsiteY208" fmla="*/ 315305 h 1016771"/>
                    <a:gd name="connsiteX209" fmla="*/ 56684 w 761692"/>
                    <a:gd name="connsiteY209" fmla="*/ 309991 h 1016771"/>
                    <a:gd name="connsiteX210" fmla="*/ 60227 w 761692"/>
                    <a:gd name="connsiteY210" fmla="*/ 309991 h 1016771"/>
                    <a:gd name="connsiteX211" fmla="*/ 61998 w 761692"/>
                    <a:gd name="connsiteY211" fmla="*/ 311763 h 1016771"/>
                    <a:gd name="connsiteX212" fmla="*/ 67312 w 761692"/>
                    <a:gd name="connsiteY212" fmla="*/ 311763 h 1016771"/>
                    <a:gd name="connsiteX213" fmla="*/ 67312 w 761692"/>
                    <a:gd name="connsiteY213" fmla="*/ 309991 h 1016771"/>
                    <a:gd name="connsiteX214" fmla="*/ 67312 w 761692"/>
                    <a:gd name="connsiteY214" fmla="*/ 308220 h 1016771"/>
                    <a:gd name="connsiteX215" fmla="*/ 69084 w 761692"/>
                    <a:gd name="connsiteY215" fmla="*/ 302906 h 1016771"/>
                    <a:gd name="connsiteX216" fmla="*/ 70855 w 761692"/>
                    <a:gd name="connsiteY216" fmla="*/ 301134 h 1016771"/>
                    <a:gd name="connsiteX217" fmla="*/ 70855 w 761692"/>
                    <a:gd name="connsiteY217" fmla="*/ 299363 h 1016771"/>
                    <a:gd name="connsiteX218" fmla="*/ 77941 w 761692"/>
                    <a:gd name="connsiteY218" fmla="*/ 295820 h 1016771"/>
                    <a:gd name="connsiteX219" fmla="*/ 85026 w 761692"/>
                    <a:gd name="connsiteY219" fmla="*/ 295820 h 1016771"/>
                    <a:gd name="connsiteX220" fmla="*/ 93883 w 761692"/>
                    <a:gd name="connsiteY220" fmla="*/ 297592 h 1016771"/>
                    <a:gd name="connsiteX221" fmla="*/ 100968 w 761692"/>
                    <a:gd name="connsiteY221" fmla="*/ 288735 h 1016771"/>
                    <a:gd name="connsiteX222" fmla="*/ 97426 w 761692"/>
                    <a:gd name="connsiteY222" fmla="*/ 279878 h 1016771"/>
                    <a:gd name="connsiteX223" fmla="*/ 85026 w 761692"/>
                    <a:gd name="connsiteY223" fmla="*/ 276335 h 1016771"/>
                    <a:gd name="connsiteX224" fmla="*/ 76169 w 761692"/>
                    <a:gd name="connsiteY224" fmla="*/ 271021 h 1016771"/>
                    <a:gd name="connsiteX225" fmla="*/ 76169 w 761692"/>
                    <a:gd name="connsiteY225" fmla="*/ 262164 h 1016771"/>
                    <a:gd name="connsiteX226" fmla="*/ 81483 w 761692"/>
                    <a:gd name="connsiteY226" fmla="*/ 251536 h 1016771"/>
                    <a:gd name="connsiteX227" fmla="*/ 86797 w 761692"/>
                    <a:gd name="connsiteY227" fmla="*/ 255079 h 1016771"/>
                    <a:gd name="connsiteX228" fmla="*/ 104511 w 761692"/>
                    <a:gd name="connsiteY228" fmla="*/ 262164 h 1016771"/>
                    <a:gd name="connsiteX229" fmla="*/ 116911 w 761692"/>
                    <a:gd name="connsiteY229" fmla="*/ 265707 h 1016771"/>
                    <a:gd name="connsiteX230" fmla="*/ 132853 w 761692"/>
                    <a:gd name="connsiteY230" fmla="*/ 269250 h 1016771"/>
                    <a:gd name="connsiteX231" fmla="*/ 138167 w 761692"/>
                    <a:gd name="connsiteY231" fmla="*/ 265707 h 1016771"/>
                    <a:gd name="connsiteX232" fmla="*/ 150567 w 761692"/>
                    <a:gd name="connsiteY232" fmla="*/ 255079 h 1016771"/>
                    <a:gd name="connsiteX233" fmla="*/ 166509 w 761692"/>
                    <a:gd name="connsiteY233" fmla="*/ 255079 h 1016771"/>
                    <a:gd name="connsiteX234" fmla="*/ 166509 w 761692"/>
                    <a:gd name="connsiteY234" fmla="*/ 265707 h 1016771"/>
                    <a:gd name="connsiteX235" fmla="*/ 177138 w 761692"/>
                    <a:gd name="connsiteY235" fmla="*/ 272792 h 1016771"/>
                    <a:gd name="connsiteX236" fmla="*/ 194851 w 761692"/>
                    <a:gd name="connsiteY236" fmla="*/ 276335 h 1016771"/>
                    <a:gd name="connsiteX237" fmla="*/ 209022 w 761692"/>
                    <a:gd name="connsiteY237" fmla="*/ 279878 h 1016771"/>
                    <a:gd name="connsiteX238" fmla="*/ 221422 w 761692"/>
                    <a:gd name="connsiteY238" fmla="*/ 276335 h 1016771"/>
                    <a:gd name="connsiteX239" fmla="*/ 226736 w 761692"/>
                    <a:gd name="connsiteY239" fmla="*/ 269250 h 1016771"/>
                    <a:gd name="connsiteX240" fmla="*/ 226736 w 761692"/>
                    <a:gd name="connsiteY240" fmla="*/ 251536 h 1016771"/>
                    <a:gd name="connsiteX241" fmla="*/ 224965 w 761692"/>
                    <a:gd name="connsiteY241" fmla="*/ 239136 h 1016771"/>
                    <a:gd name="connsiteX242" fmla="*/ 214337 w 761692"/>
                    <a:gd name="connsiteY242" fmla="*/ 230279 h 1016771"/>
                    <a:gd name="connsiteX243" fmla="*/ 210794 w 761692"/>
                    <a:gd name="connsiteY243" fmla="*/ 217880 h 1016771"/>
                    <a:gd name="connsiteX244" fmla="*/ 221422 w 761692"/>
                    <a:gd name="connsiteY244" fmla="*/ 207251 h 1016771"/>
                    <a:gd name="connsiteX245" fmla="*/ 235593 w 761692"/>
                    <a:gd name="connsiteY245" fmla="*/ 214337 h 1016771"/>
                    <a:gd name="connsiteX246" fmla="*/ 246221 w 761692"/>
                    <a:gd name="connsiteY246" fmla="*/ 219651 h 1016771"/>
                    <a:gd name="connsiteX247" fmla="*/ 253307 w 761692"/>
                    <a:gd name="connsiteY247" fmla="*/ 221422 h 1016771"/>
                    <a:gd name="connsiteX248" fmla="*/ 262164 w 761692"/>
                    <a:gd name="connsiteY248" fmla="*/ 210794 h 1016771"/>
                    <a:gd name="connsiteX249" fmla="*/ 263935 w 761692"/>
                    <a:gd name="connsiteY249" fmla="*/ 201937 h 1016771"/>
                    <a:gd name="connsiteX250" fmla="*/ 274563 w 761692"/>
                    <a:gd name="connsiteY250" fmla="*/ 189538 h 1016771"/>
                    <a:gd name="connsiteX251" fmla="*/ 283420 w 761692"/>
                    <a:gd name="connsiteY251" fmla="*/ 178909 h 1016771"/>
                    <a:gd name="connsiteX252" fmla="*/ 286963 w 761692"/>
                    <a:gd name="connsiteY252" fmla="*/ 173595 h 1016771"/>
                    <a:gd name="connsiteX253" fmla="*/ 311762 w 761692"/>
                    <a:gd name="connsiteY253" fmla="*/ 168281 h 1016771"/>
                    <a:gd name="connsiteX254" fmla="*/ 325933 w 761692"/>
                    <a:gd name="connsiteY254" fmla="*/ 164738 h 1016771"/>
                    <a:gd name="connsiteX255" fmla="*/ 336562 w 761692"/>
                    <a:gd name="connsiteY255" fmla="*/ 159424 h 1016771"/>
                    <a:gd name="connsiteX256" fmla="*/ 348961 w 761692"/>
                    <a:gd name="connsiteY256" fmla="*/ 145253 h 1016771"/>
                    <a:gd name="connsiteX257" fmla="*/ 359589 w 761692"/>
                    <a:gd name="connsiteY257" fmla="*/ 143482 h 1016771"/>
                    <a:gd name="connsiteX258" fmla="*/ 371989 w 761692"/>
                    <a:gd name="connsiteY258" fmla="*/ 143482 h 1016771"/>
                    <a:gd name="connsiteX259" fmla="*/ 391474 w 761692"/>
                    <a:gd name="connsiteY259" fmla="*/ 143482 h 1016771"/>
                    <a:gd name="connsiteX260" fmla="*/ 396788 w 761692"/>
                    <a:gd name="connsiteY260" fmla="*/ 141710 h 1016771"/>
                    <a:gd name="connsiteX261" fmla="*/ 403874 w 761692"/>
                    <a:gd name="connsiteY261" fmla="*/ 134625 h 1016771"/>
                    <a:gd name="connsiteX262" fmla="*/ 409188 w 761692"/>
                    <a:gd name="connsiteY262" fmla="*/ 129311 h 1016771"/>
                    <a:gd name="connsiteX263" fmla="*/ 409188 w 761692"/>
                    <a:gd name="connsiteY263" fmla="*/ 123997 h 1016771"/>
                    <a:gd name="connsiteX264" fmla="*/ 414502 w 761692"/>
                    <a:gd name="connsiteY264" fmla="*/ 115140 h 1016771"/>
                    <a:gd name="connsiteX265" fmla="*/ 428673 w 761692"/>
                    <a:gd name="connsiteY265" fmla="*/ 115140 h 1016771"/>
                    <a:gd name="connsiteX266" fmla="*/ 432216 w 761692"/>
                    <a:gd name="connsiteY266" fmla="*/ 109826 h 1016771"/>
                    <a:gd name="connsiteX267" fmla="*/ 437530 w 761692"/>
                    <a:gd name="connsiteY267" fmla="*/ 100969 h 1016771"/>
                    <a:gd name="connsiteX268" fmla="*/ 448158 w 761692"/>
                    <a:gd name="connsiteY268" fmla="*/ 99197 h 1016771"/>
                    <a:gd name="connsiteX269" fmla="*/ 460558 w 761692"/>
                    <a:gd name="connsiteY269" fmla="*/ 97426 h 1016771"/>
                    <a:gd name="connsiteX270" fmla="*/ 472958 w 761692"/>
                    <a:gd name="connsiteY270" fmla="*/ 93883 h 1016771"/>
                    <a:gd name="connsiteX271" fmla="*/ 492443 w 761692"/>
                    <a:gd name="connsiteY271" fmla="*/ 93883 h 1016771"/>
                    <a:gd name="connsiteX272" fmla="*/ 501300 w 761692"/>
                    <a:gd name="connsiteY272" fmla="*/ 83255 h 1016771"/>
                    <a:gd name="connsiteX273" fmla="*/ 517242 w 761692"/>
                    <a:gd name="connsiteY273" fmla="*/ 81484 h 1016771"/>
                    <a:gd name="connsiteX274" fmla="*/ 522556 w 761692"/>
                    <a:gd name="connsiteY274" fmla="*/ 81484 h 1016771"/>
                    <a:gd name="connsiteX275" fmla="*/ 522556 w 761692"/>
                    <a:gd name="connsiteY275" fmla="*/ 60227 h 1016771"/>
                    <a:gd name="connsiteX276" fmla="*/ 526099 w 761692"/>
                    <a:gd name="connsiteY276" fmla="*/ 54913 h 1016771"/>
                    <a:gd name="connsiteX277" fmla="*/ 529642 w 761692"/>
                    <a:gd name="connsiteY277" fmla="*/ 46056 h 1016771"/>
                    <a:gd name="connsiteX278" fmla="*/ 538499 w 761692"/>
                    <a:gd name="connsiteY278" fmla="*/ 40742 h 1016771"/>
                    <a:gd name="connsiteX279" fmla="*/ 540270 w 761692"/>
                    <a:gd name="connsiteY279" fmla="*/ 30114 h 1016771"/>
                    <a:gd name="connsiteX280" fmla="*/ 536727 w 761692"/>
                    <a:gd name="connsiteY280" fmla="*/ 19485 h 1016771"/>
                    <a:gd name="connsiteX281" fmla="*/ 543813 w 761692"/>
                    <a:gd name="connsiteY281" fmla="*/ 5314 h 1016771"/>
                    <a:gd name="connsiteX282" fmla="*/ 554441 w 761692"/>
                    <a:gd name="connsiteY282" fmla="*/ 0 h 1016771"/>
                    <a:gd name="connsiteX0" fmla="*/ 116476 w 761692"/>
                    <a:gd name="connsiteY0" fmla="*/ 741349 h 1016771"/>
                    <a:gd name="connsiteX1" fmla="*/ 117606 w 761692"/>
                    <a:gd name="connsiteY1" fmla="*/ 742253 h 1016771"/>
                    <a:gd name="connsiteX2" fmla="*/ 122692 w 761692"/>
                    <a:gd name="connsiteY2" fmla="*/ 759206 h 1016771"/>
                    <a:gd name="connsiteX3" fmla="*/ 126082 w 761692"/>
                    <a:gd name="connsiteY3" fmla="*/ 771073 h 1016771"/>
                    <a:gd name="connsiteX4" fmla="*/ 123996 w 761692"/>
                    <a:gd name="connsiteY4" fmla="*/ 767007 h 1016771"/>
                    <a:gd name="connsiteX5" fmla="*/ 120454 w 761692"/>
                    <a:gd name="connsiteY5" fmla="*/ 754607 h 1016771"/>
                    <a:gd name="connsiteX6" fmla="*/ 116476 w 761692"/>
                    <a:gd name="connsiteY6" fmla="*/ 741349 h 1016771"/>
                    <a:gd name="connsiteX7" fmla="*/ 554441 w 761692"/>
                    <a:gd name="connsiteY7" fmla="*/ 0 h 1016771"/>
                    <a:gd name="connsiteX8" fmla="*/ 570383 w 761692"/>
                    <a:gd name="connsiteY8" fmla="*/ 3543 h 1016771"/>
                    <a:gd name="connsiteX9" fmla="*/ 577469 w 761692"/>
                    <a:gd name="connsiteY9" fmla="*/ 8857 h 1016771"/>
                    <a:gd name="connsiteX10" fmla="*/ 582783 w 761692"/>
                    <a:gd name="connsiteY10" fmla="*/ 17714 h 1016771"/>
                    <a:gd name="connsiteX11" fmla="*/ 582783 w 761692"/>
                    <a:gd name="connsiteY11" fmla="*/ 24799 h 1016771"/>
                    <a:gd name="connsiteX12" fmla="*/ 588097 w 761692"/>
                    <a:gd name="connsiteY12" fmla="*/ 33656 h 1016771"/>
                    <a:gd name="connsiteX13" fmla="*/ 598725 w 761692"/>
                    <a:gd name="connsiteY13" fmla="*/ 31885 h 1016771"/>
                    <a:gd name="connsiteX14" fmla="*/ 612896 w 761692"/>
                    <a:gd name="connsiteY14" fmla="*/ 37199 h 1016771"/>
                    <a:gd name="connsiteX15" fmla="*/ 618211 w 761692"/>
                    <a:gd name="connsiteY15" fmla="*/ 46056 h 1016771"/>
                    <a:gd name="connsiteX16" fmla="*/ 619982 w 761692"/>
                    <a:gd name="connsiteY16" fmla="*/ 54913 h 1016771"/>
                    <a:gd name="connsiteX17" fmla="*/ 618211 w 761692"/>
                    <a:gd name="connsiteY17" fmla="*/ 74398 h 1016771"/>
                    <a:gd name="connsiteX18" fmla="*/ 616439 w 761692"/>
                    <a:gd name="connsiteY18" fmla="*/ 85026 h 1016771"/>
                    <a:gd name="connsiteX19" fmla="*/ 621753 w 761692"/>
                    <a:gd name="connsiteY19" fmla="*/ 97426 h 1016771"/>
                    <a:gd name="connsiteX20" fmla="*/ 637696 w 761692"/>
                    <a:gd name="connsiteY20" fmla="*/ 113368 h 1016771"/>
                    <a:gd name="connsiteX21" fmla="*/ 644781 w 761692"/>
                    <a:gd name="connsiteY21" fmla="*/ 120454 h 1016771"/>
                    <a:gd name="connsiteX22" fmla="*/ 650095 w 761692"/>
                    <a:gd name="connsiteY22" fmla="*/ 136396 h 1016771"/>
                    <a:gd name="connsiteX23" fmla="*/ 655409 w 761692"/>
                    <a:gd name="connsiteY23" fmla="*/ 155881 h 1016771"/>
                    <a:gd name="connsiteX24" fmla="*/ 662495 w 761692"/>
                    <a:gd name="connsiteY24" fmla="*/ 171824 h 1016771"/>
                    <a:gd name="connsiteX25" fmla="*/ 660724 w 761692"/>
                    <a:gd name="connsiteY25" fmla="*/ 185995 h 1016771"/>
                    <a:gd name="connsiteX26" fmla="*/ 635924 w 761692"/>
                    <a:gd name="connsiteY26" fmla="*/ 194852 h 1016771"/>
                    <a:gd name="connsiteX27" fmla="*/ 619982 w 761692"/>
                    <a:gd name="connsiteY27" fmla="*/ 207251 h 1016771"/>
                    <a:gd name="connsiteX28" fmla="*/ 614668 w 761692"/>
                    <a:gd name="connsiteY28" fmla="*/ 223194 h 1016771"/>
                    <a:gd name="connsiteX29" fmla="*/ 618211 w 761692"/>
                    <a:gd name="connsiteY29" fmla="*/ 242679 h 1016771"/>
                    <a:gd name="connsiteX30" fmla="*/ 612896 w 761692"/>
                    <a:gd name="connsiteY30" fmla="*/ 256850 h 1016771"/>
                    <a:gd name="connsiteX31" fmla="*/ 625296 w 761692"/>
                    <a:gd name="connsiteY31" fmla="*/ 267478 h 1016771"/>
                    <a:gd name="connsiteX32" fmla="*/ 641238 w 761692"/>
                    <a:gd name="connsiteY32" fmla="*/ 269250 h 1016771"/>
                    <a:gd name="connsiteX33" fmla="*/ 658952 w 761692"/>
                    <a:gd name="connsiteY33" fmla="*/ 286963 h 1016771"/>
                    <a:gd name="connsiteX34" fmla="*/ 653638 w 761692"/>
                    <a:gd name="connsiteY34" fmla="*/ 309991 h 1016771"/>
                    <a:gd name="connsiteX35" fmla="*/ 653638 w 761692"/>
                    <a:gd name="connsiteY35" fmla="*/ 329476 h 1016771"/>
                    <a:gd name="connsiteX36" fmla="*/ 643010 w 761692"/>
                    <a:gd name="connsiteY36" fmla="*/ 338333 h 1016771"/>
                    <a:gd name="connsiteX37" fmla="*/ 632382 w 761692"/>
                    <a:gd name="connsiteY37" fmla="*/ 338333 h 1016771"/>
                    <a:gd name="connsiteX38" fmla="*/ 618211 w 761692"/>
                    <a:gd name="connsiteY38" fmla="*/ 357819 h 1016771"/>
                    <a:gd name="connsiteX39" fmla="*/ 609354 w 761692"/>
                    <a:gd name="connsiteY39" fmla="*/ 361361 h 1016771"/>
                    <a:gd name="connsiteX40" fmla="*/ 596954 w 761692"/>
                    <a:gd name="connsiteY40" fmla="*/ 363133 h 1016771"/>
                    <a:gd name="connsiteX41" fmla="*/ 581012 w 761692"/>
                    <a:gd name="connsiteY41" fmla="*/ 379075 h 1016771"/>
                    <a:gd name="connsiteX42" fmla="*/ 589868 w 761692"/>
                    <a:gd name="connsiteY42" fmla="*/ 393246 h 1016771"/>
                    <a:gd name="connsiteX43" fmla="*/ 586326 w 761692"/>
                    <a:gd name="connsiteY43" fmla="*/ 409189 h 1016771"/>
                    <a:gd name="connsiteX44" fmla="*/ 570383 w 761692"/>
                    <a:gd name="connsiteY44" fmla="*/ 398560 h 1016771"/>
                    <a:gd name="connsiteX45" fmla="*/ 550898 w 761692"/>
                    <a:gd name="connsiteY45" fmla="*/ 405646 h 1016771"/>
                    <a:gd name="connsiteX46" fmla="*/ 531413 w 761692"/>
                    <a:gd name="connsiteY46" fmla="*/ 425131 h 1016771"/>
                    <a:gd name="connsiteX47" fmla="*/ 543813 w 761692"/>
                    <a:gd name="connsiteY47" fmla="*/ 444616 h 1016771"/>
                    <a:gd name="connsiteX48" fmla="*/ 557984 w 761692"/>
                    <a:gd name="connsiteY48" fmla="*/ 462330 h 1016771"/>
                    <a:gd name="connsiteX49" fmla="*/ 570383 w 761692"/>
                    <a:gd name="connsiteY49" fmla="*/ 478272 h 1016771"/>
                    <a:gd name="connsiteX50" fmla="*/ 579240 w 761692"/>
                    <a:gd name="connsiteY50" fmla="*/ 485358 h 1016771"/>
                    <a:gd name="connsiteX51" fmla="*/ 602268 w 761692"/>
                    <a:gd name="connsiteY51" fmla="*/ 483586 h 1016771"/>
                    <a:gd name="connsiteX52" fmla="*/ 623525 w 761692"/>
                    <a:gd name="connsiteY52" fmla="*/ 474730 h 1016771"/>
                    <a:gd name="connsiteX53" fmla="*/ 639467 w 761692"/>
                    <a:gd name="connsiteY53" fmla="*/ 464101 h 1016771"/>
                    <a:gd name="connsiteX54" fmla="*/ 662495 w 761692"/>
                    <a:gd name="connsiteY54" fmla="*/ 464101 h 1016771"/>
                    <a:gd name="connsiteX55" fmla="*/ 673123 w 761692"/>
                    <a:gd name="connsiteY55" fmla="*/ 464101 h 1016771"/>
                    <a:gd name="connsiteX56" fmla="*/ 681980 w 761692"/>
                    <a:gd name="connsiteY56" fmla="*/ 467644 h 1016771"/>
                    <a:gd name="connsiteX57" fmla="*/ 703237 w 761692"/>
                    <a:gd name="connsiteY57" fmla="*/ 471187 h 1016771"/>
                    <a:gd name="connsiteX58" fmla="*/ 708551 w 761692"/>
                    <a:gd name="connsiteY58" fmla="*/ 474730 h 1016771"/>
                    <a:gd name="connsiteX59" fmla="*/ 722722 w 761692"/>
                    <a:gd name="connsiteY59" fmla="*/ 501300 h 1016771"/>
                    <a:gd name="connsiteX60" fmla="*/ 724493 w 761692"/>
                    <a:gd name="connsiteY60" fmla="*/ 522557 h 1016771"/>
                    <a:gd name="connsiteX61" fmla="*/ 722722 w 761692"/>
                    <a:gd name="connsiteY61" fmla="*/ 540271 h 1016771"/>
                    <a:gd name="connsiteX62" fmla="*/ 735121 w 761692"/>
                    <a:gd name="connsiteY62" fmla="*/ 552670 h 1016771"/>
                    <a:gd name="connsiteX63" fmla="*/ 735121 w 761692"/>
                    <a:gd name="connsiteY63" fmla="*/ 570384 h 1016771"/>
                    <a:gd name="connsiteX64" fmla="*/ 751064 w 761692"/>
                    <a:gd name="connsiteY64" fmla="*/ 581012 h 1016771"/>
                    <a:gd name="connsiteX65" fmla="*/ 761692 w 761692"/>
                    <a:gd name="connsiteY65" fmla="*/ 604040 h 1016771"/>
                    <a:gd name="connsiteX66" fmla="*/ 747521 w 761692"/>
                    <a:gd name="connsiteY66" fmla="*/ 616440 h 1016771"/>
                    <a:gd name="connsiteX67" fmla="*/ 728036 w 761692"/>
                    <a:gd name="connsiteY67" fmla="*/ 627068 h 1016771"/>
                    <a:gd name="connsiteX68" fmla="*/ 726264 w 761692"/>
                    <a:gd name="connsiteY68" fmla="*/ 650096 h 1016771"/>
                    <a:gd name="connsiteX69" fmla="*/ 728036 w 761692"/>
                    <a:gd name="connsiteY69" fmla="*/ 673124 h 1016771"/>
                    <a:gd name="connsiteX70" fmla="*/ 742207 w 761692"/>
                    <a:gd name="connsiteY70" fmla="*/ 689066 h 1016771"/>
                    <a:gd name="connsiteX71" fmla="*/ 742207 w 761692"/>
                    <a:gd name="connsiteY71" fmla="*/ 712094 h 1016771"/>
                    <a:gd name="connsiteX72" fmla="*/ 740435 w 761692"/>
                    <a:gd name="connsiteY72" fmla="*/ 735122 h 1016771"/>
                    <a:gd name="connsiteX73" fmla="*/ 742207 w 761692"/>
                    <a:gd name="connsiteY73" fmla="*/ 751065 h 1016771"/>
                    <a:gd name="connsiteX74" fmla="*/ 747521 w 761692"/>
                    <a:gd name="connsiteY74" fmla="*/ 768778 h 1016771"/>
                    <a:gd name="connsiteX75" fmla="*/ 759921 w 761692"/>
                    <a:gd name="connsiteY75" fmla="*/ 777635 h 1016771"/>
                    <a:gd name="connsiteX76" fmla="*/ 758149 w 761692"/>
                    <a:gd name="connsiteY76" fmla="*/ 802434 h 1016771"/>
                    <a:gd name="connsiteX77" fmla="*/ 752835 w 761692"/>
                    <a:gd name="connsiteY77" fmla="*/ 814834 h 1016771"/>
                    <a:gd name="connsiteX78" fmla="*/ 743978 w 761692"/>
                    <a:gd name="connsiteY78" fmla="*/ 827234 h 1016771"/>
                    <a:gd name="connsiteX79" fmla="*/ 743978 w 761692"/>
                    <a:gd name="connsiteY79" fmla="*/ 837862 h 1016771"/>
                    <a:gd name="connsiteX80" fmla="*/ 747521 w 761692"/>
                    <a:gd name="connsiteY80" fmla="*/ 853804 h 1016771"/>
                    <a:gd name="connsiteX81" fmla="*/ 733350 w 761692"/>
                    <a:gd name="connsiteY81" fmla="*/ 867975 h 1016771"/>
                    <a:gd name="connsiteX82" fmla="*/ 724493 w 761692"/>
                    <a:gd name="connsiteY82" fmla="*/ 880375 h 1016771"/>
                    <a:gd name="connsiteX83" fmla="*/ 722722 w 761692"/>
                    <a:gd name="connsiteY83" fmla="*/ 899860 h 1016771"/>
                    <a:gd name="connsiteX84" fmla="*/ 722722 w 761692"/>
                    <a:gd name="connsiteY84" fmla="*/ 919345 h 1016771"/>
                    <a:gd name="connsiteX85" fmla="*/ 715636 w 761692"/>
                    <a:gd name="connsiteY85" fmla="*/ 940602 h 1016771"/>
                    <a:gd name="connsiteX86" fmla="*/ 708551 w 761692"/>
                    <a:gd name="connsiteY86" fmla="*/ 954773 h 1016771"/>
                    <a:gd name="connsiteX87" fmla="*/ 699694 w 761692"/>
                    <a:gd name="connsiteY87" fmla="*/ 965401 h 1016771"/>
                    <a:gd name="connsiteX88" fmla="*/ 692608 w 761692"/>
                    <a:gd name="connsiteY88" fmla="*/ 984886 h 1016771"/>
                    <a:gd name="connsiteX89" fmla="*/ 683751 w 761692"/>
                    <a:gd name="connsiteY89" fmla="*/ 997286 h 1016771"/>
                    <a:gd name="connsiteX90" fmla="*/ 673123 w 761692"/>
                    <a:gd name="connsiteY90" fmla="*/ 1002600 h 1016771"/>
                    <a:gd name="connsiteX91" fmla="*/ 662495 w 761692"/>
                    <a:gd name="connsiteY91" fmla="*/ 1013228 h 1016771"/>
                    <a:gd name="connsiteX92" fmla="*/ 644781 w 761692"/>
                    <a:gd name="connsiteY92" fmla="*/ 1016771 h 1016771"/>
                    <a:gd name="connsiteX93" fmla="*/ 635924 w 761692"/>
                    <a:gd name="connsiteY93" fmla="*/ 1004372 h 1016771"/>
                    <a:gd name="connsiteX94" fmla="*/ 623525 w 761692"/>
                    <a:gd name="connsiteY94" fmla="*/ 997286 h 1016771"/>
                    <a:gd name="connsiteX95" fmla="*/ 614668 w 761692"/>
                    <a:gd name="connsiteY95" fmla="*/ 986658 h 1016771"/>
                    <a:gd name="connsiteX96" fmla="*/ 593411 w 761692"/>
                    <a:gd name="connsiteY96" fmla="*/ 970715 h 1016771"/>
                    <a:gd name="connsiteX97" fmla="*/ 582783 w 761692"/>
                    <a:gd name="connsiteY97" fmla="*/ 965401 h 1016771"/>
                    <a:gd name="connsiteX98" fmla="*/ 531413 w 761692"/>
                    <a:gd name="connsiteY98" fmla="*/ 965401 h 1016771"/>
                    <a:gd name="connsiteX99" fmla="*/ 511928 w 761692"/>
                    <a:gd name="connsiteY99" fmla="*/ 965401 h 1016771"/>
                    <a:gd name="connsiteX100" fmla="*/ 492443 w 761692"/>
                    <a:gd name="connsiteY100" fmla="*/ 963630 h 1016771"/>
                    <a:gd name="connsiteX101" fmla="*/ 483586 w 761692"/>
                    <a:gd name="connsiteY101" fmla="*/ 958316 h 1016771"/>
                    <a:gd name="connsiteX102" fmla="*/ 469415 w 761692"/>
                    <a:gd name="connsiteY102" fmla="*/ 954773 h 1016771"/>
                    <a:gd name="connsiteX103" fmla="*/ 460558 w 761692"/>
                    <a:gd name="connsiteY103" fmla="*/ 942373 h 1016771"/>
                    <a:gd name="connsiteX104" fmla="*/ 446387 w 761692"/>
                    <a:gd name="connsiteY104" fmla="*/ 935288 h 1016771"/>
                    <a:gd name="connsiteX105" fmla="*/ 428673 w 761692"/>
                    <a:gd name="connsiteY105" fmla="*/ 928202 h 1016771"/>
                    <a:gd name="connsiteX106" fmla="*/ 418045 w 761692"/>
                    <a:gd name="connsiteY106" fmla="*/ 917574 h 1016771"/>
                    <a:gd name="connsiteX107" fmla="*/ 421588 w 761692"/>
                    <a:gd name="connsiteY107" fmla="*/ 903403 h 1016771"/>
                    <a:gd name="connsiteX108" fmla="*/ 418045 w 761692"/>
                    <a:gd name="connsiteY108" fmla="*/ 898089 h 1016771"/>
                    <a:gd name="connsiteX109" fmla="*/ 396788 w 761692"/>
                    <a:gd name="connsiteY109" fmla="*/ 898089 h 1016771"/>
                    <a:gd name="connsiteX110" fmla="*/ 382617 w 761692"/>
                    <a:gd name="connsiteY110" fmla="*/ 896318 h 1016771"/>
                    <a:gd name="connsiteX111" fmla="*/ 380846 w 761692"/>
                    <a:gd name="connsiteY111" fmla="*/ 906946 h 1016771"/>
                    <a:gd name="connsiteX112" fmla="*/ 373601 w 761692"/>
                    <a:gd name="connsiteY112" fmla="*/ 894832 h 1016771"/>
                    <a:gd name="connsiteX113" fmla="*/ 387164 w 761692"/>
                    <a:gd name="connsiteY113" fmla="*/ 896527 h 1016771"/>
                    <a:gd name="connsiteX114" fmla="*/ 383773 w 761692"/>
                    <a:gd name="connsiteY114" fmla="*/ 886355 h 1016771"/>
                    <a:gd name="connsiteX115" fmla="*/ 387164 w 761692"/>
                    <a:gd name="connsiteY115" fmla="*/ 876183 h 1016771"/>
                    <a:gd name="connsiteX116" fmla="*/ 388859 w 761692"/>
                    <a:gd name="connsiteY116" fmla="*/ 867707 h 1016771"/>
                    <a:gd name="connsiteX117" fmla="*/ 380382 w 761692"/>
                    <a:gd name="connsiteY117" fmla="*/ 859230 h 1016771"/>
                    <a:gd name="connsiteX118" fmla="*/ 373601 w 761692"/>
                    <a:gd name="connsiteY118" fmla="*/ 849058 h 1016771"/>
                    <a:gd name="connsiteX119" fmla="*/ 380382 w 761692"/>
                    <a:gd name="connsiteY119" fmla="*/ 838886 h 1016771"/>
                    <a:gd name="connsiteX120" fmla="*/ 383773 w 761692"/>
                    <a:gd name="connsiteY120" fmla="*/ 833800 h 1016771"/>
                    <a:gd name="connsiteX121" fmla="*/ 388859 w 761692"/>
                    <a:gd name="connsiteY121" fmla="*/ 825324 h 1016771"/>
                    <a:gd name="connsiteX122" fmla="*/ 387164 w 761692"/>
                    <a:gd name="connsiteY122" fmla="*/ 810066 h 1016771"/>
                    <a:gd name="connsiteX123" fmla="*/ 387164 w 761692"/>
                    <a:gd name="connsiteY123" fmla="*/ 796503 h 1016771"/>
                    <a:gd name="connsiteX124" fmla="*/ 378687 w 761692"/>
                    <a:gd name="connsiteY124" fmla="*/ 789722 h 1016771"/>
                    <a:gd name="connsiteX125" fmla="*/ 366820 w 761692"/>
                    <a:gd name="connsiteY125" fmla="*/ 782940 h 1016771"/>
                    <a:gd name="connsiteX126" fmla="*/ 356648 w 761692"/>
                    <a:gd name="connsiteY126" fmla="*/ 781245 h 1016771"/>
                    <a:gd name="connsiteX127" fmla="*/ 349866 w 761692"/>
                    <a:gd name="connsiteY127" fmla="*/ 771073 h 1016771"/>
                    <a:gd name="connsiteX128" fmla="*/ 349866 w 761692"/>
                    <a:gd name="connsiteY128" fmla="*/ 752425 h 1016771"/>
                    <a:gd name="connsiteX129" fmla="*/ 353257 w 761692"/>
                    <a:gd name="connsiteY129" fmla="*/ 743948 h 1016771"/>
                    <a:gd name="connsiteX130" fmla="*/ 354952 w 761692"/>
                    <a:gd name="connsiteY130" fmla="*/ 730385 h 1016771"/>
                    <a:gd name="connsiteX131" fmla="*/ 353257 w 761692"/>
                    <a:gd name="connsiteY131" fmla="*/ 713432 h 1016771"/>
                    <a:gd name="connsiteX132" fmla="*/ 346476 w 761692"/>
                    <a:gd name="connsiteY132" fmla="*/ 701565 h 1016771"/>
                    <a:gd name="connsiteX133" fmla="*/ 332913 w 761692"/>
                    <a:gd name="connsiteY133" fmla="*/ 689697 h 1016771"/>
                    <a:gd name="connsiteX134" fmla="*/ 324436 w 761692"/>
                    <a:gd name="connsiteY134" fmla="*/ 681221 h 1016771"/>
                    <a:gd name="connsiteX135" fmla="*/ 314264 w 761692"/>
                    <a:gd name="connsiteY135" fmla="*/ 676135 h 1016771"/>
                    <a:gd name="connsiteX136" fmla="*/ 293920 w 761692"/>
                    <a:gd name="connsiteY136" fmla="*/ 669354 h 1016771"/>
                    <a:gd name="connsiteX137" fmla="*/ 282053 w 761692"/>
                    <a:gd name="connsiteY137" fmla="*/ 667658 h 1016771"/>
                    <a:gd name="connsiteX138" fmla="*/ 266795 w 761692"/>
                    <a:gd name="connsiteY138" fmla="*/ 672744 h 1016771"/>
                    <a:gd name="connsiteX139" fmla="*/ 265100 w 761692"/>
                    <a:gd name="connsiteY139" fmla="*/ 672744 h 1016771"/>
                    <a:gd name="connsiteX140" fmla="*/ 263404 w 761692"/>
                    <a:gd name="connsiteY140" fmla="*/ 671049 h 1016771"/>
                    <a:gd name="connsiteX141" fmla="*/ 260014 w 761692"/>
                    <a:gd name="connsiteY141" fmla="*/ 671049 h 1016771"/>
                    <a:gd name="connsiteX142" fmla="*/ 258318 w 761692"/>
                    <a:gd name="connsiteY142" fmla="*/ 671049 h 1016771"/>
                    <a:gd name="connsiteX143" fmla="*/ 253232 w 761692"/>
                    <a:gd name="connsiteY143" fmla="*/ 671049 h 1016771"/>
                    <a:gd name="connsiteX144" fmla="*/ 248146 w 761692"/>
                    <a:gd name="connsiteY144" fmla="*/ 672744 h 1016771"/>
                    <a:gd name="connsiteX145" fmla="*/ 248146 w 761692"/>
                    <a:gd name="connsiteY145" fmla="*/ 674440 h 1016771"/>
                    <a:gd name="connsiteX146" fmla="*/ 246451 w 761692"/>
                    <a:gd name="connsiteY146" fmla="*/ 674440 h 1016771"/>
                    <a:gd name="connsiteX147" fmla="*/ 236279 w 761692"/>
                    <a:gd name="connsiteY147" fmla="*/ 679526 h 1016771"/>
                    <a:gd name="connsiteX148" fmla="*/ 226107 w 761692"/>
                    <a:gd name="connsiteY148" fmla="*/ 684612 h 1016771"/>
                    <a:gd name="connsiteX149" fmla="*/ 217630 w 761692"/>
                    <a:gd name="connsiteY149" fmla="*/ 684612 h 1016771"/>
                    <a:gd name="connsiteX150" fmla="*/ 207458 w 761692"/>
                    <a:gd name="connsiteY150" fmla="*/ 693088 h 1016771"/>
                    <a:gd name="connsiteX151" fmla="*/ 198982 w 761692"/>
                    <a:gd name="connsiteY151" fmla="*/ 694783 h 1016771"/>
                    <a:gd name="connsiteX152" fmla="*/ 192200 w 761692"/>
                    <a:gd name="connsiteY152" fmla="*/ 699869 h 1016771"/>
                    <a:gd name="connsiteX153" fmla="*/ 178638 w 761692"/>
                    <a:gd name="connsiteY153" fmla="*/ 706651 h 1016771"/>
                    <a:gd name="connsiteX154" fmla="*/ 163380 w 761692"/>
                    <a:gd name="connsiteY154" fmla="*/ 710041 h 1016771"/>
                    <a:gd name="connsiteX155" fmla="*/ 141340 w 761692"/>
                    <a:gd name="connsiteY155" fmla="*/ 710041 h 1016771"/>
                    <a:gd name="connsiteX156" fmla="*/ 134559 w 761692"/>
                    <a:gd name="connsiteY156" fmla="*/ 716823 h 1016771"/>
                    <a:gd name="connsiteX157" fmla="*/ 127778 w 761692"/>
                    <a:gd name="connsiteY157" fmla="*/ 718518 h 1016771"/>
                    <a:gd name="connsiteX158" fmla="*/ 120996 w 761692"/>
                    <a:gd name="connsiteY158" fmla="*/ 725299 h 1016771"/>
                    <a:gd name="connsiteX159" fmla="*/ 111172 w 761692"/>
                    <a:gd name="connsiteY159" fmla="*/ 733720 h 1016771"/>
                    <a:gd name="connsiteX160" fmla="*/ 106283 w 761692"/>
                    <a:gd name="connsiteY160" fmla="*/ 729808 h 1016771"/>
                    <a:gd name="connsiteX161" fmla="*/ 92112 w 761692"/>
                    <a:gd name="connsiteY161" fmla="*/ 724494 h 1016771"/>
                    <a:gd name="connsiteX162" fmla="*/ 77941 w 761692"/>
                    <a:gd name="connsiteY162" fmla="*/ 726265 h 1016771"/>
                    <a:gd name="connsiteX163" fmla="*/ 70855 w 761692"/>
                    <a:gd name="connsiteY163" fmla="*/ 719180 h 1016771"/>
                    <a:gd name="connsiteX164" fmla="*/ 70855 w 761692"/>
                    <a:gd name="connsiteY164" fmla="*/ 699695 h 1016771"/>
                    <a:gd name="connsiteX165" fmla="*/ 81483 w 761692"/>
                    <a:gd name="connsiteY165" fmla="*/ 685524 h 1016771"/>
                    <a:gd name="connsiteX166" fmla="*/ 85026 w 761692"/>
                    <a:gd name="connsiteY166" fmla="*/ 673124 h 1016771"/>
                    <a:gd name="connsiteX167" fmla="*/ 86797 w 761692"/>
                    <a:gd name="connsiteY167" fmla="*/ 660724 h 1016771"/>
                    <a:gd name="connsiteX168" fmla="*/ 97426 w 761692"/>
                    <a:gd name="connsiteY168" fmla="*/ 650096 h 1016771"/>
                    <a:gd name="connsiteX169" fmla="*/ 102740 w 761692"/>
                    <a:gd name="connsiteY169" fmla="*/ 635925 h 1016771"/>
                    <a:gd name="connsiteX170" fmla="*/ 113368 w 761692"/>
                    <a:gd name="connsiteY170" fmla="*/ 625297 h 1016771"/>
                    <a:gd name="connsiteX171" fmla="*/ 115139 w 761692"/>
                    <a:gd name="connsiteY171" fmla="*/ 612897 h 1016771"/>
                    <a:gd name="connsiteX172" fmla="*/ 127539 w 761692"/>
                    <a:gd name="connsiteY172" fmla="*/ 609354 h 1016771"/>
                    <a:gd name="connsiteX173" fmla="*/ 136396 w 761692"/>
                    <a:gd name="connsiteY173" fmla="*/ 604040 h 1016771"/>
                    <a:gd name="connsiteX174" fmla="*/ 132853 w 761692"/>
                    <a:gd name="connsiteY174" fmla="*/ 593412 h 1016771"/>
                    <a:gd name="connsiteX175" fmla="*/ 134625 w 761692"/>
                    <a:gd name="connsiteY175" fmla="*/ 584555 h 1016771"/>
                    <a:gd name="connsiteX176" fmla="*/ 131082 w 761692"/>
                    <a:gd name="connsiteY176" fmla="*/ 575698 h 1016771"/>
                    <a:gd name="connsiteX177" fmla="*/ 120454 w 761692"/>
                    <a:gd name="connsiteY177" fmla="*/ 568613 h 1016771"/>
                    <a:gd name="connsiteX178" fmla="*/ 125768 w 761692"/>
                    <a:gd name="connsiteY178" fmla="*/ 552670 h 1016771"/>
                    <a:gd name="connsiteX179" fmla="*/ 118682 w 761692"/>
                    <a:gd name="connsiteY179" fmla="*/ 543813 h 1016771"/>
                    <a:gd name="connsiteX180" fmla="*/ 90340 w 761692"/>
                    <a:gd name="connsiteY180" fmla="*/ 543813 h 1016771"/>
                    <a:gd name="connsiteX181" fmla="*/ 86797 w 761692"/>
                    <a:gd name="connsiteY181" fmla="*/ 542042 h 1016771"/>
                    <a:gd name="connsiteX182" fmla="*/ 83255 w 761692"/>
                    <a:gd name="connsiteY182" fmla="*/ 542042 h 1016771"/>
                    <a:gd name="connsiteX183" fmla="*/ 81483 w 761692"/>
                    <a:gd name="connsiteY183" fmla="*/ 540271 h 1016771"/>
                    <a:gd name="connsiteX184" fmla="*/ 81483 w 761692"/>
                    <a:gd name="connsiteY184" fmla="*/ 536728 h 1016771"/>
                    <a:gd name="connsiteX185" fmla="*/ 79712 w 761692"/>
                    <a:gd name="connsiteY185" fmla="*/ 531414 h 1016771"/>
                    <a:gd name="connsiteX186" fmla="*/ 77941 w 761692"/>
                    <a:gd name="connsiteY186" fmla="*/ 529642 h 1016771"/>
                    <a:gd name="connsiteX187" fmla="*/ 70855 w 761692"/>
                    <a:gd name="connsiteY187" fmla="*/ 527871 h 1016771"/>
                    <a:gd name="connsiteX188" fmla="*/ 60227 w 761692"/>
                    <a:gd name="connsiteY188" fmla="*/ 536728 h 1016771"/>
                    <a:gd name="connsiteX189" fmla="*/ 47827 w 761692"/>
                    <a:gd name="connsiteY189" fmla="*/ 526100 h 1016771"/>
                    <a:gd name="connsiteX190" fmla="*/ 42513 w 761692"/>
                    <a:gd name="connsiteY190" fmla="*/ 515471 h 1016771"/>
                    <a:gd name="connsiteX191" fmla="*/ 33656 w 761692"/>
                    <a:gd name="connsiteY191" fmla="*/ 506614 h 1016771"/>
                    <a:gd name="connsiteX192" fmla="*/ 31885 w 761692"/>
                    <a:gd name="connsiteY192" fmla="*/ 490672 h 1016771"/>
                    <a:gd name="connsiteX193" fmla="*/ 26571 w 761692"/>
                    <a:gd name="connsiteY193" fmla="*/ 476501 h 1016771"/>
                    <a:gd name="connsiteX194" fmla="*/ 24799 w 761692"/>
                    <a:gd name="connsiteY194" fmla="*/ 471187 h 1016771"/>
                    <a:gd name="connsiteX195" fmla="*/ 12400 w 761692"/>
                    <a:gd name="connsiteY195" fmla="*/ 472958 h 1016771"/>
                    <a:gd name="connsiteX196" fmla="*/ 7086 w 761692"/>
                    <a:gd name="connsiteY196" fmla="*/ 464101 h 1016771"/>
                    <a:gd name="connsiteX197" fmla="*/ 8857 w 761692"/>
                    <a:gd name="connsiteY197" fmla="*/ 446388 h 1016771"/>
                    <a:gd name="connsiteX198" fmla="*/ 3543 w 761692"/>
                    <a:gd name="connsiteY198" fmla="*/ 435759 h 1016771"/>
                    <a:gd name="connsiteX199" fmla="*/ 5314 w 761692"/>
                    <a:gd name="connsiteY199" fmla="*/ 412731 h 1016771"/>
                    <a:gd name="connsiteX200" fmla="*/ 0 w 761692"/>
                    <a:gd name="connsiteY200" fmla="*/ 396789 h 1016771"/>
                    <a:gd name="connsiteX201" fmla="*/ 3543 w 761692"/>
                    <a:gd name="connsiteY201" fmla="*/ 384389 h 1016771"/>
                    <a:gd name="connsiteX202" fmla="*/ 14171 w 761692"/>
                    <a:gd name="connsiteY202" fmla="*/ 380846 h 1016771"/>
                    <a:gd name="connsiteX203" fmla="*/ 24799 w 761692"/>
                    <a:gd name="connsiteY203" fmla="*/ 364904 h 1016771"/>
                    <a:gd name="connsiteX204" fmla="*/ 30113 w 761692"/>
                    <a:gd name="connsiteY204" fmla="*/ 350733 h 1016771"/>
                    <a:gd name="connsiteX205" fmla="*/ 35428 w 761692"/>
                    <a:gd name="connsiteY205" fmla="*/ 341876 h 1016771"/>
                    <a:gd name="connsiteX206" fmla="*/ 42513 w 761692"/>
                    <a:gd name="connsiteY206" fmla="*/ 327705 h 1016771"/>
                    <a:gd name="connsiteX207" fmla="*/ 42513 w 761692"/>
                    <a:gd name="connsiteY207" fmla="*/ 315305 h 1016771"/>
                    <a:gd name="connsiteX208" fmla="*/ 56684 w 761692"/>
                    <a:gd name="connsiteY208" fmla="*/ 309991 h 1016771"/>
                    <a:gd name="connsiteX209" fmla="*/ 60227 w 761692"/>
                    <a:gd name="connsiteY209" fmla="*/ 309991 h 1016771"/>
                    <a:gd name="connsiteX210" fmla="*/ 61998 w 761692"/>
                    <a:gd name="connsiteY210" fmla="*/ 311763 h 1016771"/>
                    <a:gd name="connsiteX211" fmla="*/ 67312 w 761692"/>
                    <a:gd name="connsiteY211" fmla="*/ 311763 h 1016771"/>
                    <a:gd name="connsiteX212" fmla="*/ 67312 w 761692"/>
                    <a:gd name="connsiteY212" fmla="*/ 309991 h 1016771"/>
                    <a:gd name="connsiteX213" fmla="*/ 67312 w 761692"/>
                    <a:gd name="connsiteY213" fmla="*/ 308220 h 1016771"/>
                    <a:gd name="connsiteX214" fmla="*/ 69084 w 761692"/>
                    <a:gd name="connsiteY214" fmla="*/ 302906 h 1016771"/>
                    <a:gd name="connsiteX215" fmla="*/ 70855 w 761692"/>
                    <a:gd name="connsiteY215" fmla="*/ 301134 h 1016771"/>
                    <a:gd name="connsiteX216" fmla="*/ 70855 w 761692"/>
                    <a:gd name="connsiteY216" fmla="*/ 299363 h 1016771"/>
                    <a:gd name="connsiteX217" fmla="*/ 77941 w 761692"/>
                    <a:gd name="connsiteY217" fmla="*/ 295820 h 1016771"/>
                    <a:gd name="connsiteX218" fmla="*/ 85026 w 761692"/>
                    <a:gd name="connsiteY218" fmla="*/ 295820 h 1016771"/>
                    <a:gd name="connsiteX219" fmla="*/ 93883 w 761692"/>
                    <a:gd name="connsiteY219" fmla="*/ 297592 h 1016771"/>
                    <a:gd name="connsiteX220" fmla="*/ 100968 w 761692"/>
                    <a:gd name="connsiteY220" fmla="*/ 288735 h 1016771"/>
                    <a:gd name="connsiteX221" fmla="*/ 97426 w 761692"/>
                    <a:gd name="connsiteY221" fmla="*/ 279878 h 1016771"/>
                    <a:gd name="connsiteX222" fmla="*/ 85026 w 761692"/>
                    <a:gd name="connsiteY222" fmla="*/ 276335 h 1016771"/>
                    <a:gd name="connsiteX223" fmla="*/ 76169 w 761692"/>
                    <a:gd name="connsiteY223" fmla="*/ 271021 h 1016771"/>
                    <a:gd name="connsiteX224" fmla="*/ 76169 w 761692"/>
                    <a:gd name="connsiteY224" fmla="*/ 262164 h 1016771"/>
                    <a:gd name="connsiteX225" fmla="*/ 81483 w 761692"/>
                    <a:gd name="connsiteY225" fmla="*/ 251536 h 1016771"/>
                    <a:gd name="connsiteX226" fmla="*/ 86797 w 761692"/>
                    <a:gd name="connsiteY226" fmla="*/ 255079 h 1016771"/>
                    <a:gd name="connsiteX227" fmla="*/ 104511 w 761692"/>
                    <a:gd name="connsiteY227" fmla="*/ 262164 h 1016771"/>
                    <a:gd name="connsiteX228" fmla="*/ 116911 w 761692"/>
                    <a:gd name="connsiteY228" fmla="*/ 265707 h 1016771"/>
                    <a:gd name="connsiteX229" fmla="*/ 132853 w 761692"/>
                    <a:gd name="connsiteY229" fmla="*/ 269250 h 1016771"/>
                    <a:gd name="connsiteX230" fmla="*/ 138167 w 761692"/>
                    <a:gd name="connsiteY230" fmla="*/ 265707 h 1016771"/>
                    <a:gd name="connsiteX231" fmla="*/ 150567 w 761692"/>
                    <a:gd name="connsiteY231" fmla="*/ 255079 h 1016771"/>
                    <a:gd name="connsiteX232" fmla="*/ 166509 w 761692"/>
                    <a:gd name="connsiteY232" fmla="*/ 255079 h 1016771"/>
                    <a:gd name="connsiteX233" fmla="*/ 166509 w 761692"/>
                    <a:gd name="connsiteY233" fmla="*/ 265707 h 1016771"/>
                    <a:gd name="connsiteX234" fmla="*/ 177138 w 761692"/>
                    <a:gd name="connsiteY234" fmla="*/ 272792 h 1016771"/>
                    <a:gd name="connsiteX235" fmla="*/ 194851 w 761692"/>
                    <a:gd name="connsiteY235" fmla="*/ 276335 h 1016771"/>
                    <a:gd name="connsiteX236" fmla="*/ 209022 w 761692"/>
                    <a:gd name="connsiteY236" fmla="*/ 279878 h 1016771"/>
                    <a:gd name="connsiteX237" fmla="*/ 221422 w 761692"/>
                    <a:gd name="connsiteY237" fmla="*/ 276335 h 1016771"/>
                    <a:gd name="connsiteX238" fmla="*/ 226736 w 761692"/>
                    <a:gd name="connsiteY238" fmla="*/ 269250 h 1016771"/>
                    <a:gd name="connsiteX239" fmla="*/ 226736 w 761692"/>
                    <a:gd name="connsiteY239" fmla="*/ 251536 h 1016771"/>
                    <a:gd name="connsiteX240" fmla="*/ 224965 w 761692"/>
                    <a:gd name="connsiteY240" fmla="*/ 239136 h 1016771"/>
                    <a:gd name="connsiteX241" fmla="*/ 214337 w 761692"/>
                    <a:gd name="connsiteY241" fmla="*/ 230279 h 1016771"/>
                    <a:gd name="connsiteX242" fmla="*/ 210794 w 761692"/>
                    <a:gd name="connsiteY242" fmla="*/ 217880 h 1016771"/>
                    <a:gd name="connsiteX243" fmla="*/ 221422 w 761692"/>
                    <a:gd name="connsiteY243" fmla="*/ 207251 h 1016771"/>
                    <a:gd name="connsiteX244" fmla="*/ 235593 w 761692"/>
                    <a:gd name="connsiteY244" fmla="*/ 214337 h 1016771"/>
                    <a:gd name="connsiteX245" fmla="*/ 246221 w 761692"/>
                    <a:gd name="connsiteY245" fmla="*/ 219651 h 1016771"/>
                    <a:gd name="connsiteX246" fmla="*/ 253307 w 761692"/>
                    <a:gd name="connsiteY246" fmla="*/ 221422 h 1016771"/>
                    <a:gd name="connsiteX247" fmla="*/ 262164 w 761692"/>
                    <a:gd name="connsiteY247" fmla="*/ 210794 h 1016771"/>
                    <a:gd name="connsiteX248" fmla="*/ 263935 w 761692"/>
                    <a:gd name="connsiteY248" fmla="*/ 201937 h 1016771"/>
                    <a:gd name="connsiteX249" fmla="*/ 274563 w 761692"/>
                    <a:gd name="connsiteY249" fmla="*/ 189538 h 1016771"/>
                    <a:gd name="connsiteX250" fmla="*/ 283420 w 761692"/>
                    <a:gd name="connsiteY250" fmla="*/ 178909 h 1016771"/>
                    <a:gd name="connsiteX251" fmla="*/ 286963 w 761692"/>
                    <a:gd name="connsiteY251" fmla="*/ 173595 h 1016771"/>
                    <a:gd name="connsiteX252" fmla="*/ 311762 w 761692"/>
                    <a:gd name="connsiteY252" fmla="*/ 168281 h 1016771"/>
                    <a:gd name="connsiteX253" fmla="*/ 325933 w 761692"/>
                    <a:gd name="connsiteY253" fmla="*/ 164738 h 1016771"/>
                    <a:gd name="connsiteX254" fmla="*/ 336562 w 761692"/>
                    <a:gd name="connsiteY254" fmla="*/ 159424 h 1016771"/>
                    <a:gd name="connsiteX255" fmla="*/ 348961 w 761692"/>
                    <a:gd name="connsiteY255" fmla="*/ 145253 h 1016771"/>
                    <a:gd name="connsiteX256" fmla="*/ 359589 w 761692"/>
                    <a:gd name="connsiteY256" fmla="*/ 143482 h 1016771"/>
                    <a:gd name="connsiteX257" fmla="*/ 371989 w 761692"/>
                    <a:gd name="connsiteY257" fmla="*/ 143482 h 1016771"/>
                    <a:gd name="connsiteX258" fmla="*/ 391474 w 761692"/>
                    <a:gd name="connsiteY258" fmla="*/ 143482 h 1016771"/>
                    <a:gd name="connsiteX259" fmla="*/ 396788 w 761692"/>
                    <a:gd name="connsiteY259" fmla="*/ 141710 h 1016771"/>
                    <a:gd name="connsiteX260" fmla="*/ 403874 w 761692"/>
                    <a:gd name="connsiteY260" fmla="*/ 134625 h 1016771"/>
                    <a:gd name="connsiteX261" fmla="*/ 409188 w 761692"/>
                    <a:gd name="connsiteY261" fmla="*/ 129311 h 1016771"/>
                    <a:gd name="connsiteX262" fmla="*/ 409188 w 761692"/>
                    <a:gd name="connsiteY262" fmla="*/ 123997 h 1016771"/>
                    <a:gd name="connsiteX263" fmla="*/ 414502 w 761692"/>
                    <a:gd name="connsiteY263" fmla="*/ 115140 h 1016771"/>
                    <a:gd name="connsiteX264" fmla="*/ 428673 w 761692"/>
                    <a:gd name="connsiteY264" fmla="*/ 115140 h 1016771"/>
                    <a:gd name="connsiteX265" fmla="*/ 432216 w 761692"/>
                    <a:gd name="connsiteY265" fmla="*/ 109826 h 1016771"/>
                    <a:gd name="connsiteX266" fmla="*/ 437530 w 761692"/>
                    <a:gd name="connsiteY266" fmla="*/ 100969 h 1016771"/>
                    <a:gd name="connsiteX267" fmla="*/ 448158 w 761692"/>
                    <a:gd name="connsiteY267" fmla="*/ 99197 h 1016771"/>
                    <a:gd name="connsiteX268" fmla="*/ 460558 w 761692"/>
                    <a:gd name="connsiteY268" fmla="*/ 97426 h 1016771"/>
                    <a:gd name="connsiteX269" fmla="*/ 472958 w 761692"/>
                    <a:gd name="connsiteY269" fmla="*/ 93883 h 1016771"/>
                    <a:gd name="connsiteX270" fmla="*/ 492443 w 761692"/>
                    <a:gd name="connsiteY270" fmla="*/ 93883 h 1016771"/>
                    <a:gd name="connsiteX271" fmla="*/ 501300 w 761692"/>
                    <a:gd name="connsiteY271" fmla="*/ 83255 h 1016771"/>
                    <a:gd name="connsiteX272" fmla="*/ 517242 w 761692"/>
                    <a:gd name="connsiteY272" fmla="*/ 81484 h 1016771"/>
                    <a:gd name="connsiteX273" fmla="*/ 522556 w 761692"/>
                    <a:gd name="connsiteY273" fmla="*/ 81484 h 1016771"/>
                    <a:gd name="connsiteX274" fmla="*/ 522556 w 761692"/>
                    <a:gd name="connsiteY274" fmla="*/ 60227 h 1016771"/>
                    <a:gd name="connsiteX275" fmla="*/ 526099 w 761692"/>
                    <a:gd name="connsiteY275" fmla="*/ 54913 h 1016771"/>
                    <a:gd name="connsiteX276" fmla="*/ 529642 w 761692"/>
                    <a:gd name="connsiteY276" fmla="*/ 46056 h 1016771"/>
                    <a:gd name="connsiteX277" fmla="*/ 538499 w 761692"/>
                    <a:gd name="connsiteY277" fmla="*/ 40742 h 1016771"/>
                    <a:gd name="connsiteX278" fmla="*/ 540270 w 761692"/>
                    <a:gd name="connsiteY278" fmla="*/ 30114 h 1016771"/>
                    <a:gd name="connsiteX279" fmla="*/ 536727 w 761692"/>
                    <a:gd name="connsiteY279" fmla="*/ 19485 h 1016771"/>
                    <a:gd name="connsiteX280" fmla="*/ 543813 w 761692"/>
                    <a:gd name="connsiteY280" fmla="*/ 5314 h 1016771"/>
                    <a:gd name="connsiteX281" fmla="*/ 554441 w 761692"/>
                    <a:gd name="connsiteY281" fmla="*/ 0 h 1016771"/>
                    <a:gd name="connsiteX0" fmla="*/ 116476 w 761692"/>
                    <a:gd name="connsiteY0" fmla="*/ 741349 h 1016771"/>
                    <a:gd name="connsiteX1" fmla="*/ 117606 w 761692"/>
                    <a:gd name="connsiteY1" fmla="*/ 742253 h 1016771"/>
                    <a:gd name="connsiteX2" fmla="*/ 122692 w 761692"/>
                    <a:gd name="connsiteY2" fmla="*/ 759206 h 1016771"/>
                    <a:gd name="connsiteX3" fmla="*/ 126082 w 761692"/>
                    <a:gd name="connsiteY3" fmla="*/ 771073 h 1016771"/>
                    <a:gd name="connsiteX4" fmla="*/ 120454 w 761692"/>
                    <a:gd name="connsiteY4" fmla="*/ 754607 h 1016771"/>
                    <a:gd name="connsiteX5" fmla="*/ 116476 w 761692"/>
                    <a:gd name="connsiteY5" fmla="*/ 741349 h 1016771"/>
                    <a:gd name="connsiteX6" fmla="*/ 554441 w 761692"/>
                    <a:gd name="connsiteY6" fmla="*/ 0 h 1016771"/>
                    <a:gd name="connsiteX7" fmla="*/ 570383 w 761692"/>
                    <a:gd name="connsiteY7" fmla="*/ 3543 h 1016771"/>
                    <a:gd name="connsiteX8" fmla="*/ 577469 w 761692"/>
                    <a:gd name="connsiteY8" fmla="*/ 8857 h 1016771"/>
                    <a:gd name="connsiteX9" fmla="*/ 582783 w 761692"/>
                    <a:gd name="connsiteY9" fmla="*/ 17714 h 1016771"/>
                    <a:gd name="connsiteX10" fmla="*/ 582783 w 761692"/>
                    <a:gd name="connsiteY10" fmla="*/ 24799 h 1016771"/>
                    <a:gd name="connsiteX11" fmla="*/ 588097 w 761692"/>
                    <a:gd name="connsiteY11" fmla="*/ 33656 h 1016771"/>
                    <a:gd name="connsiteX12" fmla="*/ 598725 w 761692"/>
                    <a:gd name="connsiteY12" fmla="*/ 31885 h 1016771"/>
                    <a:gd name="connsiteX13" fmla="*/ 612896 w 761692"/>
                    <a:gd name="connsiteY13" fmla="*/ 37199 h 1016771"/>
                    <a:gd name="connsiteX14" fmla="*/ 618211 w 761692"/>
                    <a:gd name="connsiteY14" fmla="*/ 46056 h 1016771"/>
                    <a:gd name="connsiteX15" fmla="*/ 619982 w 761692"/>
                    <a:gd name="connsiteY15" fmla="*/ 54913 h 1016771"/>
                    <a:gd name="connsiteX16" fmla="*/ 618211 w 761692"/>
                    <a:gd name="connsiteY16" fmla="*/ 74398 h 1016771"/>
                    <a:gd name="connsiteX17" fmla="*/ 616439 w 761692"/>
                    <a:gd name="connsiteY17" fmla="*/ 85026 h 1016771"/>
                    <a:gd name="connsiteX18" fmla="*/ 621753 w 761692"/>
                    <a:gd name="connsiteY18" fmla="*/ 97426 h 1016771"/>
                    <a:gd name="connsiteX19" fmla="*/ 637696 w 761692"/>
                    <a:gd name="connsiteY19" fmla="*/ 113368 h 1016771"/>
                    <a:gd name="connsiteX20" fmla="*/ 644781 w 761692"/>
                    <a:gd name="connsiteY20" fmla="*/ 120454 h 1016771"/>
                    <a:gd name="connsiteX21" fmla="*/ 650095 w 761692"/>
                    <a:gd name="connsiteY21" fmla="*/ 136396 h 1016771"/>
                    <a:gd name="connsiteX22" fmla="*/ 655409 w 761692"/>
                    <a:gd name="connsiteY22" fmla="*/ 155881 h 1016771"/>
                    <a:gd name="connsiteX23" fmla="*/ 662495 w 761692"/>
                    <a:gd name="connsiteY23" fmla="*/ 171824 h 1016771"/>
                    <a:gd name="connsiteX24" fmla="*/ 660724 w 761692"/>
                    <a:gd name="connsiteY24" fmla="*/ 185995 h 1016771"/>
                    <a:gd name="connsiteX25" fmla="*/ 635924 w 761692"/>
                    <a:gd name="connsiteY25" fmla="*/ 194852 h 1016771"/>
                    <a:gd name="connsiteX26" fmla="*/ 619982 w 761692"/>
                    <a:gd name="connsiteY26" fmla="*/ 207251 h 1016771"/>
                    <a:gd name="connsiteX27" fmla="*/ 614668 w 761692"/>
                    <a:gd name="connsiteY27" fmla="*/ 223194 h 1016771"/>
                    <a:gd name="connsiteX28" fmla="*/ 618211 w 761692"/>
                    <a:gd name="connsiteY28" fmla="*/ 242679 h 1016771"/>
                    <a:gd name="connsiteX29" fmla="*/ 612896 w 761692"/>
                    <a:gd name="connsiteY29" fmla="*/ 256850 h 1016771"/>
                    <a:gd name="connsiteX30" fmla="*/ 625296 w 761692"/>
                    <a:gd name="connsiteY30" fmla="*/ 267478 h 1016771"/>
                    <a:gd name="connsiteX31" fmla="*/ 641238 w 761692"/>
                    <a:gd name="connsiteY31" fmla="*/ 269250 h 1016771"/>
                    <a:gd name="connsiteX32" fmla="*/ 658952 w 761692"/>
                    <a:gd name="connsiteY32" fmla="*/ 286963 h 1016771"/>
                    <a:gd name="connsiteX33" fmla="*/ 653638 w 761692"/>
                    <a:gd name="connsiteY33" fmla="*/ 309991 h 1016771"/>
                    <a:gd name="connsiteX34" fmla="*/ 653638 w 761692"/>
                    <a:gd name="connsiteY34" fmla="*/ 329476 h 1016771"/>
                    <a:gd name="connsiteX35" fmla="*/ 643010 w 761692"/>
                    <a:gd name="connsiteY35" fmla="*/ 338333 h 1016771"/>
                    <a:gd name="connsiteX36" fmla="*/ 632382 w 761692"/>
                    <a:gd name="connsiteY36" fmla="*/ 338333 h 1016771"/>
                    <a:gd name="connsiteX37" fmla="*/ 618211 w 761692"/>
                    <a:gd name="connsiteY37" fmla="*/ 357819 h 1016771"/>
                    <a:gd name="connsiteX38" fmla="*/ 609354 w 761692"/>
                    <a:gd name="connsiteY38" fmla="*/ 361361 h 1016771"/>
                    <a:gd name="connsiteX39" fmla="*/ 596954 w 761692"/>
                    <a:gd name="connsiteY39" fmla="*/ 363133 h 1016771"/>
                    <a:gd name="connsiteX40" fmla="*/ 581012 w 761692"/>
                    <a:gd name="connsiteY40" fmla="*/ 379075 h 1016771"/>
                    <a:gd name="connsiteX41" fmla="*/ 589868 w 761692"/>
                    <a:gd name="connsiteY41" fmla="*/ 393246 h 1016771"/>
                    <a:gd name="connsiteX42" fmla="*/ 586326 w 761692"/>
                    <a:gd name="connsiteY42" fmla="*/ 409189 h 1016771"/>
                    <a:gd name="connsiteX43" fmla="*/ 570383 w 761692"/>
                    <a:gd name="connsiteY43" fmla="*/ 398560 h 1016771"/>
                    <a:gd name="connsiteX44" fmla="*/ 550898 w 761692"/>
                    <a:gd name="connsiteY44" fmla="*/ 405646 h 1016771"/>
                    <a:gd name="connsiteX45" fmla="*/ 531413 w 761692"/>
                    <a:gd name="connsiteY45" fmla="*/ 425131 h 1016771"/>
                    <a:gd name="connsiteX46" fmla="*/ 543813 w 761692"/>
                    <a:gd name="connsiteY46" fmla="*/ 444616 h 1016771"/>
                    <a:gd name="connsiteX47" fmla="*/ 557984 w 761692"/>
                    <a:gd name="connsiteY47" fmla="*/ 462330 h 1016771"/>
                    <a:gd name="connsiteX48" fmla="*/ 570383 w 761692"/>
                    <a:gd name="connsiteY48" fmla="*/ 478272 h 1016771"/>
                    <a:gd name="connsiteX49" fmla="*/ 579240 w 761692"/>
                    <a:gd name="connsiteY49" fmla="*/ 485358 h 1016771"/>
                    <a:gd name="connsiteX50" fmla="*/ 602268 w 761692"/>
                    <a:gd name="connsiteY50" fmla="*/ 483586 h 1016771"/>
                    <a:gd name="connsiteX51" fmla="*/ 623525 w 761692"/>
                    <a:gd name="connsiteY51" fmla="*/ 474730 h 1016771"/>
                    <a:gd name="connsiteX52" fmla="*/ 639467 w 761692"/>
                    <a:gd name="connsiteY52" fmla="*/ 464101 h 1016771"/>
                    <a:gd name="connsiteX53" fmla="*/ 662495 w 761692"/>
                    <a:gd name="connsiteY53" fmla="*/ 464101 h 1016771"/>
                    <a:gd name="connsiteX54" fmla="*/ 673123 w 761692"/>
                    <a:gd name="connsiteY54" fmla="*/ 464101 h 1016771"/>
                    <a:gd name="connsiteX55" fmla="*/ 681980 w 761692"/>
                    <a:gd name="connsiteY55" fmla="*/ 467644 h 1016771"/>
                    <a:gd name="connsiteX56" fmla="*/ 703237 w 761692"/>
                    <a:gd name="connsiteY56" fmla="*/ 471187 h 1016771"/>
                    <a:gd name="connsiteX57" fmla="*/ 708551 w 761692"/>
                    <a:gd name="connsiteY57" fmla="*/ 474730 h 1016771"/>
                    <a:gd name="connsiteX58" fmla="*/ 722722 w 761692"/>
                    <a:gd name="connsiteY58" fmla="*/ 501300 h 1016771"/>
                    <a:gd name="connsiteX59" fmla="*/ 724493 w 761692"/>
                    <a:gd name="connsiteY59" fmla="*/ 522557 h 1016771"/>
                    <a:gd name="connsiteX60" fmla="*/ 722722 w 761692"/>
                    <a:gd name="connsiteY60" fmla="*/ 540271 h 1016771"/>
                    <a:gd name="connsiteX61" fmla="*/ 735121 w 761692"/>
                    <a:gd name="connsiteY61" fmla="*/ 552670 h 1016771"/>
                    <a:gd name="connsiteX62" fmla="*/ 735121 w 761692"/>
                    <a:gd name="connsiteY62" fmla="*/ 570384 h 1016771"/>
                    <a:gd name="connsiteX63" fmla="*/ 751064 w 761692"/>
                    <a:gd name="connsiteY63" fmla="*/ 581012 h 1016771"/>
                    <a:gd name="connsiteX64" fmla="*/ 761692 w 761692"/>
                    <a:gd name="connsiteY64" fmla="*/ 604040 h 1016771"/>
                    <a:gd name="connsiteX65" fmla="*/ 747521 w 761692"/>
                    <a:gd name="connsiteY65" fmla="*/ 616440 h 1016771"/>
                    <a:gd name="connsiteX66" fmla="*/ 728036 w 761692"/>
                    <a:gd name="connsiteY66" fmla="*/ 627068 h 1016771"/>
                    <a:gd name="connsiteX67" fmla="*/ 726264 w 761692"/>
                    <a:gd name="connsiteY67" fmla="*/ 650096 h 1016771"/>
                    <a:gd name="connsiteX68" fmla="*/ 728036 w 761692"/>
                    <a:gd name="connsiteY68" fmla="*/ 673124 h 1016771"/>
                    <a:gd name="connsiteX69" fmla="*/ 742207 w 761692"/>
                    <a:gd name="connsiteY69" fmla="*/ 689066 h 1016771"/>
                    <a:gd name="connsiteX70" fmla="*/ 742207 w 761692"/>
                    <a:gd name="connsiteY70" fmla="*/ 712094 h 1016771"/>
                    <a:gd name="connsiteX71" fmla="*/ 740435 w 761692"/>
                    <a:gd name="connsiteY71" fmla="*/ 735122 h 1016771"/>
                    <a:gd name="connsiteX72" fmla="*/ 742207 w 761692"/>
                    <a:gd name="connsiteY72" fmla="*/ 751065 h 1016771"/>
                    <a:gd name="connsiteX73" fmla="*/ 747521 w 761692"/>
                    <a:gd name="connsiteY73" fmla="*/ 768778 h 1016771"/>
                    <a:gd name="connsiteX74" fmla="*/ 759921 w 761692"/>
                    <a:gd name="connsiteY74" fmla="*/ 777635 h 1016771"/>
                    <a:gd name="connsiteX75" fmla="*/ 758149 w 761692"/>
                    <a:gd name="connsiteY75" fmla="*/ 802434 h 1016771"/>
                    <a:gd name="connsiteX76" fmla="*/ 752835 w 761692"/>
                    <a:gd name="connsiteY76" fmla="*/ 814834 h 1016771"/>
                    <a:gd name="connsiteX77" fmla="*/ 743978 w 761692"/>
                    <a:gd name="connsiteY77" fmla="*/ 827234 h 1016771"/>
                    <a:gd name="connsiteX78" fmla="*/ 743978 w 761692"/>
                    <a:gd name="connsiteY78" fmla="*/ 837862 h 1016771"/>
                    <a:gd name="connsiteX79" fmla="*/ 747521 w 761692"/>
                    <a:gd name="connsiteY79" fmla="*/ 853804 h 1016771"/>
                    <a:gd name="connsiteX80" fmla="*/ 733350 w 761692"/>
                    <a:gd name="connsiteY80" fmla="*/ 867975 h 1016771"/>
                    <a:gd name="connsiteX81" fmla="*/ 724493 w 761692"/>
                    <a:gd name="connsiteY81" fmla="*/ 880375 h 1016771"/>
                    <a:gd name="connsiteX82" fmla="*/ 722722 w 761692"/>
                    <a:gd name="connsiteY82" fmla="*/ 899860 h 1016771"/>
                    <a:gd name="connsiteX83" fmla="*/ 722722 w 761692"/>
                    <a:gd name="connsiteY83" fmla="*/ 919345 h 1016771"/>
                    <a:gd name="connsiteX84" fmla="*/ 715636 w 761692"/>
                    <a:gd name="connsiteY84" fmla="*/ 940602 h 1016771"/>
                    <a:gd name="connsiteX85" fmla="*/ 708551 w 761692"/>
                    <a:gd name="connsiteY85" fmla="*/ 954773 h 1016771"/>
                    <a:gd name="connsiteX86" fmla="*/ 699694 w 761692"/>
                    <a:gd name="connsiteY86" fmla="*/ 965401 h 1016771"/>
                    <a:gd name="connsiteX87" fmla="*/ 692608 w 761692"/>
                    <a:gd name="connsiteY87" fmla="*/ 984886 h 1016771"/>
                    <a:gd name="connsiteX88" fmla="*/ 683751 w 761692"/>
                    <a:gd name="connsiteY88" fmla="*/ 997286 h 1016771"/>
                    <a:gd name="connsiteX89" fmla="*/ 673123 w 761692"/>
                    <a:gd name="connsiteY89" fmla="*/ 1002600 h 1016771"/>
                    <a:gd name="connsiteX90" fmla="*/ 662495 w 761692"/>
                    <a:gd name="connsiteY90" fmla="*/ 1013228 h 1016771"/>
                    <a:gd name="connsiteX91" fmla="*/ 644781 w 761692"/>
                    <a:gd name="connsiteY91" fmla="*/ 1016771 h 1016771"/>
                    <a:gd name="connsiteX92" fmla="*/ 635924 w 761692"/>
                    <a:gd name="connsiteY92" fmla="*/ 1004372 h 1016771"/>
                    <a:gd name="connsiteX93" fmla="*/ 623525 w 761692"/>
                    <a:gd name="connsiteY93" fmla="*/ 997286 h 1016771"/>
                    <a:gd name="connsiteX94" fmla="*/ 614668 w 761692"/>
                    <a:gd name="connsiteY94" fmla="*/ 986658 h 1016771"/>
                    <a:gd name="connsiteX95" fmla="*/ 593411 w 761692"/>
                    <a:gd name="connsiteY95" fmla="*/ 970715 h 1016771"/>
                    <a:gd name="connsiteX96" fmla="*/ 582783 w 761692"/>
                    <a:gd name="connsiteY96" fmla="*/ 965401 h 1016771"/>
                    <a:gd name="connsiteX97" fmla="*/ 531413 w 761692"/>
                    <a:gd name="connsiteY97" fmla="*/ 965401 h 1016771"/>
                    <a:gd name="connsiteX98" fmla="*/ 511928 w 761692"/>
                    <a:gd name="connsiteY98" fmla="*/ 965401 h 1016771"/>
                    <a:gd name="connsiteX99" fmla="*/ 492443 w 761692"/>
                    <a:gd name="connsiteY99" fmla="*/ 963630 h 1016771"/>
                    <a:gd name="connsiteX100" fmla="*/ 483586 w 761692"/>
                    <a:gd name="connsiteY100" fmla="*/ 958316 h 1016771"/>
                    <a:gd name="connsiteX101" fmla="*/ 469415 w 761692"/>
                    <a:gd name="connsiteY101" fmla="*/ 954773 h 1016771"/>
                    <a:gd name="connsiteX102" fmla="*/ 460558 w 761692"/>
                    <a:gd name="connsiteY102" fmla="*/ 942373 h 1016771"/>
                    <a:gd name="connsiteX103" fmla="*/ 446387 w 761692"/>
                    <a:gd name="connsiteY103" fmla="*/ 935288 h 1016771"/>
                    <a:gd name="connsiteX104" fmla="*/ 428673 w 761692"/>
                    <a:gd name="connsiteY104" fmla="*/ 928202 h 1016771"/>
                    <a:gd name="connsiteX105" fmla="*/ 418045 w 761692"/>
                    <a:gd name="connsiteY105" fmla="*/ 917574 h 1016771"/>
                    <a:gd name="connsiteX106" fmla="*/ 421588 w 761692"/>
                    <a:gd name="connsiteY106" fmla="*/ 903403 h 1016771"/>
                    <a:gd name="connsiteX107" fmla="*/ 418045 w 761692"/>
                    <a:gd name="connsiteY107" fmla="*/ 898089 h 1016771"/>
                    <a:gd name="connsiteX108" fmla="*/ 396788 w 761692"/>
                    <a:gd name="connsiteY108" fmla="*/ 898089 h 1016771"/>
                    <a:gd name="connsiteX109" fmla="*/ 382617 w 761692"/>
                    <a:gd name="connsiteY109" fmla="*/ 896318 h 1016771"/>
                    <a:gd name="connsiteX110" fmla="*/ 380846 w 761692"/>
                    <a:gd name="connsiteY110" fmla="*/ 906946 h 1016771"/>
                    <a:gd name="connsiteX111" fmla="*/ 373601 w 761692"/>
                    <a:gd name="connsiteY111" fmla="*/ 894832 h 1016771"/>
                    <a:gd name="connsiteX112" fmla="*/ 387164 w 761692"/>
                    <a:gd name="connsiteY112" fmla="*/ 896527 h 1016771"/>
                    <a:gd name="connsiteX113" fmla="*/ 383773 w 761692"/>
                    <a:gd name="connsiteY113" fmla="*/ 886355 h 1016771"/>
                    <a:gd name="connsiteX114" fmla="*/ 387164 w 761692"/>
                    <a:gd name="connsiteY114" fmla="*/ 876183 h 1016771"/>
                    <a:gd name="connsiteX115" fmla="*/ 388859 w 761692"/>
                    <a:gd name="connsiteY115" fmla="*/ 867707 h 1016771"/>
                    <a:gd name="connsiteX116" fmla="*/ 380382 w 761692"/>
                    <a:gd name="connsiteY116" fmla="*/ 859230 h 1016771"/>
                    <a:gd name="connsiteX117" fmla="*/ 373601 w 761692"/>
                    <a:gd name="connsiteY117" fmla="*/ 849058 h 1016771"/>
                    <a:gd name="connsiteX118" fmla="*/ 380382 w 761692"/>
                    <a:gd name="connsiteY118" fmla="*/ 838886 h 1016771"/>
                    <a:gd name="connsiteX119" fmla="*/ 383773 w 761692"/>
                    <a:gd name="connsiteY119" fmla="*/ 833800 h 1016771"/>
                    <a:gd name="connsiteX120" fmla="*/ 388859 w 761692"/>
                    <a:gd name="connsiteY120" fmla="*/ 825324 h 1016771"/>
                    <a:gd name="connsiteX121" fmla="*/ 387164 w 761692"/>
                    <a:gd name="connsiteY121" fmla="*/ 810066 h 1016771"/>
                    <a:gd name="connsiteX122" fmla="*/ 387164 w 761692"/>
                    <a:gd name="connsiteY122" fmla="*/ 796503 h 1016771"/>
                    <a:gd name="connsiteX123" fmla="*/ 378687 w 761692"/>
                    <a:gd name="connsiteY123" fmla="*/ 789722 h 1016771"/>
                    <a:gd name="connsiteX124" fmla="*/ 366820 w 761692"/>
                    <a:gd name="connsiteY124" fmla="*/ 782940 h 1016771"/>
                    <a:gd name="connsiteX125" fmla="*/ 356648 w 761692"/>
                    <a:gd name="connsiteY125" fmla="*/ 781245 h 1016771"/>
                    <a:gd name="connsiteX126" fmla="*/ 349866 w 761692"/>
                    <a:gd name="connsiteY126" fmla="*/ 771073 h 1016771"/>
                    <a:gd name="connsiteX127" fmla="*/ 349866 w 761692"/>
                    <a:gd name="connsiteY127" fmla="*/ 752425 h 1016771"/>
                    <a:gd name="connsiteX128" fmla="*/ 353257 w 761692"/>
                    <a:gd name="connsiteY128" fmla="*/ 743948 h 1016771"/>
                    <a:gd name="connsiteX129" fmla="*/ 354952 w 761692"/>
                    <a:gd name="connsiteY129" fmla="*/ 730385 h 1016771"/>
                    <a:gd name="connsiteX130" fmla="*/ 353257 w 761692"/>
                    <a:gd name="connsiteY130" fmla="*/ 713432 h 1016771"/>
                    <a:gd name="connsiteX131" fmla="*/ 346476 w 761692"/>
                    <a:gd name="connsiteY131" fmla="*/ 701565 h 1016771"/>
                    <a:gd name="connsiteX132" fmla="*/ 332913 w 761692"/>
                    <a:gd name="connsiteY132" fmla="*/ 689697 h 1016771"/>
                    <a:gd name="connsiteX133" fmla="*/ 324436 w 761692"/>
                    <a:gd name="connsiteY133" fmla="*/ 681221 h 1016771"/>
                    <a:gd name="connsiteX134" fmla="*/ 314264 w 761692"/>
                    <a:gd name="connsiteY134" fmla="*/ 676135 h 1016771"/>
                    <a:gd name="connsiteX135" fmla="*/ 293920 w 761692"/>
                    <a:gd name="connsiteY135" fmla="*/ 669354 h 1016771"/>
                    <a:gd name="connsiteX136" fmla="*/ 282053 w 761692"/>
                    <a:gd name="connsiteY136" fmla="*/ 667658 h 1016771"/>
                    <a:gd name="connsiteX137" fmla="*/ 266795 w 761692"/>
                    <a:gd name="connsiteY137" fmla="*/ 672744 h 1016771"/>
                    <a:gd name="connsiteX138" fmla="*/ 265100 w 761692"/>
                    <a:gd name="connsiteY138" fmla="*/ 672744 h 1016771"/>
                    <a:gd name="connsiteX139" fmla="*/ 263404 w 761692"/>
                    <a:gd name="connsiteY139" fmla="*/ 671049 h 1016771"/>
                    <a:gd name="connsiteX140" fmla="*/ 260014 w 761692"/>
                    <a:gd name="connsiteY140" fmla="*/ 671049 h 1016771"/>
                    <a:gd name="connsiteX141" fmla="*/ 258318 w 761692"/>
                    <a:gd name="connsiteY141" fmla="*/ 671049 h 1016771"/>
                    <a:gd name="connsiteX142" fmla="*/ 253232 w 761692"/>
                    <a:gd name="connsiteY142" fmla="*/ 671049 h 1016771"/>
                    <a:gd name="connsiteX143" fmla="*/ 248146 w 761692"/>
                    <a:gd name="connsiteY143" fmla="*/ 672744 h 1016771"/>
                    <a:gd name="connsiteX144" fmla="*/ 248146 w 761692"/>
                    <a:gd name="connsiteY144" fmla="*/ 674440 h 1016771"/>
                    <a:gd name="connsiteX145" fmla="*/ 246451 w 761692"/>
                    <a:gd name="connsiteY145" fmla="*/ 674440 h 1016771"/>
                    <a:gd name="connsiteX146" fmla="*/ 236279 w 761692"/>
                    <a:gd name="connsiteY146" fmla="*/ 679526 h 1016771"/>
                    <a:gd name="connsiteX147" fmla="*/ 226107 w 761692"/>
                    <a:gd name="connsiteY147" fmla="*/ 684612 h 1016771"/>
                    <a:gd name="connsiteX148" fmla="*/ 217630 w 761692"/>
                    <a:gd name="connsiteY148" fmla="*/ 684612 h 1016771"/>
                    <a:gd name="connsiteX149" fmla="*/ 207458 w 761692"/>
                    <a:gd name="connsiteY149" fmla="*/ 693088 h 1016771"/>
                    <a:gd name="connsiteX150" fmla="*/ 198982 w 761692"/>
                    <a:gd name="connsiteY150" fmla="*/ 694783 h 1016771"/>
                    <a:gd name="connsiteX151" fmla="*/ 192200 w 761692"/>
                    <a:gd name="connsiteY151" fmla="*/ 699869 h 1016771"/>
                    <a:gd name="connsiteX152" fmla="*/ 178638 w 761692"/>
                    <a:gd name="connsiteY152" fmla="*/ 706651 h 1016771"/>
                    <a:gd name="connsiteX153" fmla="*/ 163380 w 761692"/>
                    <a:gd name="connsiteY153" fmla="*/ 710041 h 1016771"/>
                    <a:gd name="connsiteX154" fmla="*/ 141340 w 761692"/>
                    <a:gd name="connsiteY154" fmla="*/ 710041 h 1016771"/>
                    <a:gd name="connsiteX155" fmla="*/ 134559 w 761692"/>
                    <a:gd name="connsiteY155" fmla="*/ 716823 h 1016771"/>
                    <a:gd name="connsiteX156" fmla="*/ 127778 w 761692"/>
                    <a:gd name="connsiteY156" fmla="*/ 718518 h 1016771"/>
                    <a:gd name="connsiteX157" fmla="*/ 120996 w 761692"/>
                    <a:gd name="connsiteY157" fmla="*/ 725299 h 1016771"/>
                    <a:gd name="connsiteX158" fmla="*/ 111172 w 761692"/>
                    <a:gd name="connsiteY158" fmla="*/ 733720 h 1016771"/>
                    <a:gd name="connsiteX159" fmla="*/ 106283 w 761692"/>
                    <a:gd name="connsiteY159" fmla="*/ 729808 h 1016771"/>
                    <a:gd name="connsiteX160" fmla="*/ 92112 w 761692"/>
                    <a:gd name="connsiteY160" fmla="*/ 724494 h 1016771"/>
                    <a:gd name="connsiteX161" fmla="*/ 77941 w 761692"/>
                    <a:gd name="connsiteY161" fmla="*/ 726265 h 1016771"/>
                    <a:gd name="connsiteX162" fmla="*/ 70855 w 761692"/>
                    <a:gd name="connsiteY162" fmla="*/ 719180 h 1016771"/>
                    <a:gd name="connsiteX163" fmla="*/ 70855 w 761692"/>
                    <a:gd name="connsiteY163" fmla="*/ 699695 h 1016771"/>
                    <a:gd name="connsiteX164" fmla="*/ 81483 w 761692"/>
                    <a:gd name="connsiteY164" fmla="*/ 685524 h 1016771"/>
                    <a:gd name="connsiteX165" fmla="*/ 85026 w 761692"/>
                    <a:gd name="connsiteY165" fmla="*/ 673124 h 1016771"/>
                    <a:gd name="connsiteX166" fmla="*/ 86797 w 761692"/>
                    <a:gd name="connsiteY166" fmla="*/ 660724 h 1016771"/>
                    <a:gd name="connsiteX167" fmla="*/ 97426 w 761692"/>
                    <a:gd name="connsiteY167" fmla="*/ 650096 h 1016771"/>
                    <a:gd name="connsiteX168" fmla="*/ 102740 w 761692"/>
                    <a:gd name="connsiteY168" fmla="*/ 635925 h 1016771"/>
                    <a:gd name="connsiteX169" fmla="*/ 113368 w 761692"/>
                    <a:gd name="connsiteY169" fmla="*/ 625297 h 1016771"/>
                    <a:gd name="connsiteX170" fmla="*/ 115139 w 761692"/>
                    <a:gd name="connsiteY170" fmla="*/ 612897 h 1016771"/>
                    <a:gd name="connsiteX171" fmla="*/ 127539 w 761692"/>
                    <a:gd name="connsiteY171" fmla="*/ 609354 h 1016771"/>
                    <a:gd name="connsiteX172" fmla="*/ 136396 w 761692"/>
                    <a:gd name="connsiteY172" fmla="*/ 604040 h 1016771"/>
                    <a:gd name="connsiteX173" fmla="*/ 132853 w 761692"/>
                    <a:gd name="connsiteY173" fmla="*/ 593412 h 1016771"/>
                    <a:gd name="connsiteX174" fmla="*/ 134625 w 761692"/>
                    <a:gd name="connsiteY174" fmla="*/ 584555 h 1016771"/>
                    <a:gd name="connsiteX175" fmla="*/ 131082 w 761692"/>
                    <a:gd name="connsiteY175" fmla="*/ 575698 h 1016771"/>
                    <a:gd name="connsiteX176" fmla="*/ 120454 w 761692"/>
                    <a:gd name="connsiteY176" fmla="*/ 568613 h 1016771"/>
                    <a:gd name="connsiteX177" fmla="*/ 125768 w 761692"/>
                    <a:gd name="connsiteY177" fmla="*/ 552670 h 1016771"/>
                    <a:gd name="connsiteX178" fmla="*/ 118682 w 761692"/>
                    <a:gd name="connsiteY178" fmla="*/ 543813 h 1016771"/>
                    <a:gd name="connsiteX179" fmla="*/ 90340 w 761692"/>
                    <a:gd name="connsiteY179" fmla="*/ 543813 h 1016771"/>
                    <a:gd name="connsiteX180" fmla="*/ 86797 w 761692"/>
                    <a:gd name="connsiteY180" fmla="*/ 542042 h 1016771"/>
                    <a:gd name="connsiteX181" fmla="*/ 83255 w 761692"/>
                    <a:gd name="connsiteY181" fmla="*/ 542042 h 1016771"/>
                    <a:gd name="connsiteX182" fmla="*/ 81483 w 761692"/>
                    <a:gd name="connsiteY182" fmla="*/ 540271 h 1016771"/>
                    <a:gd name="connsiteX183" fmla="*/ 81483 w 761692"/>
                    <a:gd name="connsiteY183" fmla="*/ 536728 h 1016771"/>
                    <a:gd name="connsiteX184" fmla="*/ 79712 w 761692"/>
                    <a:gd name="connsiteY184" fmla="*/ 531414 h 1016771"/>
                    <a:gd name="connsiteX185" fmla="*/ 77941 w 761692"/>
                    <a:gd name="connsiteY185" fmla="*/ 529642 h 1016771"/>
                    <a:gd name="connsiteX186" fmla="*/ 70855 w 761692"/>
                    <a:gd name="connsiteY186" fmla="*/ 527871 h 1016771"/>
                    <a:gd name="connsiteX187" fmla="*/ 60227 w 761692"/>
                    <a:gd name="connsiteY187" fmla="*/ 536728 h 1016771"/>
                    <a:gd name="connsiteX188" fmla="*/ 47827 w 761692"/>
                    <a:gd name="connsiteY188" fmla="*/ 526100 h 1016771"/>
                    <a:gd name="connsiteX189" fmla="*/ 42513 w 761692"/>
                    <a:gd name="connsiteY189" fmla="*/ 515471 h 1016771"/>
                    <a:gd name="connsiteX190" fmla="*/ 33656 w 761692"/>
                    <a:gd name="connsiteY190" fmla="*/ 506614 h 1016771"/>
                    <a:gd name="connsiteX191" fmla="*/ 31885 w 761692"/>
                    <a:gd name="connsiteY191" fmla="*/ 490672 h 1016771"/>
                    <a:gd name="connsiteX192" fmla="*/ 26571 w 761692"/>
                    <a:gd name="connsiteY192" fmla="*/ 476501 h 1016771"/>
                    <a:gd name="connsiteX193" fmla="*/ 24799 w 761692"/>
                    <a:gd name="connsiteY193" fmla="*/ 471187 h 1016771"/>
                    <a:gd name="connsiteX194" fmla="*/ 12400 w 761692"/>
                    <a:gd name="connsiteY194" fmla="*/ 472958 h 1016771"/>
                    <a:gd name="connsiteX195" fmla="*/ 7086 w 761692"/>
                    <a:gd name="connsiteY195" fmla="*/ 464101 h 1016771"/>
                    <a:gd name="connsiteX196" fmla="*/ 8857 w 761692"/>
                    <a:gd name="connsiteY196" fmla="*/ 446388 h 1016771"/>
                    <a:gd name="connsiteX197" fmla="*/ 3543 w 761692"/>
                    <a:gd name="connsiteY197" fmla="*/ 435759 h 1016771"/>
                    <a:gd name="connsiteX198" fmla="*/ 5314 w 761692"/>
                    <a:gd name="connsiteY198" fmla="*/ 412731 h 1016771"/>
                    <a:gd name="connsiteX199" fmla="*/ 0 w 761692"/>
                    <a:gd name="connsiteY199" fmla="*/ 396789 h 1016771"/>
                    <a:gd name="connsiteX200" fmla="*/ 3543 w 761692"/>
                    <a:gd name="connsiteY200" fmla="*/ 384389 h 1016771"/>
                    <a:gd name="connsiteX201" fmla="*/ 14171 w 761692"/>
                    <a:gd name="connsiteY201" fmla="*/ 380846 h 1016771"/>
                    <a:gd name="connsiteX202" fmla="*/ 24799 w 761692"/>
                    <a:gd name="connsiteY202" fmla="*/ 364904 h 1016771"/>
                    <a:gd name="connsiteX203" fmla="*/ 30113 w 761692"/>
                    <a:gd name="connsiteY203" fmla="*/ 350733 h 1016771"/>
                    <a:gd name="connsiteX204" fmla="*/ 35428 w 761692"/>
                    <a:gd name="connsiteY204" fmla="*/ 341876 h 1016771"/>
                    <a:gd name="connsiteX205" fmla="*/ 42513 w 761692"/>
                    <a:gd name="connsiteY205" fmla="*/ 327705 h 1016771"/>
                    <a:gd name="connsiteX206" fmla="*/ 42513 w 761692"/>
                    <a:gd name="connsiteY206" fmla="*/ 315305 h 1016771"/>
                    <a:gd name="connsiteX207" fmla="*/ 56684 w 761692"/>
                    <a:gd name="connsiteY207" fmla="*/ 309991 h 1016771"/>
                    <a:gd name="connsiteX208" fmla="*/ 60227 w 761692"/>
                    <a:gd name="connsiteY208" fmla="*/ 309991 h 1016771"/>
                    <a:gd name="connsiteX209" fmla="*/ 61998 w 761692"/>
                    <a:gd name="connsiteY209" fmla="*/ 311763 h 1016771"/>
                    <a:gd name="connsiteX210" fmla="*/ 67312 w 761692"/>
                    <a:gd name="connsiteY210" fmla="*/ 311763 h 1016771"/>
                    <a:gd name="connsiteX211" fmla="*/ 67312 w 761692"/>
                    <a:gd name="connsiteY211" fmla="*/ 309991 h 1016771"/>
                    <a:gd name="connsiteX212" fmla="*/ 67312 w 761692"/>
                    <a:gd name="connsiteY212" fmla="*/ 308220 h 1016771"/>
                    <a:gd name="connsiteX213" fmla="*/ 69084 w 761692"/>
                    <a:gd name="connsiteY213" fmla="*/ 302906 h 1016771"/>
                    <a:gd name="connsiteX214" fmla="*/ 70855 w 761692"/>
                    <a:gd name="connsiteY214" fmla="*/ 301134 h 1016771"/>
                    <a:gd name="connsiteX215" fmla="*/ 70855 w 761692"/>
                    <a:gd name="connsiteY215" fmla="*/ 299363 h 1016771"/>
                    <a:gd name="connsiteX216" fmla="*/ 77941 w 761692"/>
                    <a:gd name="connsiteY216" fmla="*/ 295820 h 1016771"/>
                    <a:gd name="connsiteX217" fmla="*/ 85026 w 761692"/>
                    <a:gd name="connsiteY217" fmla="*/ 295820 h 1016771"/>
                    <a:gd name="connsiteX218" fmla="*/ 93883 w 761692"/>
                    <a:gd name="connsiteY218" fmla="*/ 297592 h 1016771"/>
                    <a:gd name="connsiteX219" fmla="*/ 100968 w 761692"/>
                    <a:gd name="connsiteY219" fmla="*/ 288735 h 1016771"/>
                    <a:gd name="connsiteX220" fmla="*/ 97426 w 761692"/>
                    <a:gd name="connsiteY220" fmla="*/ 279878 h 1016771"/>
                    <a:gd name="connsiteX221" fmla="*/ 85026 w 761692"/>
                    <a:gd name="connsiteY221" fmla="*/ 276335 h 1016771"/>
                    <a:gd name="connsiteX222" fmla="*/ 76169 w 761692"/>
                    <a:gd name="connsiteY222" fmla="*/ 271021 h 1016771"/>
                    <a:gd name="connsiteX223" fmla="*/ 76169 w 761692"/>
                    <a:gd name="connsiteY223" fmla="*/ 262164 h 1016771"/>
                    <a:gd name="connsiteX224" fmla="*/ 81483 w 761692"/>
                    <a:gd name="connsiteY224" fmla="*/ 251536 h 1016771"/>
                    <a:gd name="connsiteX225" fmla="*/ 86797 w 761692"/>
                    <a:gd name="connsiteY225" fmla="*/ 255079 h 1016771"/>
                    <a:gd name="connsiteX226" fmla="*/ 104511 w 761692"/>
                    <a:gd name="connsiteY226" fmla="*/ 262164 h 1016771"/>
                    <a:gd name="connsiteX227" fmla="*/ 116911 w 761692"/>
                    <a:gd name="connsiteY227" fmla="*/ 265707 h 1016771"/>
                    <a:gd name="connsiteX228" fmla="*/ 132853 w 761692"/>
                    <a:gd name="connsiteY228" fmla="*/ 269250 h 1016771"/>
                    <a:gd name="connsiteX229" fmla="*/ 138167 w 761692"/>
                    <a:gd name="connsiteY229" fmla="*/ 265707 h 1016771"/>
                    <a:gd name="connsiteX230" fmla="*/ 150567 w 761692"/>
                    <a:gd name="connsiteY230" fmla="*/ 255079 h 1016771"/>
                    <a:gd name="connsiteX231" fmla="*/ 166509 w 761692"/>
                    <a:gd name="connsiteY231" fmla="*/ 255079 h 1016771"/>
                    <a:gd name="connsiteX232" fmla="*/ 166509 w 761692"/>
                    <a:gd name="connsiteY232" fmla="*/ 265707 h 1016771"/>
                    <a:gd name="connsiteX233" fmla="*/ 177138 w 761692"/>
                    <a:gd name="connsiteY233" fmla="*/ 272792 h 1016771"/>
                    <a:gd name="connsiteX234" fmla="*/ 194851 w 761692"/>
                    <a:gd name="connsiteY234" fmla="*/ 276335 h 1016771"/>
                    <a:gd name="connsiteX235" fmla="*/ 209022 w 761692"/>
                    <a:gd name="connsiteY235" fmla="*/ 279878 h 1016771"/>
                    <a:gd name="connsiteX236" fmla="*/ 221422 w 761692"/>
                    <a:gd name="connsiteY236" fmla="*/ 276335 h 1016771"/>
                    <a:gd name="connsiteX237" fmla="*/ 226736 w 761692"/>
                    <a:gd name="connsiteY237" fmla="*/ 269250 h 1016771"/>
                    <a:gd name="connsiteX238" fmla="*/ 226736 w 761692"/>
                    <a:gd name="connsiteY238" fmla="*/ 251536 h 1016771"/>
                    <a:gd name="connsiteX239" fmla="*/ 224965 w 761692"/>
                    <a:gd name="connsiteY239" fmla="*/ 239136 h 1016771"/>
                    <a:gd name="connsiteX240" fmla="*/ 214337 w 761692"/>
                    <a:gd name="connsiteY240" fmla="*/ 230279 h 1016771"/>
                    <a:gd name="connsiteX241" fmla="*/ 210794 w 761692"/>
                    <a:gd name="connsiteY241" fmla="*/ 217880 h 1016771"/>
                    <a:gd name="connsiteX242" fmla="*/ 221422 w 761692"/>
                    <a:gd name="connsiteY242" fmla="*/ 207251 h 1016771"/>
                    <a:gd name="connsiteX243" fmla="*/ 235593 w 761692"/>
                    <a:gd name="connsiteY243" fmla="*/ 214337 h 1016771"/>
                    <a:gd name="connsiteX244" fmla="*/ 246221 w 761692"/>
                    <a:gd name="connsiteY244" fmla="*/ 219651 h 1016771"/>
                    <a:gd name="connsiteX245" fmla="*/ 253307 w 761692"/>
                    <a:gd name="connsiteY245" fmla="*/ 221422 h 1016771"/>
                    <a:gd name="connsiteX246" fmla="*/ 262164 w 761692"/>
                    <a:gd name="connsiteY246" fmla="*/ 210794 h 1016771"/>
                    <a:gd name="connsiteX247" fmla="*/ 263935 w 761692"/>
                    <a:gd name="connsiteY247" fmla="*/ 201937 h 1016771"/>
                    <a:gd name="connsiteX248" fmla="*/ 274563 w 761692"/>
                    <a:gd name="connsiteY248" fmla="*/ 189538 h 1016771"/>
                    <a:gd name="connsiteX249" fmla="*/ 283420 w 761692"/>
                    <a:gd name="connsiteY249" fmla="*/ 178909 h 1016771"/>
                    <a:gd name="connsiteX250" fmla="*/ 286963 w 761692"/>
                    <a:gd name="connsiteY250" fmla="*/ 173595 h 1016771"/>
                    <a:gd name="connsiteX251" fmla="*/ 311762 w 761692"/>
                    <a:gd name="connsiteY251" fmla="*/ 168281 h 1016771"/>
                    <a:gd name="connsiteX252" fmla="*/ 325933 w 761692"/>
                    <a:gd name="connsiteY252" fmla="*/ 164738 h 1016771"/>
                    <a:gd name="connsiteX253" fmla="*/ 336562 w 761692"/>
                    <a:gd name="connsiteY253" fmla="*/ 159424 h 1016771"/>
                    <a:gd name="connsiteX254" fmla="*/ 348961 w 761692"/>
                    <a:gd name="connsiteY254" fmla="*/ 145253 h 1016771"/>
                    <a:gd name="connsiteX255" fmla="*/ 359589 w 761692"/>
                    <a:gd name="connsiteY255" fmla="*/ 143482 h 1016771"/>
                    <a:gd name="connsiteX256" fmla="*/ 371989 w 761692"/>
                    <a:gd name="connsiteY256" fmla="*/ 143482 h 1016771"/>
                    <a:gd name="connsiteX257" fmla="*/ 391474 w 761692"/>
                    <a:gd name="connsiteY257" fmla="*/ 143482 h 1016771"/>
                    <a:gd name="connsiteX258" fmla="*/ 396788 w 761692"/>
                    <a:gd name="connsiteY258" fmla="*/ 141710 h 1016771"/>
                    <a:gd name="connsiteX259" fmla="*/ 403874 w 761692"/>
                    <a:gd name="connsiteY259" fmla="*/ 134625 h 1016771"/>
                    <a:gd name="connsiteX260" fmla="*/ 409188 w 761692"/>
                    <a:gd name="connsiteY260" fmla="*/ 129311 h 1016771"/>
                    <a:gd name="connsiteX261" fmla="*/ 409188 w 761692"/>
                    <a:gd name="connsiteY261" fmla="*/ 123997 h 1016771"/>
                    <a:gd name="connsiteX262" fmla="*/ 414502 w 761692"/>
                    <a:gd name="connsiteY262" fmla="*/ 115140 h 1016771"/>
                    <a:gd name="connsiteX263" fmla="*/ 428673 w 761692"/>
                    <a:gd name="connsiteY263" fmla="*/ 115140 h 1016771"/>
                    <a:gd name="connsiteX264" fmla="*/ 432216 w 761692"/>
                    <a:gd name="connsiteY264" fmla="*/ 109826 h 1016771"/>
                    <a:gd name="connsiteX265" fmla="*/ 437530 w 761692"/>
                    <a:gd name="connsiteY265" fmla="*/ 100969 h 1016771"/>
                    <a:gd name="connsiteX266" fmla="*/ 448158 w 761692"/>
                    <a:gd name="connsiteY266" fmla="*/ 99197 h 1016771"/>
                    <a:gd name="connsiteX267" fmla="*/ 460558 w 761692"/>
                    <a:gd name="connsiteY267" fmla="*/ 97426 h 1016771"/>
                    <a:gd name="connsiteX268" fmla="*/ 472958 w 761692"/>
                    <a:gd name="connsiteY268" fmla="*/ 93883 h 1016771"/>
                    <a:gd name="connsiteX269" fmla="*/ 492443 w 761692"/>
                    <a:gd name="connsiteY269" fmla="*/ 93883 h 1016771"/>
                    <a:gd name="connsiteX270" fmla="*/ 501300 w 761692"/>
                    <a:gd name="connsiteY270" fmla="*/ 83255 h 1016771"/>
                    <a:gd name="connsiteX271" fmla="*/ 517242 w 761692"/>
                    <a:gd name="connsiteY271" fmla="*/ 81484 h 1016771"/>
                    <a:gd name="connsiteX272" fmla="*/ 522556 w 761692"/>
                    <a:gd name="connsiteY272" fmla="*/ 81484 h 1016771"/>
                    <a:gd name="connsiteX273" fmla="*/ 522556 w 761692"/>
                    <a:gd name="connsiteY273" fmla="*/ 60227 h 1016771"/>
                    <a:gd name="connsiteX274" fmla="*/ 526099 w 761692"/>
                    <a:gd name="connsiteY274" fmla="*/ 54913 h 1016771"/>
                    <a:gd name="connsiteX275" fmla="*/ 529642 w 761692"/>
                    <a:gd name="connsiteY275" fmla="*/ 46056 h 1016771"/>
                    <a:gd name="connsiteX276" fmla="*/ 538499 w 761692"/>
                    <a:gd name="connsiteY276" fmla="*/ 40742 h 1016771"/>
                    <a:gd name="connsiteX277" fmla="*/ 540270 w 761692"/>
                    <a:gd name="connsiteY277" fmla="*/ 30114 h 1016771"/>
                    <a:gd name="connsiteX278" fmla="*/ 536727 w 761692"/>
                    <a:gd name="connsiteY278" fmla="*/ 19485 h 1016771"/>
                    <a:gd name="connsiteX279" fmla="*/ 543813 w 761692"/>
                    <a:gd name="connsiteY279" fmla="*/ 5314 h 1016771"/>
                    <a:gd name="connsiteX280" fmla="*/ 554441 w 761692"/>
                    <a:gd name="connsiteY280" fmla="*/ 0 h 1016771"/>
                    <a:gd name="connsiteX0" fmla="*/ 116476 w 761692"/>
                    <a:gd name="connsiteY0" fmla="*/ 741349 h 1016771"/>
                    <a:gd name="connsiteX1" fmla="*/ 117606 w 761692"/>
                    <a:gd name="connsiteY1" fmla="*/ 742253 h 1016771"/>
                    <a:gd name="connsiteX2" fmla="*/ 122692 w 761692"/>
                    <a:gd name="connsiteY2" fmla="*/ 759206 h 1016771"/>
                    <a:gd name="connsiteX3" fmla="*/ 120454 w 761692"/>
                    <a:gd name="connsiteY3" fmla="*/ 754607 h 1016771"/>
                    <a:gd name="connsiteX4" fmla="*/ 116476 w 761692"/>
                    <a:gd name="connsiteY4" fmla="*/ 741349 h 1016771"/>
                    <a:gd name="connsiteX5" fmla="*/ 554441 w 761692"/>
                    <a:gd name="connsiteY5" fmla="*/ 0 h 1016771"/>
                    <a:gd name="connsiteX6" fmla="*/ 570383 w 761692"/>
                    <a:gd name="connsiteY6" fmla="*/ 3543 h 1016771"/>
                    <a:gd name="connsiteX7" fmla="*/ 577469 w 761692"/>
                    <a:gd name="connsiteY7" fmla="*/ 8857 h 1016771"/>
                    <a:gd name="connsiteX8" fmla="*/ 582783 w 761692"/>
                    <a:gd name="connsiteY8" fmla="*/ 17714 h 1016771"/>
                    <a:gd name="connsiteX9" fmla="*/ 582783 w 761692"/>
                    <a:gd name="connsiteY9" fmla="*/ 24799 h 1016771"/>
                    <a:gd name="connsiteX10" fmla="*/ 588097 w 761692"/>
                    <a:gd name="connsiteY10" fmla="*/ 33656 h 1016771"/>
                    <a:gd name="connsiteX11" fmla="*/ 598725 w 761692"/>
                    <a:gd name="connsiteY11" fmla="*/ 31885 h 1016771"/>
                    <a:gd name="connsiteX12" fmla="*/ 612896 w 761692"/>
                    <a:gd name="connsiteY12" fmla="*/ 37199 h 1016771"/>
                    <a:gd name="connsiteX13" fmla="*/ 618211 w 761692"/>
                    <a:gd name="connsiteY13" fmla="*/ 46056 h 1016771"/>
                    <a:gd name="connsiteX14" fmla="*/ 619982 w 761692"/>
                    <a:gd name="connsiteY14" fmla="*/ 54913 h 1016771"/>
                    <a:gd name="connsiteX15" fmla="*/ 618211 w 761692"/>
                    <a:gd name="connsiteY15" fmla="*/ 74398 h 1016771"/>
                    <a:gd name="connsiteX16" fmla="*/ 616439 w 761692"/>
                    <a:gd name="connsiteY16" fmla="*/ 85026 h 1016771"/>
                    <a:gd name="connsiteX17" fmla="*/ 621753 w 761692"/>
                    <a:gd name="connsiteY17" fmla="*/ 97426 h 1016771"/>
                    <a:gd name="connsiteX18" fmla="*/ 637696 w 761692"/>
                    <a:gd name="connsiteY18" fmla="*/ 113368 h 1016771"/>
                    <a:gd name="connsiteX19" fmla="*/ 644781 w 761692"/>
                    <a:gd name="connsiteY19" fmla="*/ 120454 h 1016771"/>
                    <a:gd name="connsiteX20" fmla="*/ 650095 w 761692"/>
                    <a:gd name="connsiteY20" fmla="*/ 136396 h 1016771"/>
                    <a:gd name="connsiteX21" fmla="*/ 655409 w 761692"/>
                    <a:gd name="connsiteY21" fmla="*/ 155881 h 1016771"/>
                    <a:gd name="connsiteX22" fmla="*/ 662495 w 761692"/>
                    <a:gd name="connsiteY22" fmla="*/ 171824 h 1016771"/>
                    <a:gd name="connsiteX23" fmla="*/ 660724 w 761692"/>
                    <a:gd name="connsiteY23" fmla="*/ 185995 h 1016771"/>
                    <a:gd name="connsiteX24" fmla="*/ 635924 w 761692"/>
                    <a:gd name="connsiteY24" fmla="*/ 194852 h 1016771"/>
                    <a:gd name="connsiteX25" fmla="*/ 619982 w 761692"/>
                    <a:gd name="connsiteY25" fmla="*/ 207251 h 1016771"/>
                    <a:gd name="connsiteX26" fmla="*/ 614668 w 761692"/>
                    <a:gd name="connsiteY26" fmla="*/ 223194 h 1016771"/>
                    <a:gd name="connsiteX27" fmla="*/ 618211 w 761692"/>
                    <a:gd name="connsiteY27" fmla="*/ 242679 h 1016771"/>
                    <a:gd name="connsiteX28" fmla="*/ 612896 w 761692"/>
                    <a:gd name="connsiteY28" fmla="*/ 256850 h 1016771"/>
                    <a:gd name="connsiteX29" fmla="*/ 625296 w 761692"/>
                    <a:gd name="connsiteY29" fmla="*/ 267478 h 1016771"/>
                    <a:gd name="connsiteX30" fmla="*/ 641238 w 761692"/>
                    <a:gd name="connsiteY30" fmla="*/ 269250 h 1016771"/>
                    <a:gd name="connsiteX31" fmla="*/ 658952 w 761692"/>
                    <a:gd name="connsiteY31" fmla="*/ 286963 h 1016771"/>
                    <a:gd name="connsiteX32" fmla="*/ 653638 w 761692"/>
                    <a:gd name="connsiteY32" fmla="*/ 309991 h 1016771"/>
                    <a:gd name="connsiteX33" fmla="*/ 653638 w 761692"/>
                    <a:gd name="connsiteY33" fmla="*/ 329476 h 1016771"/>
                    <a:gd name="connsiteX34" fmla="*/ 643010 w 761692"/>
                    <a:gd name="connsiteY34" fmla="*/ 338333 h 1016771"/>
                    <a:gd name="connsiteX35" fmla="*/ 632382 w 761692"/>
                    <a:gd name="connsiteY35" fmla="*/ 338333 h 1016771"/>
                    <a:gd name="connsiteX36" fmla="*/ 618211 w 761692"/>
                    <a:gd name="connsiteY36" fmla="*/ 357819 h 1016771"/>
                    <a:gd name="connsiteX37" fmla="*/ 609354 w 761692"/>
                    <a:gd name="connsiteY37" fmla="*/ 361361 h 1016771"/>
                    <a:gd name="connsiteX38" fmla="*/ 596954 w 761692"/>
                    <a:gd name="connsiteY38" fmla="*/ 363133 h 1016771"/>
                    <a:gd name="connsiteX39" fmla="*/ 581012 w 761692"/>
                    <a:gd name="connsiteY39" fmla="*/ 379075 h 1016771"/>
                    <a:gd name="connsiteX40" fmla="*/ 589868 w 761692"/>
                    <a:gd name="connsiteY40" fmla="*/ 393246 h 1016771"/>
                    <a:gd name="connsiteX41" fmla="*/ 586326 w 761692"/>
                    <a:gd name="connsiteY41" fmla="*/ 409189 h 1016771"/>
                    <a:gd name="connsiteX42" fmla="*/ 570383 w 761692"/>
                    <a:gd name="connsiteY42" fmla="*/ 398560 h 1016771"/>
                    <a:gd name="connsiteX43" fmla="*/ 550898 w 761692"/>
                    <a:gd name="connsiteY43" fmla="*/ 405646 h 1016771"/>
                    <a:gd name="connsiteX44" fmla="*/ 531413 w 761692"/>
                    <a:gd name="connsiteY44" fmla="*/ 425131 h 1016771"/>
                    <a:gd name="connsiteX45" fmla="*/ 543813 w 761692"/>
                    <a:gd name="connsiteY45" fmla="*/ 444616 h 1016771"/>
                    <a:gd name="connsiteX46" fmla="*/ 557984 w 761692"/>
                    <a:gd name="connsiteY46" fmla="*/ 462330 h 1016771"/>
                    <a:gd name="connsiteX47" fmla="*/ 570383 w 761692"/>
                    <a:gd name="connsiteY47" fmla="*/ 478272 h 1016771"/>
                    <a:gd name="connsiteX48" fmla="*/ 579240 w 761692"/>
                    <a:gd name="connsiteY48" fmla="*/ 485358 h 1016771"/>
                    <a:gd name="connsiteX49" fmla="*/ 602268 w 761692"/>
                    <a:gd name="connsiteY49" fmla="*/ 483586 h 1016771"/>
                    <a:gd name="connsiteX50" fmla="*/ 623525 w 761692"/>
                    <a:gd name="connsiteY50" fmla="*/ 474730 h 1016771"/>
                    <a:gd name="connsiteX51" fmla="*/ 639467 w 761692"/>
                    <a:gd name="connsiteY51" fmla="*/ 464101 h 1016771"/>
                    <a:gd name="connsiteX52" fmla="*/ 662495 w 761692"/>
                    <a:gd name="connsiteY52" fmla="*/ 464101 h 1016771"/>
                    <a:gd name="connsiteX53" fmla="*/ 673123 w 761692"/>
                    <a:gd name="connsiteY53" fmla="*/ 464101 h 1016771"/>
                    <a:gd name="connsiteX54" fmla="*/ 681980 w 761692"/>
                    <a:gd name="connsiteY54" fmla="*/ 467644 h 1016771"/>
                    <a:gd name="connsiteX55" fmla="*/ 703237 w 761692"/>
                    <a:gd name="connsiteY55" fmla="*/ 471187 h 1016771"/>
                    <a:gd name="connsiteX56" fmla="*/ 708551 w 761692"/>
                    <a:gd name="connsiteY56" fmla="*/ 474730 h 1016771"/>
                    <a:gd name="connsiteX57" fmla="*/ 722722 w 761692"/>
                    <a:gd name="connsiteY57" fmla="*/ 501300 h 1016771"/>
                    <a:gd name="connsiteX58" fmla="*/ 724493 w 761692"/>
                    <a:gd name="connsiteY58" fmla="*/ 522557 h 1016771"/>
                    <a:gd name="connsiteX59" fmla="*/ 722722 w 761692"/>
                    <a:gd name="connsiteY59" fmla="*/ 540271 h 1016771"/>
                    <a:gd name="connsiteX60" fmla="*/ 735121 w 761692"/>
                    <a:gd name="connsiteY60" fmla="*/ 552670 h 1016771"/>
                    <a:gd name="connsiteX61" fmla="*/ 735121 w 761692"/>
                    <a:gd name="connsiteY61" fmla="*/ 570384 h 1016771"/>
                    <a:gd name="connsiteX62" fmla="*/ 751064 w 761692"/>
                    <a:gd name="connsiteY62" fmla="*/ 581012 h 1016771"/>
                    <a:gd name="connsiteX63" fmla="*/ 761692 w 761692"/>
                    <a:gd name="connsiteY63" fmla="*/ 604040 h 1016771"/>
                    <a:gd name="connsiteX64" fmla="*/ 747521 w 761692"/>
                    <a:gd name="connsiteY64" fmla="*/ 616440 h 1016771"/>
                    <a:gd name="connsiteX65" fmla="*/ 728036 w 761692"/>
                    <a:gd name="connsiteY65" fmla="*/ 627068 h 1016771"/>
                    <a:gd name="connsiteX66" fmla="*/ 726264 w 761692"/>
                    <a:gd name="connsiteY66" fmla="*/ 650096 h 1016771"/>
                    <a:gd name="connsiteX67" fmla="*/ 728036 w 761692"/>
                    <a:gd name="connsiteY67" fmla="*/ 673124 h 1016771"/>
                    <a:gd name="connsiteX68" fmla="*/ 742207 w 761692"/>
                    <a:gd name="connsiteY68" fmla="*/ 689066 h 1016771"/>
                    <a:gd name="connsiteX69" fmla="*/ 742207 w 761692"/>
                    <a:gd name="connsiteY69" fmla="*/ 712094 h 1016771"/>
                    <a:gd name="connsiteX70" fmla="*/ 740435 w 761692"/>
                    <a:gd name="connsiteY70" fmla="*/ 735122 h 1016771"/>
                    <a:gd name="connsiteX71" fmla="*/ 742207 w 761692"/>
                    <a:gd name="connsiteY71" fmla="*/ 751065 h 1016771"/>
                    <a:gd name="connsiteX72" fmla="*/ 747521 w 761692"/>
                    <a:gd name="connsiteY72" fmla="*/ 768778 h 1016771"/>
                    <a:gd name="connsiteX73" fmla="*/ 759921 w 761692"/>
                    <a:gd name="connsiteY73" fmla="*/ 777635 h 1016771"/>
                    <a:gd name="connsiteX74" fmla="*/ 758149 w 761692"/>
                    <a:gd name="connsiteY74" fmla="*/ 802434 h 1016771"/>
                    <a:gd name="connsiteX75" fmla="*/ 752835 w 761692"/>
                    <a:gd name="connsiteY75" fmla="*/ 814834 h 1016771"/>
                    <a:gd name="connsiteX76" fmla="*/ 743978 w 761692"/>
                    <a:gd name="connsiteY76" fmla="*/ 827234 h 1016771"/>
                    <a:gd name="connsiteX77" fmla="*/ 743978 w 761692"/>
                    <a:gd name="connsiteY77" fmla="*/ 837862 h 1016771"/>
                    <a:gd name="connsiteX78" fmla="*/ 747521 w 761692"/>
                    <a:gd name="connsiteY78" fmla="*/ 853804 h 1016771"/>
                    <a:gd name="connsiteX79" fmla="*/ 733350 w 761692"/>
                    <a:gd name="connsiteY79" fmla="*/ 867975 h 1016771"/>
                    <a:gd name="connsiteX80" fmla="*/ 724493 w 761692"/>
                    <a:gd name="connsiteY80" fmla="*/ 880375 h 1016771"/>
                    <a:gd name="connsiteX81" fmla="*/ 722722 w 761692"/>
                    <a:gd name="connsiteY81" fmla="*/ 899860 h 1016771"/>
                    <a:gd name="connsiteX82" fmla="*/ 722722 w 761692"/>
                    <a:gd name="connsiteY82" fmla="*/ 919345 h 1016771"/>
                    <a:gd name="connsiteX83" fmla="*/ 715636 w 761692"/>
                    <a:gd name="connsiteY83" fmla="*/ 940602 h 1016771"/>
                    <a:gd name="connsiteX84" fmla="*/ 708551 w 761692"/>
                    <a:gd name="connsiteY84" fmla="*/ 954773 h 1016771"/>
                    <a:gd name="connsiteX85" fmla="*/ 699694 w 761692"/>
                    <a:gd name="connsiteY85" fmla="*/ 965401 h 1016771"/>
                    <a:gd name="connsiteX86" fmla="*/ 692608 w 761692"/>
                    <a:gd name="connsiteY86" fmla="*/ 984886 h 1016771"/>
                    <a:gd name="connsiteX87" fmla="*/ 683751 w 761692"/>
                    <a:gd name="connsiteY87" fmla="*/ 997286 h 1016771"/>
                    <a:gd name="connsiteX88" fmla="*/ 673123 w 761692"/>
                    <a:gd name="connsiteY88" fmla="*/ 1002600 h 1016771"/>
                    <a:gd name="connsiteX89" fmla="*/ 662495 w 761692"/>
                    <a:gd name="connsiteY89" fmla="*/ 1013228 h 1016771"/>
                    <a:gd name="connsiteX90" fmla="*/ 644781 w 761692"/>
                    <a:gd name="connsiteY90" fmla="*/ 1016771 h 1016771"/>
                    <a:gd name="connsiteX91" fmla="*/ 635924 w 761692"/>
                    <a:gd name="connsiteY91" fmla="*/ 1004372 h 1016771"/>
                    <a:gd name="connsiteX92" fmla="*/ 623525 w 761692"/>
                    <a:gd name="connsiteY92" fmla="*/ 997286 h 1016771"/>
                    <a:gd name="connsiteX93" fmla="*/ 614668 w 761692"/>
                    <a:gd name="connsiteY93" fmla="*/ 986658 h 1016771"/>
                    <a:gd name="connsiteX94" fmla="*/ 593411 w 761692"/>
                    <a:gd name="connsiteY94" fmla="*/ 970715 h 1016771"/>
                    <a:gd name="connsiteX95" fmla="*/ 582783 w 761692"/>
                    <a:gd name="connsiteY95" fmla="*/ 965401 h 1016771"/>
                    <a:gd name="connsiteX96" fmla="*/ 531413 w 761692"/>
                    <a:gd name="connsiteY96" fmla="*/ 965401 h 1016771"/>
                    <a:gd name="connsiteX97" fmla="*/ 511928 w 761692"/>
                    <a:gd name="connsiteY97" fmla="*/ 965401 h 1016771"/>
                    <a:gd name="connsiteX98" fmla="*/ 492443 w 761692"/>
                    <a:gd name="connsiteY98" fmla="*/ 963630 h 1016771"/>
                    <a:gd name="connsiteX99" fmla="*/ 483586 w 761692"/>
                    <a:gd name="connsiteY99" fmla="*/ 958316 h 1016771"/>
                    <a:gd name="connsiteX100" fmla="*/ 469415 w 761692"/>
                    <a:gd name="connsiteY100" fmla="*/ 954773 h 1016771"/>
                    <a:gd name="connsiteX101" fmla="*/ 460558 w 761692"/>
                    <a:gd name="connsiteY101" fmla="*/ 942373 h 1016771"/>
                    <a:gd name="connsiteX102" fmla="*/ 446387 w 761692"/>
                    <a:gd name="connsiteY102" fmla="*/ 935288 h 1016771"/>
                    <a:gd name="connsiteX103" fmla="*/ 428673 w 761692"/>
                    <a:gd name="connsiteY103" fmla="*/ 928202 h 1016771"/>
                    <a:gd name="connsiteX104" fmla="*/ 418045 w 761692"/>
                    <a:gd name="connsiteY104" fmla="*/ 917574 h 1016771"/>
                    <a:gd name="connsiteX105" fmla="*/ 421588 w 761692"/>
                    <a:gd name="connsiteY105" fmla="*/ 903403 h 1016771"/>
                    <a:gd name="connsiteX106" fmla="*/ 418045 w 761692"/>
                    <a:gd name="connsiteY106" fmla="*/ 898089 h 1016771"/>
                    <a:gd name="connsiteX107" fmla="*/ 396788 w 761692"/>
                    <a:gd name="connsiteY107" fmla="*/ 898089 h 1016771"/>
                    <a:gd name="connsiteX108" fmla="*/ 382617 w 761692"/>
                    <a:gd name="connsiteY108" fmla="*/ 896318 h 1016771"/>
                    <a:gd name="connsiteX109" fmla="*/ 380846 w 761692"/>
                    <a:gd name="connsiteY109" fmla="*/ 906946 h 1016771"/>
                    <a:gd name="connsiteX110" fmla="*/ 373601 w 761692"/>
                    <a:gd name="connsiteY110" fmla="*/ 894832 h 1016771"/>
                    <a:gd name="connsiteX111" fmla="*/ 387164 w 761692"/>
                    <a:gd name="connsiteY111" fmla="*/ 896527 h 1016771"/>
                    <a:gd name="connsiteX112" fmla="*/ 383773 w 761692"/>
                    <a:gd name="connsiteY112" fmla="*/ 886355 h 1016771"/>
                    <a:gd name="connsiteX113" fmla="*/ 387164 w 761692"/>
                    <a:gd name="connsiteY113" fmla="*/ 876183 h 1016771"/>
                    <a:gd name="connsiteX114" fmla="*/ 388859 w 761692"/>
                    <a:gd name="connsiteY114" fmla="*/ 867707 h 1016771"/>
                    <a:gd name="connsiteX115" fmla="*/ 380382 w 761692"/>
                    <a:gd name="connsiteY115" fmla="*/ 859230 h 1016771"/>
                    <a:gd name="connsiteX116" fmla="*/ 373601 w 761692"/>
                    <a:gd name="connsiteY116" fmla="*/ 849058 h 1016771"/>
                    <a:gd name="connsiteX117" fmla="*/ 380382 w 761692"/>
                    <a:gd name="connsiteY117" fmla="*/ 838886 h 1016771"/>
                    <a:gd name="connsiteX118" fmla="*/ 383773 w 761692"/>
                    <a:gd name="connsiteY118" fmla="*/ 833800 h 1016771"/>
                    <a:gd name="connsiteX119" fmla="*/ 388859 w 761692"/>
                    <a:gd name="connsiteY119" fmla="*/ 825324 h 1016771"/>
                    <a:gd name="connsiteX120" fmla="*/ 387164 w 761692"/>
                    <a:gd name="connsiteY120" fmla="*/ 810066 h 1016771"/>
                    <a:gd name="connsiteX121" fmla="*/ 387164 w 761692"/>
                    <a:gd name="connsiteY121" fmla="*/ 796503 h 1016771"/>
                    <a:gd name="connsiteX122" fmla="*/ 378687 w 761692"/>
                    <a:gd name="connsiteY122" fmla="*/ 789722 h 1016771"/>
                    <a:gd name="connsiteX123" fmla="*/ 366820 w 761692"/>
                    <a:gd name="connsiteY123" fmla="*/ 782940 h 1016771"/>
                    <a:gd name="connsiteX124" fmla="*/ 356648 w 761692"/>
                    <a:gd name="connsiteY124" fmla="*/ 781245 h 1016771"/>
                    <a:gd name="connsiteX125" fmla="*/ 349866 w 761692"/>
                    <a:gd name="connsiteY125" fmla="*/ 771073 h 1016771"/>
                    <a:gd name="connsiteX126" fmla="*/ 349866 w 761692"/>
                    <a:gd name="connsiteY126" fmla="*/ 752425 h 1016771"/>
                    <a:gd name="connsiteX127" fmla="*/ 353257 w 761692"/>
                    <a:gd name="connsiteY127" fmla="*/ 743948 h 1016771"/>
                    <a:gd name="connsiteX128" fmla="*/ 354952 w 761692"/>
                    <a:gd name="connsiteY128" fmla="*/ 730385 h 1016771"/>
                    <a:gd name="connsiteX129" fmla="*/ 353257 w 761692"/>
                    <a:gd name="connsiteY129" fmla="*/ 713432 h 1016771"/>
                    <a:gd name="connsiteX130" fmla="*/ 346476 w 761692"/>
                    <a:gd name="connsiteY130" fmla="*/ 701565 h 1016771"/>
                    <a:gd name="connsiteX131" fmla="*/ 332913 w 761692"/>
                    <a:gd name="connsiteY131" fmla="*/ 689697 h 1016771"/>
                    <a:gd name="connsiteX132" fmla="*/ 324436 w 761692"/>
                    <a:gd name="connsiteY132" fmla="*/ 681221 h 1016771"/>
                    <a:gd name="connsiteX133" fmla="*/ 314264 w 761692"/>
                    <a:gd name="connsiteY133" fmla="*/ 676135 h 1016771"/>
                    <a:gd name="connsiteX134" fmla="*/ 293920 w 761692"/>
                    <a:gd name="connsiteY134" fmla="*/ 669354 h 1016771"/>
                    <a:gd name="connsiteX135" fmla="*/ 282053 w 761692"/>
                    <a:gd name="connsiteY135" fmla="*/ 667658 h 1016771"/>
                    <a:gd name="connsiteX136" fmla="*/ 266795 w 761692"/>
                    <a:gd name="connsiteY136" fmla="*/ 672744 h 1016771"/>
                    <a:gd name="connsiteX137" fmla="*/ 265100 w 761692"/>
                    <a:gd name="connsiteY137" fmla="*/ 672744 h 1016771"/>
                    <a:gd name="connsiteX138" fmla="*/ 263404 w 761692"/>
                    <a:gd name="connsiteY138" fmla="*/ 671049 h 1016771"/>
                    <a:gd name="connsiteX139" fmla="*/ 260014 w 761692"/>
                    <a:gd name="connsiteY139" fmla="*/ 671049 h 1016771"/>
                    <a:gd name="connsiteX140" fmla="*/ 258318 w 761692"/>
                    <a:gd name="connsiteY140" fmla="*/ 671049 h 1016771"/>
                    <a:gd name="connsiteX141" fmla="*/ 253232 w 761692"/>
                    <a:gd name="connsiteY141" fmla="*/ 671049 h 1016771"/>
                    <a:gd name="connsiteX142" fmla="*/ 248146 w 761692"/>
                    <a:gd name="connsiteY142" fmla="*/ 672744 h 1016771"/>
                    <a:gd name="connsiteX143" fmla="*/ 248146 w 761692"/>
                    <a:gd name="connsiteY143" fmla="*/ 674440 h 1016771"/>
                    <a:gd name="connsiteX144" fmla="*/ 246451 w 761692"/>
                    <a:gd name="connsiteY144" fmla="*/ 674440 h 1016771"/>
                    <a:gd name="connsiteX145" fmla="*/ 236279 w 761692"/>
                    <a:gd name="connsiteY145" fmla="*/ 679526 h 1016771"/>
                    <a:gd name="connsiteX146" fmla="*/ 226107 w 761692"/>
                    <a:gd name="connsiteY146" fmla="*/ 684612 h 1016771"/>
                    <a:gd name="connsiteX147" fmla="*/ 217630 w 761692"/>
                    <a:gd name="connsiteY147" fmla="*/ 684612 h 1016771"/>
                    <a:gd name="connsiteX148" fmla="*/ 207458 w 761692"/>
                    <a:gd name="connsiteY148" fmla="*/ 693088 h 1016771"/>
                    <a:gd name="connsiteX149" fmla="*/ 198982 w 761692"/>
                    <a:gd name="connsiteY149" fmla="*/ 694783 h 1016771"/>
                    <a:gd name="connsiteX150" fmla="*/ 192200 w 761692"/>
                    <a:gd name="connsiteY150" fmla="*/ 699869 h 1016771"/>
                    <a:gd name="connsiteX151" fmla="*/ 178638 w 761692"/>
                    <a:gd name="connsiteY151" fmla="*/ 706651 h 1016771"/>
                    <a:gd name="connsiteX152" fmla="*/ 163380 w 761692"/>
                    <a:gd name="connsiteY152" fmla="*/ 710041 h 1016771"/>
                    <a:gd name="connsiteX153" fmla="*/ 141340 w 761692"/>
                    <a:gd name="connsiteY153" fmla="*/ 710041 h 1016771"/>
                    <a:gd name="connsiteX154" fmla="*/ 134559 w 761692"/>
                    <a:gd name="connsiteY154" fmla="*/ 716823 h 1016771"/>
                    <a:gd name="connsiteX155" fmla="*/ 127778 w 761692"/>
                    <a:gd name="connsiteY155" fmla="*/ 718518 h 1016771"/>
                    <a:gd name="connsiteX156" fmla="*/ 120996 w 761692"/>
                    <a:gd name="connsiteY156" fmla="*/ 725299 h 1016771"/>
                    <a:gd name="connsiteX157" fmla="*/ 111172 w 761692"/>
                    <a:gd name="connsiteY157" fmla="*/ 733720 h 1016771"/>
                    <a:gd name="connsiteX158" fmla="*/ 106283 w 761692"/>
                    <a:gd name="connsiteY158" fmla="*/ 729808 h 1016771"/>
                    <a:gd name="connsiteX159" fmla="*/ 92112 w 761692"/>
                    <a:gd name="connsiteY159" fmla="*/ 724494 h 1016771"/>
                    <a:gd name="connsiteX160" fmla="*/ 77941 w 761692"/>
                    <a:gd name="connsiteY160" fmla="*/ 726265 h 1016771"/>
                    <a:gd name="connsiteX161" fmla="*/ 70855 w 761692"/>
                    <a:gd name="connsiteY161" fmla="*/ 719180 h 1016771"/>
                    <a:gd name="connsiteX162" fmla="*/ 70855 w 761692"/>
                    <a:gd name="connsiteY162" fmla="*/ 699695 h 1016771"/>
                    <a:gd name="connsiteX163" fmla="*/ 81483 w 761692"/>
                    <a:gd name="connsiteY163" fmla="*/ 685524 h 1016771"/>
                    <a:gd name="connsiteX164" fmla="*/ 85026 w 761692"/>
                    <a:gd name="connsiteY164" fmla="*/ 673124 h 1016771"/>
                    <a:gd name="connsiteX165" fmla="*/ 86797 w 761692"/>
                    <a:gd name="connsiteY165" fmla="*/ 660724 h 1016771"/>
                    <a:gd name="connsiteX166" fmla="*/ 97426 w 761692"/>
                    <a:gd name="connsiteY166" fmla="*/ 650096 h 1016771"/>
                    <a:gd name="connsiteX167" fmla="*/ 102740 w 761692"/>
                    <a:gd name="connsiteY167" fmla="*/ 635925 h 1016771"/>
                    <a:gd name="connsiteX168" fmla="*/ 113368 w 761692"/>
                    <a:gd name="connsiteY168" fmla="*/ 625297 h 1016771"/>
                    <a:gd name="connsiteX169" fmla="*/ 115139 w 761692"/>
                    <a:gd name="connsiteY169" fmla="*/ 612897 h 1016771"/>
                    <a:gd name="connsiteX170" fmla="*/ 127539 w 761692"/>
                    <a:gd name="connsiteY170" fmla="*/ 609354 h 1016771"/>
                    <a:gd name="connsiteX171" fmla="*/ 136396 w 761692"/>
                    <a:gd name="connsiteY171" fmla="*/ 604040 h 1016771"/>
                    <a:gd name="connsiteX172" fmla="*/ 132853 w 761692"/>
                    <a:gd name="connsiteY172" fmla="*/ 593412 h 1016771"/>
                    <a:gd name="connsiteX173" fmla="*/ 134625 w 761692"/>
                    <a:gd name="connsiteY173" fmla="*/ 584555 h 1016771"/>
                    <a:gd name="connsiteX174" fmla="*/ 131082 w 761692"/>
                    <a:gd name="connsiteY174" fmla="*/ 575698 h 1016771"/>
                    <a:gd name="connsiteX175" fmla="*/ 120454 w 761692"/>
                    <a:gd name="connsiteY175" fmla="*/ 568613 h 1016771"/>
                    <a:gd name="connsiteX176" fmla="*/ 125768 w 761692"/>
                    <a:gd name="connsiteY176" fmla="*/ 552670 h 1016771"/>
                    <a:gd name="connsiteX177" fmla="*/ 118682 w 761692"/>
                    <a:gd name="connsiteY177" fmla="*/ 543813 h 1016771"/>
                    <a:gd name="connsiteX178" fmla="*/ 90340 w 761692"/>
                    <a:gd name="connsiteY178" fmla="*/ 543813 h 1016771"/>
                    <a:gd name="connsiteX179" fmla="*/ 86797 w 761692"/>
                    <a:gd name="connsiteY179" fmla="*/ 542042 h 1016771"/>
                    <a:gd name="connsiteX180" fmla="*/ 83255 w 761692"/>
                    <a:gd name="connsiteY180" fmla="*/ 542042 h 1016771"/>
                    <a:gd name="connsiteX181" fmla="*/ 81483 w 761692"/>
                    <a:gd name="connsiteY181" fmla="*/ 540271 h 1016771"/>
                    <a:gd name="connsiteX182" fmla="*/ 81483 w 761692"/>
                    <a:gd name="connsiteY182" fmla="*/ 536728 h 1016771"/>
                    <a:gd name="connsiteX183" fmla="*/ 79712 w 761692"/>
                    <a:gd name="connsiteY183" fmla="*/ 531414 h 1016771"/>
                    <a:gd name="connsiteX184" fmla="*/ 77941 w 761692"/>
                    <a:gd name="connsiteY184" fmla="*/ 529642 h 1016771"/>
                    <a:gd name="connsiteX185" fmla="*/ 70855 w 761692"/>
                    <a:gd name="connsiteY185" fmla="*/ 527871 h 1016771"/>
                    <a:gd name="connsiteX186" fmla="*/ 60227 w 761692"/>
                    <a:gd name="connsiteY186" fmla="*/ 536728 h 1016771"/>
                    <a:gd name="connsiteX187" fmla="*/ 47827 w 761692"/>
                    <a:gd name="connsiteY187" fmla="*/ 526100 h 1016771"/>
                    <a:gd name="connsiteX188" fmla="*/ 42513 w 761692"/>
                    <a:gd name="connsiteY188" fmla="*/ 515471 h 1016771"/>
                    <a:gd name="connsiteX189" fmla="*/ 33656 w 761692"/>
                    <a:gd name="connsiteY189" fmla="*/ 506614 h 1016771"/>
                    <a:gd name="connsiteX190" fmla="*/ 31885 w 761692"/>
                    <a:gd name="connsiteY190" fmla="*/ 490672 h 1016771"/>
                    <a:gd name="connsiteX191" fmla="*/ 26571 w 761692"/>
                    <a:gd name="connsiteY191" fmla="*/ 476501 h 1016771"/>
                    <a:gd name="connsiteX192" fmla="*/ 24799 w 761692"/>
                    <a:gd name="connsiteY192" fmla="*/ 471187 h 1016771"/>
                    <a:gd name="connsiteX193" fmla="*/ 12400 w 761692"/>
                    <a:gd name="connsiteY193" fmla="*/ 472958 h 1016771"/>
                    <a:gd name="connsiteX194" fmla="*/ 7086 w 761692"/>
                    <a:gd name="connsiteY194" fmla="*/ 464101 h 1016771"/>
                    <a:gd name="connsiteX195" fmla="*/ 8857 w 761692"/>
                    <a:gd name="connsiteY195" fmla="*/ 446388 h 1016771"/>
                    <a:gd name="connsiteX196" fmla="*/ 3543 w 761692"/>
                    <a:gd name="connsiteY196" fmla="*/ 435759 h 1016771"/>
                    <a:gd name="connsiteX197" fmla="*/ 5314 w 761692"/>
                    <a:gd name="connsiteY197" fmla="*/ 412731 h 1016771"/>
                    <a:gd name="connsiteX198" fmla="*/ 0 w 761692"/>
                    <a:gd name="connsiteY198" fmla="*/ 396789 h 1016771"/>
                    <a:gd name="connsiteX199" fmla="*/ 3543 w 761692"/>
                    <a:gd name="connsiteY199" fmla="*/ 384389 h 1016771"/>
                    <a:gd name="connsiteX200" fmla="*/ 14171 w 761692"/>
                    <a:gd name="connsiteY200" fmla="*/ 380846 h 1016771"/>
                    <a:gd name="connsiteX201" fmla="*/ 24799 w 761692"/>
                    <a:gd name="connsiteY201" fmla="*/ 364904 h 1016771"/>
                    <a:gd name="connsiteX202" fmla="*/ 30113 w 761692"/>
                    <a:gd name="connsiteY202" fmla="*/ 350733 h 1016771"/>
                    <a:gd name="connsiteX203" fmla="*/ 35428 w 761692"/>
                    <a:gd name="connsiteY203" fmla="*/ 341876 h 1016771"/>
                    <a:gd name="connsiteX204" fmla="*/ 42513 w 761692"/>
                    <a:gd name="connsiteY204" fmla="*/ 327705 h 1016771"/>
                    <a:gd name="connsiteX205" fmla="*/ 42513 w 761692"/>
                    <a:gd name="connsiteY205" fmla="*/ 315305 h 1016771"/>
                    <a:gd name="connsiteX206" fmla="*/ 56684 w 761692"/>
                    <a:gd name="connsiteY206" fmla="*/ 309991 h 1016771"/>
                    <a:gd name="connsiteX207" fmla="*/ 60227 w 761692"/>
                    <a:gd name="connsiteY207" fmla="*/ 309991 h 1016771"/>
                    <a:gd name="connsiteX208" fmla="*/ 61998 w 761692"/>
                    <a:gd name="connsiteY208" fmla="*/ 311763 h 1016771"/>
                    <a:gd name="connsiteX209" fmla="*/ 67312 w 761692"/>
                    <a:gd name="connsiteY209" fmla="*/ 311763 h 1016771"/>
                    <a:gd name="connsiteX210" fmla="*/ 67312 w 761692"/>
                    <a:gd name="connsiteY210" fmla="*/ 309991 h 1016771"/>
                    <a:gd name="connsiteX211" fmla="*/ 67312 w 761692"/>
                    <a:gd name="connsiteY211" fmla="*/ 308220 h 1016771"/>
                    <a:gd name="connsiteX212" fmla="*/ 69084 w 761692"/>
                    <a:gd name="connsiteY212" fmla="*/ 302906 h 1016771"/>
                    <a:gd name="connsiteX213" fmla="*/ 70855 w 761692"/>
                    <a:gd name="connsiteY213" fmla="*/ 301134 h 1016771"/>
                    <a:gd name="connsiteX214" fmla="*/ 70855 w 761692"/>
                    <a:gd name="connsiteY214" fmla="*/ 299363 h 1016771"/>
                    <a:gd name="connsiteX215" fmla="*/ 77941 w 761692"/>
                    <a:gd name="connsiteY215" fmla="*/ 295820 h 1016771"/>
                    <a:gd name="connsiteX216" fmla="*/ 85026 w 761692"/>
                    <a:gd name="connsiteY216" fmla="*/ 295820 h 1016771"/>
                    <a:gd name="connsiteX217" fmla="*/ 93883 w 761692"/>
                    <a:gd name="connsiteY217" fmla="*/ 297592 h 1016771"/>
                    <a:gd name="connsiteX218" fmla="*/ 100968 w 761692"/>
                    <a:gd name="connsiteY218" fmla="*/ 288735 h 1016771"/>
                    <a:gd name="connsiteX219" fmla="*/ 97426 w 761692"/>
                    <a:gd name="connsiteY219" fmla="*/ 279878 h 1016771"/>
                    <a:gd name="connsiteX220" fmla="*/ 85026 w 761692"/>
                    <a:gd name="connsiteY220" fmla="*/ 276335 h 1016771"/>
                    <a:gd name="connsiteX221" fmla="*/ 76169 w 761692"/>
                    <a:gd name="connsiteY221" fmla="*/ 271021 h 1016771"/>
                    <a:gd name="connsiteX222" fmla="*/ 76169 w 761692"/>
                    <a:gd name="connsiteY222" fmla="*/ 262164 h 1016771"/>
                    <a:gd name="connsiteX223" fmla="*/ 81483 w 761692"/>
                    <a:gd name="connsiteY223" fmla="*/ 251536 h 1016771"/>
                    <a:gd name="connsiteX224" fmla="*/ 86797 w 761692"/>
                    <a:gd name="connsiteY224" fmla="*/ 255079 h 1016771"/>
                    <a:gd name="connsiteX225" fmla="*/ 104511 w 761692"/>
                    <a:gd name="connsiteY225" fmla="*/ 262164 h 1016771"/>
                    <a:gd name="connsiteX226" fmla="*/ 116911 w 761692"/>
                    <a:gd name="connsiteY226" fmla="*/ 265707 h 1016771"/>
                    <a:gd name="connsiteX227" fmla="*/ 132853 w 761692"/>
                    <a:gd name="connsiteY227" fmla="*/ 269250 h 1016771"/>
                    <a:gd name="connsiteX228" fmla="*/ 138167 w 761692"/>
                    <a:gd name="connsiteY228" fmla="*/ 265707 h 1016771"/>
                    <a:gd name="connsiteX229" fmla="*/ 150567 w 761692"/>
                    <a:gd name="connsiteY229" fmla="*/ 255079 h 1016771"/>
                    <a:gd name="connsiteX230" fmla="*/ 166509 w 761692"/>
                    <a:gd name="connsiteY230" fmla="*/ 255079 h 1016771"/>
                    <a:gd name="connsiteX231" fmla="*/ 166509 w 761692"/>
                    <a:gd name="connsiteY231" fmla="*/ 265707 h 1016771"/>
                    <a:gd name="connsiteX232" fmla="*/ 177138 w 761692"/>
                    <a:gd name="connsiteY232" fmla="*/ 272792 h 1016771"/>
                    <a:gd name="connsiteX233" fmla="*/ 194851 w 761692"/>
                    <a:gd name="connsiteY233" fmla="*/ 276335 h 1016771"/>
                    <a:gd name="connsiteX234" fmla="*/ 209022 w 761692"/>
                    <a:gd name="connsiteY234" fmla="*/ 279878 h 1016771"/>
                    <a:gd name="connsiteX235" fmla="*/ 221422 w 761692"/>
                    <a:gd name="connsiteY235" fmla="*/ 276335 h 1016771"/>
                    <a:gd name="connsiteX236" fmla="*/ 226736 w 761692"/>
                    <a:gd name="connsiteY236" fmla="*/ 269250 h 1016771"/>
                    <a:gd name="connsiteX237" fmla="*/ 226736 w 761692"/>
                    <a:gd name="connsiteY237" fmla="*/ 251536 h 1016771"/>
                    <a:gd name="connsiteX238" fmla="*/ 224965 w 761692"/>
                    <a:gd name="connsiteY238" fmla="*/ 239136 h 1016771"/>
                    <a:gd name="connsiteX239" fmla="*/ 214337 w 761692"/>
                    <a:gd name="connsiteY239" fmla="*/ 230279 h 1016771"/>
                    <a:gd name="connsiteX240" fmla="*/ 210794 w 761692"/>
                    <a:gd name="connsiteY240" fmla="*/ 217880 h 1016771"/>
                    <a:gd name="connsiteX241" fmla="*/ 221422 w 761692"/>
                    <a:gd name="connsiteY241" fmla="*/ 207251 h 1016771"/>
                    <a:gd name="connsiteX242" fmla="*/ 235593 w 761692"/>
                    <a:gd name="connsiteY242" fmla="*/ 214337 h 1016771"/>
                    <a:gd name="connsiteX243" fmla="*/ 246221 w 761692"/>
                    <a:gd name="connsiteY243" fmla="*/ 219651 h 1016771"/>
                    <a:gd name="connsiteX244" fmla="*/ 253307 w 761692"/>
                    <a:gd name="connsiteY244" fmla="*/ 221422 h 1016771"/>
                    <a:gd name="connsiteX245" fmla="*/ 262164 w 761692"/>
                    <a:gd name="connsiteY245" fmla="*/ 210794 h 1016771"/>
                    <a:gd name="connsiteX246" fmla="*/ 263935 w 761692"/>
                    <a:gd name="connsiteY246" fmla="*/ 201937 h 1016771"/>
                    <a:gd name="connsiteX247" fmla="*/ 274563 w 761692"/>
                    <a:gd name="connsiteY247" fmla="*/ 189538 h 1016771"/>
                    <a:gd name="connsiteX248" fmla="*/ 283420 w 761692"/>
                    <a:gd name="connsiteY248" fmla="*/ 178909 h 1016771"/>
                    <a:gd name="connsiteX249" fmla="*/ 286963 w 761692"/>
                    <a:gd name="connsiteY249" fmla="*/ 173595 h 1016771"/>
                    <a:gd name="connsiteX250" fmla="*/ 311762 w 761692"/>
                    <a:gd name="connsiteY250" fmla="*/ 168281 h 1016771"/>
                    <a:gd name="connsiteX251" fmla="*/ 325933 w 761692"/>
                    <a:gd name="connsiteY251" fmla="*/ 164738 h 1016771"/>
                    <a:gd name="connsiteX252" fmla="*/ 336562 w 761692"/>
                    <a:gd name="connsiteY252" fmla="*/ 159424 h 1016771"/>
                    <a:gd name="connsiteX253" fmla="*/ 348961 w 761692"/>
                    <a:gd name="connsiteY253" fmla="*/ 145253 h 1016771"/>
                    <a:gd name="connsiteX254" fmla="*/ 359589 w 761692"/>
                    <a:gd name="connsiteY254" fmla="*/ 143482 h 1016771"/>
                    <a:gd name="connsiteX255" fmla="*/ 371989 w 761692"/>
                    <a:gd name="connsiteY255" fmla="*/ 143482 h 1016771"/>
                    <a:gd name="connsiteX256" fmla="*/ 391474 w 761692"/>
                    <a:gd name="connsiteY256" fmla="*/ 143482 h 1016771"/>
                    <a:gd name="connsiteX257" fmla="*/ 396788 w 761692"/>
                    <a:gd name="connsiteY257" fmla="*/ 141710 h 1016771"/>
                    <a:gd name="connsiteX258" fmla="*/ 403874 w 761692"/>
                    <a:gd name="connsiteY258" fmla="*/ 134625 h 1016771"/>
                    <a:gd name="connsiteX259" fmla="*/ 409188 w 761692"/>
                    <a:gd name="connsiteY259" fmla="*/ 129311 h 1016771"/>
                    <a:gd name="connsiteX260" fmla="*/ 409188 w 761692"/>
                    <a:gd name="connsiteY260" fmla="*/ 123997 h 1016771"/>
                    <a:gd name="connsiteX261" fmla="*/ 414502 w 761692"/>
                    <a:gd name="connsiteY261" fmla="*/ 115140 h 1016771"/>
                    <a:gd name="connsiteX262" fmla="*/ 428673 w 761692"/>
                    <a:gd name="connsiteY262" fmla="*/ 115140 h 1016771"/>
                    <a:gd name="connsiteX263" fmla="*/ 432216 w 761692"/>
                    <a:gd name="connsiteY263" fmla="*/ 109826 h 1016771"/>
                    <a:gd name="connsiteX264" fmla="*/ 437530 w 761692"/>
                    <a:gd name="connsiteY264" fmla="*/ 100969 h 1016771"/>
                    <a:gd name="connsiteX265" fmla="*/ 448158 w 761692"/>
                    <a:gd name="connsiteY265" fmla="*/ 99197 h 1016771"/>
                    <a:gd name="connsiteX266" fmla="*/ 460558 w 761692"/>
                    <a:gd name="connsiteY266" fmla="*/ 97426 h 1016771"/>
                    <a:gd name="connsiteX267" fmla="*/ 472958 w 761692"/>
                    <a:gd name="connsiteY267" fmla="*/ 93883 h 1016771"/>
                    <a:gd name="connsiteX268" fmla="*/ 492443 w 761692"/>
                    <a:gd name="connsiteY268" fmla="*/ 93883 h 1016771"/>
                    <a:gd name="connsiteX269" fmla="*/ 501300 w 761692"/>
                    <a:gd name="connsiteY269" fmla="*/ 83255 h 1016771"/>
                    <a:gd name="connsiteX270" fmla="*/ 517242 w 761692"/>
                    <a:gd name="connsiteY270" fmla="*/ 81484 h 1016771"/>
                    <a:gd name="connsiteX271" fmla="*/ 522556 w 761692"/>
                    <a:gd name="connsiteY271" fmla="*/ 81484 h 1016771"/>
                    <a:gd name="connsiteX272" fmla="*/ 522556 w 761692"/>
                    <a:gd name="connsiteY272" fmla="*/ 60227 h 1016771"/>
                    <a:gd name="connsiteX273" fmla="*/ 526099 w 761692"/>
                    <a:gd name="connsiteY273" fmla="*/ 54913 h 1016771"/>
                    <a:gd name="connsiteX274" fmla="*/ 529642 w 761692"/>
                    <a:gd name="connsiteY274" fmla="*/ 46056 h 1016771"/>
                    <a:gd name="connsiteX275" fmla="*/ 538499 w 761692"/>
                    <a:gd name="connsiteY275" fmla="*/ 40742 h 1016771"/>
                    <a:gd name="connsiteX276" fmla="*/ 540270 w 761692"/>
                    <a:gd name="connsiteY276" fmla="*/ 30114 h 1016771"/>
                    <a:gd name="connsiteX277" fmla="*/ 536727 w 761692"/>
                    <a:gd name="connsiteY277" fmla="*/ 19485 h 1016771"/>
                    <a:gd name="connsiteX278" fmla="*/ 543813 w 761692"/>
                    <a:gd name="connsiteY278" fmla="*/ 5314 h 1016771"/>
                    <a:gd name="connsiteX279" fmla="*/ 554441 w 761692"/>
                    <a:gd name="connsiteY279" fmla="*/ 0 h 1016771"/>
                    <a:gd name="connsiteX0" fmla="*/ 116476 w 761692"/>
                    <a:gd name="connsiteY0" fmla="*/ 741349 h 1016771"/>
                    <a:gd name="connsiteX1" fmla="*/ 117606 w 761692"/>
                    <a:gd name="connsiteY1" fmla="*/ 742253 h 1016771"/>
                    <a:gd name="connsiteX2" fmla="*/ 122692 w 761692"/>
                    <a:gd name="connsiteY2" fmla="*/ 759206 h 1016771"/>
                    <a:gd name="connsiteX3" fmla="*/ 116476 w 761692"/>
                    <a:gd name="connsiteY3" fmla="*/ 741349 h 1016771"/>
                    <a:gd name="connsiteX4" fmla="*/ 554441 w 761692"/>
                    <a:gd name="connsiteY4" fmla="*/ 0 h 1016771"/>
                    <a:gd name="connsiteX5" fmla="*/ 570383 w 761692"/>
                    <a:gd name="connsiteY5" fmla="*/ 3543 h 1016771"/>
                    <a:gd name="connsiteX6" fmla="*/ 577469 w 761692"/>
                    <a:gd name="connsiteY6" fmla="*/ 8857 h 1016771"/>
                    <a:gd name="connsiteX7" fmla="*/ 582783 w 761692"/>
                    <a:gd name="connsiteY7" fmla="*/ 17714 h 1016771"/>
                    <a:gd name="connsiteX8" fmla="*/ 582783 w 761692"/>
                    <a:gd name="connsiteY8" fmla="*/ 24799 h 1016771"/>
                    <a:gd name="connsiteX9" fmla="*/ 588097 w 761692"/>
                    <a:gd name="connsiteY9" fmla="*/ 33656 h 1016771"/>
                    <a:gd name="connsiteX10" fmla="*/ 598725 w 761692"/>
                    <a:gd name="connsiteY10" fmla="*/ 31885 h 1016771"/>
                    <a:gd name="connsiteX11" fmla="*/ 612896 w 761692"/>
                    <a:gd name="connsiteY11" fmla="*/ 37199 h 1016771"/>
                    <a:gd name="connsiteX12" fmla="*/ 618211 w 761692"/>
                    <a:gd name="connsiteY12" fmla="*/ 46056 h 1016771"/>
                    <a:gd name="connsiteX13" fmla="*/ 619982 w 761692"/>
                    <a:gd name="connsiteY13" fmla="*/ 54913 h 1016771"/>
                    <a:gd name="connsiteX14" fmla="*/ 618211 w 761692"/>
                    <a:gd name="connsiteY14" fmla="*/ 74398 h 1016771"/>
                    <a:gd name="connsiteX15" fmla="*/ 616439 w 761692"/>
                    <a:gd name="connsiteY15" fmla="*/ 85026 h 1016771"/>
                    <a:gd name="connsiteX16" fmla="*/ 621753 w 761692"/>
                    <a:gd name="connsiteY16" fmla="*/ 97426 h 1016771"/>
                    <a:gd name="connsiteX17" fmla="*/ 637696 w 761692"/>
                    <a:gd name="connsiteY17" fmla="*/ 113368 h 1016771"/>
                    <a:gd name="connsiteX18" fmla="*/ 644781 w 761692"/>
                    <a:gd name="connsiteY18" fmla="*/ 120454 h 1016771"/>
                    <a:gd name="connsiteX19" fmla="*/ 650095 w 761692"/>
                    <a:gd name="connsiteY19" fmla="*/ 136396 h 1016771"/>
                    <a:gd name="connsiteX20" fmla="*/ 655409 w 761692"/>
                    <a:gd name="connsiteY20" fmla="*/ 155881 h 1016771"/>
                    <a:gd name="connsiteX21" fmla="*/ 662495 w 761692"/>
                    <a:gd name="connsiteY21" fmla="*/ 171824 h 1016771"/>
                    <a:gd name="connsiteX22" fmla="*/ 660724 w 761692"/>
                    <a:gd name="connsiteY22" fmla="*/ 185995 h 1016771"/>
                    <a:gd name="connsiteX23" fmla="*/ 635924 w 761692"/>
                    <a:gd name="connsiteY23" fmla="*/ 194852 h 1016771"/>
                    <a:gd name="connsiteX24" fmla="*/ 619982 w 761692"/>
                    <a:gd name="connsiteY24" fmla="*/ 207251 h 1016771"/>
                    <a:gd name="connsiteX25" fmla="*/ 614668 w 761692"/>
                    <a:gd name="connsiteY25" fmla="*/ 223194 h 1016771"/>
                    <a:gd name="connsiteX26" fmla="*/ 618211 w 761692"/>
                    <a:gd name="connsiteY26" fmla="*/ 242679 h 1016771"/>
                    <a:gd name="connsiteX27" fmla="*/ 612896 w 761692"/>
                    <a:gd name="connsiteY27" fmla="*/ 256850 h 1016771"/>
                    <a:gd name="connsiteX28" fmla="*/ 625296 w 761692"/>
                    <a:gd name="connsiteY28" fmla="*/ 267478 h 1016771"/>
                    <a:gd name="connsiteX29" fmla="*/ 641238 w 761692"/>
                    <a:gd name="connsiteY29" fmla="*/ 269250 h 1016771"/>
                    <a:gd name="connsiteX30" fmla="*/ 658952 w 761692"/>
                    <a:gd name="connsiteY30" fmla="*/ 286963 h 1016771"/>
                    <a:gd name="connsiteX31" fmla="*/ 653638 w 761692"/>
                    <a:gd name="connsiteY31" fmla="*/ 309991 h 1016771"/>
                    <a:gd name="connsiteX32" fmla="*/ 653638 w 761692"/>
                    <a:gd name="connsiteY32" fmla="*/ 329476 h 1016771"/>
                    <a:gd name="connsiteX33" fmla="*/ 643010 w 761692"/>
                    <a:gd name="connsiteY33" fmla="*/ 338333 h 1016771"/>
                    <a:gd name="connsiteX34" fmla="*/ 632382 w 761692"/>
                    <a:gd name="connsiteY34" fmla="*/ 338333 h 1016771"/>
                    <a:gd name="connsiteX35" fmla="*/ 618211 w 761692"/>
                    <a:gd name="connsiteY35" fmla="*/ 357819 h 1016771"/>
                    <a:gd name="connsiteX36" fmla="*/ 609354 w 761692"/>
                    <a:gd name="connsiteY36" fmla="*/ 361361 h 1016771"/>
                    <a:gd name="connsiteX37" fmla="*/ 596954 w 761692"/>
                    <a:gd name="connsiteY37" fmla="*/ 363133 h 1016771"/>
                    <a:gd name="connsiteX38" fmla="*/ 581012 w 761692"/>
                    <a:gd name="connsiteY38" fmla="*/ 379075 h 1016771"/>
                    <a:gd name="connsiteX39" fmla="*/ 589868 w 761692"/>
                    <a:gd name="connsiteY39" fmla="*/ 393246 h 1016771"/>
                    <a:gd name="connsiteX40" fmla="*/ 586326 w 761692"/>
                    <a:gd name="connsiteY40" fmla="*/ 409189 h 1016771"/>
                    <a:gd name="connsiteX41" fmla="*/ 570383 w 761692"/>
                    <a:gd name="connsiteY41" fmla="*/ 398560 h 1016771"/>
                    <a:gd name="connsiteX42" fmla="*/ 550898 w 761692"/>
                    <a:gd name="connsiteY42" fmla="*/ 405646 h 1016771"/>
                    <a:gd name="connsiteX43" fmla="*/ 531413 w 761692"/>
                    <a:gd name="connsiteY43" fmla="*/ 425131 h 1016771"/>
                    <a:gd name="connsiteX44" fmla="*/ 543813 w 761692"/>
                    <a:gd name="connsiteY44" fmla="*/ 444616 h 1016771"/>
                    <a:gd name="connsiteX45" fmla="*/ 557984 w 761692"/>
                    <a:gd name="connsiteY45" fmla="*/ 462330 h 1016771"/>
                    <a:gd name="connsiteX46" fmla="*/ 570383 w 761692"/>
                    <a:gd name="connsiteY46" fmla="*/ 478272 h 1016771"/>
                    <a:gd name="connsiteX47" fmla="*/ 579240 w 761692"/>
                    <a:gd name="connsiteY47" fmla="*/ 485358 h 1016771"/>
                    <a:gd name="connsiteX48" fmla="*/ 602268 w 761692"/>
                    <a:gd name="connsiteY48" fmla="*/ 483586 h 1016771"/>
                    <a:gd name="connsiteX49" fmla="*/ 623525 w 761692"/>
                    <a:gd name="connsiteY49" fmla="*/ 474730 h 1016771"/>
                    <a:gd name="connsiteX50" fmla="*/ 639467 w 761692"/>
                    <a:gd name="connsiteY50" fmla="*/ 464101 h 1016771"/>
                    <a:gd name="connsiteX51" fmla="*/ 662495 w 761692"/>
                    <a:gd name="connsiteY51" fmla="*/ 464101 h 1016771"/>
                    <a:gd name="connsiteX52" fmla="*/ 673123 w 761692"/>
                    <a:gd name="connsiteY52" fmla="*/ 464101 h 1016771"/>
                    <a:gd name="connsiteX53" fmla="*/ 681980 w 761692"/>
                    <a:gd name="connsiteY53" fmla="*/ 467644 h 1016771"/>
                    <a:gd name="connsiteX54" fmla="*/ 703237 w 761692"/>
                    <a:gd name="connsiteY54" fmla="*/ 471187 h 1016771"/>
                    <a:gd name="connsiteX55" fmla="*/ 708551 w 761692"/>
                    <a:gd name="connsiteY55" fmla="*/ 474730 h 1016771"/>
                    <a:gd name="connsiteX56" fmla="*/ 722722 w 761692"/>
                    <a:gd name="connsiteY56" fmla="*/ 501300 h 1016771"/>
                    <a:gd name="connsiteX57" fmla="*/ 724493 w 761692"/>
                    <a:gd name="connsiteY57" fmla="*/ 522557 h 1016771"/>
                    <a:gd name="connsiteX58" fmla="*/ 722722 w 761692"/>
                    <a:gd name="connsiteY58" fmla="*/ 540271 h 1016771"/>
                    <a:gd name="connsiteX59" fmla="*/ 735121 w 761692"/>
                    <a:gd name="connsiteY59" fmla="*/ 552670 h 1016771"/>
                    <a:gd name="connsiteX60" fmla="*/ 735121 w 761692"/>
                    <a:gd name="connsiteY60" fmla="*/ 570384 h 1016771"/>
                    <a:gd name="connsiteX61" fmla="*/ 751064 w 761692"/>
                    <a:gd name="connsiteY61" fmla="*/ 581012 h 1016771"/>
                    <a:gd name="connsiteX62" fmla="*/ 761692 w 761692"/>
                    <a:gd name="connsiteY62" fmla="*/ 604040 h 1016771"/>
                    <a:gd name="connsiteX63" fmla="*/ 747521 w 761692"/>
                    <a:gd name="connsiteY63" fmla="*/ 616440 h 1016771"/>
                    <a:gd name="connsiteX64" fmla="*/ 728036 w 761692"/>
                    <a:gd name="connsiteY64" fmla="*/ 627068 h 1016771"/>
                    <a:gd name="connsiteX65" fmla="*/ 726264 w 761692"/>
                    <a:gd name="connsiteY65" fmla="*/ 650096 h 1016771"/>
                    <a:gd name="connsiteX66" fmla="*/ 728036 w 761692"/>
                    <a:gd name="connsiteY66" fmla="*/ 673124 h 1016771"/>
                    <a:gd name="connsiteX67" fmla="*/ 742207 w 761692"/>
                    <a:gd name="connsiteY67" fmla="*/ 689066 h 1016771"/>
                    <a:gd name="connsiteX68" fmla="*/ 742207 w 761692"/>
                    <a:gd name="connsiteY68" fmla="*/ 712094 h 1016771"/>
                    <a:gd name="connsiteX69" fmla="*/ 740435 w 761692"/>
                    <a:gd name="connsiteY69" fmla="*/ 735122 h 1016771"/>
                    <a:gd name="connsiteX70" fmla="*/ 742207 w 761692"/>
                    <a:gd name="connsiteY70" fmla="*/ 751065 h 1016771"/>
                    <a:gd name="connsiteX71" fmla="*/ 747521 w 761692"/>
                    <a:gd name="connsiteY71" fmla="*/ 768778 h 1016771"/>
                    <a:gd name="connsiteX72" fmla="*/ 759921 w 761692"/>
                    <a:gd name="connsiteY72" fmla="*/ 777635 h 1016771"/>
                    <a:gd name="connsiteX73" fmla="*/ 758149 w 761692"/>
                    <a:gd name="connsiteY73" fmla="*/ 802434 h 1016771"/>
                    <a:gd name="connsiteX74" fmla="*/ 752835 w 761692"/>
                    <a:gd name="connsiteY74" fmla="*/ 814834 h 1016771"/>
                    <a:gd name="connsiteX75" fmla="*/ 743978 w 761692"/>
                    <a:gd name="connsiteY75" fmla="*/ 827234 h 1016771"/>
                    <a:gd name="connsiteX76" fmla="*/ 743978 w 761692"/>
                    <a:gd name="connsiteY76" fmla="*/ 837862 h 1016771"/>
                    <a:gd name="connsiteX77" fmla="*/ 747521 w 761692"/>
                    <a:gd name="connsiteY77" fmla="*/ 853804 h 1016771"/>
                    <a:gd name="connsiteX78" fmla="*/ 733350 w 761692"/>
                    <a:gd name="connsiteY78" fmla="*/ 867975 h 1016771"/>
                    <a:gd name="connsiteX79" fmla="*/ 724493 w 761692"/>
                    <a:gd name="connsiteY79" fmla="*/ 880375 h 1016771"/>
                    <a:gd name="connsiteX80" fmla="*/ 722722 w 761692"/>
                    <a:gd name="connsiteY80" fmla="*/ 899860 h 1016771"/>
                    <a:gd name="connsiteX81" fmla="*/ 722722 w 761692"/>
                    <a:gd name="connsiteY81" fmla="*/ 919345 h 1016771"/>
                    <a:gd name="connsiteX82" fmla="*/ 715636 w 761692"/>
                    <a:gd name="connsiteY82" fmla="*/ 940602 h 1016771"/>
                    <a:gd name="connsiteX83" fmla="*/ 708551 w 761692"/>
                    <a:gd name="connsiteY83" fmla="*/ 954773 h 1016771"/>
                    <a:gd name="connsiteX84" fmla="*/ 699694 w 761692"/>
                    <a:gd name="connsiteY84" fmla="*/ 965401 h 1016771"/>
                    <a:gd name="connsiteX85" fmla="*/ 692608 w 761692"/>
                    <a:gd name="connsiteY85" fmla="*/ 984886 h 1016771"/>
                    <a:gd name="connsiteX86" fmla="*/ 683751 w 761692"/>
                    <a:gd name="connsiteY86" fmla="*/ 997286 h 1016771"/>
                    <a:gd name="connsiteX87" fmla="*/ 673123 w 761692"/>
                    <a:gd name="connsiteY87" fmla="*/ 1002600 h 1016771"/>
                    <a:gd name="connsiteX88" fmla="*/ 662495 w 761692"/>
                    <a:gd name="connsiteY88" fmla="*/ 1013228 h 1016771"/>
                    <a:gd name="connsiteX89" fmla="*/ 644781 w 761692"/>
                    <a:gd name="connsiteY89" fmla="*/ 1016771 h 1016771"/>
                    <a:gd name="connsiteX90" fmla="*/ 635924 w 761692"/>
                    <a:gd name="connsiteY90" fmla="*/ 1004372 h 1016771"/>
                    <a:gd name="connsiteX91" fmla="*/ 623525 w 761692"/>
                    <a:gd name="connsiteY91" fmla="*/ 997286 h 1016771"/>
                    <a:gd name="connsiteX92" fmla="*/ 614668 w 761692"/>
                    <a:gd name="connsiteY92" fmla="*/ 986658 h 1016771"/>
                    <a:gd name="connsiteX93" fmla="*/ 593411 w 761692"/>
                    <a:gd name="connsiteY93" fmla="*/ 970715 h 1016771"/>
                    <a:gd name="connsiteX94" fmla="*/ 582783 w 761692"/>
                    <a:gd name="connsiteY94" fmla="*/ 965401 h 1016771"/>
                    <a:gd name="connsiteX95" fmla="*/ 531413 w 761692"/>
                    <a:gd name="connsiteY95" fmla="*/ 965401 h 1016771"/>
                    <a:gd name="connsiteX96" fmla="*/ 511928 w 761692"/>
                    <a:gd name="connsiteY96" fmla="*/ 965401 h 1016771"/>
                    <a:gd name="connsiteX97" fmla="*/ 492443 w 761692"/>
                    <a:gd name="connsiteY97" fmla="*/ 963630 h 1016771"/>
                    <a:gd name="connsiteX98" fmla="*/ 483586 w 761692"/>
                    <a:gd name="connsiteY98" fmla="*/ 958316 h 1016771"/>
                    <a:gd name="connsiteX99" fmla="*/ 469415 w 761692"/>
                    <a:gd name="connsiteY99" fmla="*/ 954773 h 1016771"/>
                    <a:gd name="connsiteX100" fmla="*/ 460558 w 761692"/>
                    <a:gd name="connsiteY100" fmla="*/ 942373 h 1016771"/>
                    <a:gd name="connsiteX101" fmla="*/ 446387 w 761692"/>
                    <a:gd name="connsiteY101" fmla="*/ 935288 h 1016771"/>
                    <a:gd name="connsiteX102" fmla="*/ 428673 w 761692"/>
                    <a:gd name="connsiteY102" fmla="*/ 928202 h 1016771"/>
                    <a:gd name="connsiteX103" fmla="*/ 418045 w 761692"/>
                    <a:gd name="connsiteY103" fmla="*/ 917574 h 1016771"/>
                    <a:gd name="connsiteX104" fmla="*/ 421588 w 761692"/>
                    <a:gd name="connsiteY104" fmla="*/ 903403 h 1016771"/>
                    <a:gd name="connsiteX105" fmla="*/ 418045 w 761692"/>
                    <a:gd name="connsiteY105" fmla="*/ 898089 h 1016771"/>
                    <a:gd name="connsiteX106" fmla="*/ 396788 w 761692"/>
                    <a:gd name="connsiteY106" fmla="*/ 898089 h 1016771"/>
                    <a:gd name="connsiteX107" fmla="*/ 382617 w 761692"/>
                    <a:gd name="connsiteY107" fmla="*/ 896318 h 1016771"/>
                    <a:gd name="connsiteX108" fmla="*/ 380846 w 761692"/>
                    <a:gd name="connsiteY108" fmla="*/ 906946 h 1016771"/>
                    <a:gd name="connsiteX109" fmla="*/ 373601 w 761692"/>
                    <a:gd name="connsiteY109" fmla="*/ 894832 h 1016771"/>
                    <a:gd name="connsiteX110" fmla="*/ 387164 w 761692"/>
                    <a:gd name="connsiteY110" fmla="*/ 896527 h 1016771"/>
                    <a:gd name="connsiteX111" fmla="*/ 383773 w 761692"/>
                    <a:gd name="connsiteY111" fmla="*/ 886355 h 1016771"/>
                    <a:gd name="connsiteX112" fmla="*/ 387164 w 761692"/>
                    <a:gd name="connsiteY112" fmla="*/ 876183 h 1016771"/>
                    <a:gd name="connsiteX113" fmla="*/ 388859 w 761692"/>
                    <a:gd name="connsiteY113" fmla="*/ 867707 h 1016771"/>
                    <a:gd name="connsiteX114" fmla="*/ 380382 w 761692"/>
                    <a:gd name="connsiteY114" fmla="*/ 859230 h 1016771"/>
                    <a:gd name="connsiteX115" fmla="*/ 373601 w 761692"/>
                    <a:gd name="connsiteY115" fmla="*/ 849058 h 1016771"/>
                    <a:gd name="connsiteX116" fmla="*/ 380382 w 761692"/>
                    <a:gd name="connsiteY116" fmla="*/ 838886 h 1016771"/>
                    <a:gd name="connsiteX117" fmla="*/ 383773 w 761692"/>
                    <a:gd name="connsiteY117" fmla="*/ 833800 h 1016771"/>
                    <a:gd name="connsiteX118" fmla="*/ 388859 w 761692"/>
                    <a:gd name="connsiteY118" fmla="*/ 825324 h 1016771"/>
                    <a:gd name="connsiteX119" fmla="*/ 387164 w 761692"/>
                    <a:gd name="connsiteY119" fmla="*/ 810066 h 1016771"/>
                    <a:gd name="connsiteX120" fmla="*/ 387164 w 761692"/>
                    <a:gd name="connsiteY120" fmla="*/ 796503 h 1016771"/>
                    <a:gd name="connsiteX121" fmla="*/ 378687 w 761692"/>
                    <a:gd name="connsiteY121" fmla="*/ 789722 h 1016771"/>
                    <a:gd name="connsiteX122" fmla="*/ 366820 w 761692"/>
                    <a:gd name="connsiteY122" fmla="*/ 782940 h 1016771"/>
                    <a:gd name="connsiteX123" fmla="*/ 356648 w 761692"/>
                    <a:gd name="connsiteY123" fmla="*/ 781245 h 1016771"/>
                    <a:gd name="connsiteX124" fmla="*/ 349866 w 761692"/>
                    <a:gd name="connsiteY124" fmla="*/ 771073 h 1016771"/>
                    <a:gd name="connsiteX125" fmla="*/ 349866 w 761692"/>
                    <a:gd name="connsiteY125" fmla="*/ 752425 h 1016771"/>
                    <a:gd name="connsiteX126" fmla="*/ 353257 w 761692"/>
                    <a:gd name="connsiteY126" fmla="*/ 743948 h 1016771"/>
                    <a:gd name="connsiteX127" fmla="*/ 354952 w 761692"/>
                    <a:gd name="connsiteY127" fmla="*/ 730385 h 1016771"/>
                    <a:gd name="connsiteX128" fmla="*/ 353257 w 761692"/>
                    <a:gd name="connsiteY128" fmla="*/ 713432 h 1016771"/>
                    <a:gd name="connsiteX129" fmla="*/ 346476 w 761692"/>
                    <a:gd name="connsiteY129" fmla="*/ 701565 h 1016771"/>
                    <a:gd name="connsiteX130" fmla="*/ 332913 w 761692"/>
                    <a:gd name="connsiteY130" fmla="*/ 689697 h 1016771"/>
                    <a:gd name="connsiteX131" fmla="*/ 324436 w 761692"/>
                    <a:gd name="connsiteY131" fmla="*/ 681221 h 1016771"/>
                    <a:gd name="connsiteX132" fmla="*/ 314264 w 761692"/>
                    <a:gd name="connsiteY132" fmla="*/ 676135 h 1016771"/>
                    <a:gd name="connsiteX133" fmla="*/ 293920 w 761692"/>
                    <a:gd name="connsiteY133" fmla="*/ 669354 h 1016771"/>
                    <a:gd name="connsiteX134" fmla="*/ 282053 w 761692"/>
                    <a:gd name="connsiteY134" fmla="*/ 667658 h 1016771"/>
                    <a:gd name="connsiteX135" fmla="*/ 266795 w 761692"/>
                    <a:gd name="connsiteY135" fmla="*/ 672744 h 1016771"/>
                    <a:gd name="connsiteX136" fmla="*/ 265100 w 761692"/>
                    <a:gd name="connsiteY136" fmla="*/ 672744 h 1016771"/>
                    <a:gd name="connsiteX137" fmla="*/ 263404 w 761692"/>
                    <a:gd name="connsiteY137" fmla="*/ 671049 h 1016771"/>
                    <a:gd name="connsiteX138" fmla="*/ 260014 w 761692"/>
                    <a:gd name="connsiteY138" fmla="*/ 671049 h 1016771"/>
                    <a:gd name="connsiteX139" fmla="*/ 258318 w 761692"/>
                    <a:gd name="connsiteY139" fmla="*/ 671049 h 1016771"/>
                    <a:gd name="connsiteX140" fmla="*/ 253232 w 761692"/>
                    <a:gd name="connsiteY140" fmla="*/ 671049 h 1016771"/>
                    <a:gd name="connsiteX141" fmla="*/ 248146 w 761692"/>
                    <a:gd name="connsiteY141" fmla="*/ 672744 h 1016771"/>
                    <a:gd name="connsiteX142" fmla="*/ 248146 w 761692"/>
                    <a:gd name="connsiteY142" fmla="*/ 674440 h 1016771"/>
                    <a:gd name="connsiteX143" fmla="*/ 246451 w 761692"/>
                    <a:gd name="connsiteY143" fmla="*/ 674440 h 1016771"/>
                    <a:gd name="connsiteX144" fmla="*/ 236279 w 761692"/>
                    <a:gd name="connsiteY144" fmla="*/ 679526 h 1016771"/>
                    <a:gd name="connsiteX145" fmla="*/ 226107 w 761692"/>
                    <a:gd name="connsiteY145" fmla="*/ 684612 h 1016771"/>
                    <a:gd name="connsiteX146" fmla="*/ 217630 w 761692"/>
                    <a:gd name="connsiteY146" fmla="*/ 684612 h 1016771"/>
                    <a:gd name="connsiteX147" fmla="*/ 207458 w 761692"/>
                    <a:gd name="connsiteY147" fmla="*/ 693088 h 1016771"/>
                    <a:gd name="connsiteX148" fmla="*/ 198982 w 761692"/>
                    <a:gd name="connsiteY148" fmla="*/ 694783 h 1016771"/>
                    <a:gd name="connsiteX149" fmla="*/ 192200 w 761692"/>
                    <a:gd name="connsiteY149" fmla="*/ 699869 h 1016771"/>
                    <a:gd name="connsiteX150" fmla="*/ 178638 w 761692"/>
                    <a:gd name="connsiteY150" fmla="*/ 706651 h 1016771"/>
                    <a:gd name="connsiteX151" fmla="*/ 163380 w 761692"/>
                    <a:gd name="connsiteY151" fmla="*/ 710041 h 1016771"/>
                    <a:gd name="connsiteX152" fmla="*/ 141340 w 761692"/>
                    <a:gd name="connsiteY152" fmla="*/ 710041 h 1016771"/>
                    <a:gd name="connsiteX153" fmla="*/ 134559 w 761692"/>
                    <a:gd name="connsiteY153" fmla="*/ 716823 h 1016771"/>
                    <a:gd name="connsiteX154" fmla="*/ 127778 w 761692"/>
                    <a:gd name="connsiteY154" fmla="*/ 718518 h 1016771"/>
                    <a:gd name="connsiteX155" fmla="*/ 120996 w 761692"/>
                    <a:gd name="connsiteY155" fmla="*/ 725299 h 1016771"/>
                    <a:gd name="connsiteX156" fmla="*/ 111172 w 761692"/>
                    <a:gd name="connsiteY156" fmla="*/ 733720 h 1016771"/>
                    <a:gd name="connsiteX157" fmla="*/ 106283 w 761692"/>
                    <a:gd name="connsiteY157" fmla="*/ 729808 h 1016771"/>
                    <a:gd name="connsiteX158" fmla="*/ 92112 w 761692"/>
                    <a:gd name="connsiteY158" fmla="*/ 724494 h 1016771"/>
                    <a:gd name="connsiteX159" fmla="*/ 77941 w 761692"/>
                    <a:gd name="connsiteY159" fmla="*/ 726265 h 1016771"/>
                    <a:gd name="connsiteX160" fmla="*/ 70855 w 761692"/>
                    <a:gd name="connsiteY160" fmla="*/ 719180 h 1016771"/>
                    <a:gd name="connsiteX161" fmla="*/ 70855 w 761692"/>
                    <a:gd name="connsiteY161" fmla="*/ 699695 h 1016771"/>
                    <a:gd name="connsiteX162" fmla="*/ 81483 w 761692"/>
                    <a:gd name="connsiteY162" fmla="*/ 685524 h 1016771"/>
                    <a:gd name="connsiteX163" fmla="*/ 85026 w 761692"/>
                    <a:gd name="connsiteY163" fmla="*/ 673124 h 1016771"/>
                    <a:gd name="connsiteX164" fmla="*/ 86797 w 761692"/>
                    <a:gd name="connsiteY164" fmla="*/ 660724 h 1016771"/>
                    <a:gd name="connsiteX165" fmla="*/ 97426 w 761692"/>
                    <a:gd name="connsiteY165" fmla="*/ 650096 h 1016771"/>
                    <a:gd name="connsiteX166" fmla="*/ 102740 w 761692"/>
                    <a:gd name="connsiteY166" fmla="*/ 635925 h 1016771"/>
                    <a:gd name="connsiteX167" fmla="*/ 113368 w 761692"/>
                    <a:gd name="connsiteY167" fmla="*/ 625297 h 1016771"/>
                    <a:gd name="connsiteX168" fmla="*/ 115139 w 761692"/>
                    <a:gd name="connsiteY168" fmla="*/ 612897 h 1016771"/>
                    <a:gd name="connsiteX169" fmla="*/ 127539 w 761692"/>
                    <a:gd name="connsiteY169" fmla="*/ 609354 h 1016771"/>
                    <a:gd name="connsiteX170" fmla="*/ 136396 w 761692"/>
                    <a:gd name="connsiteY170" fmla="*/ 604040 h 1016771"/>
                    <a:gd name="connsiteX171" fmla="*/ 132853 w 761692"/>
                    <a:gd name="connsiteY171" fmla="*/ 593412 h 1016771"/>
                    <a:gd name="connsiteX172" fmla="*/ 134625 w 761692"/>
                    <a:gd name="connsiteY172" fmla="*/ 584555 h 1016771"/>
                    <a:gd name="connsiteX173" fmla="*/ 131082 w 761692"/>
                    <a:gd name="connsiteY173" fmla="*/ 575698 h 1016771"/>
                    <a:gd name="connsiteX174" fmla="*/ 120454 w 761692"/>
                    <a:gd name="connsiteY174" fmla="*/ 568613 h 1016771"/>
                    <a:gd name="connsiteX175" fmla="*/ 125768 w 761692"/>
                    <a:gd name="connsiteY175" fmla="*/ 552670 h 1016771"/>
                    <a:gd name="connsiteX176" fmla="*/ 118682 w 761692"/>
                    <a:gd name="connsiteY176" fmla="*/ 543813 h 1016771"/>
                    <a:gd name="connsiteX177" fmla="*/ 90340 w 761692"/>
                    <a:gd name="connsiteY177" fmla="*/ 543813 h 1016771"/>
                    <a:gd name="connsiteX178" fmla="*/ 86797 w 761692"/>
                    <a:gd name="connsiteY178" fmla="*/ 542042 h 1016771"/>
                    <a:gd name="connsiteX179" fmla="*/ 83255 w 761692"/>
                    <a:gd name="connsiteY179" fmla="*/ 542042 h 1016771"/>
                    <a:gd name="connsiteX180" fmla="*/ 81483 w 761692"/>
                    <a:gd name="connsiteY180" fmla="*/ 540271 h 1016771"/>
                    <a:gd name="connsiteX181" fmla="*/ 81483 w 761692"/>
                    <a:gd name="connsiteY181" fmla="*/ 536728 h 1016771"/>
                    <a:gd name="connsiteX182" fmla="*/ 79712 w 761692"/>
                    <a:gd name="connsiteY182" fmla="*/ 531414 h 1016771"/>
                    <a:gd name="connsiteX183" fmla="*/ 77941 w 761692"/>
                    <a:gd name="connsiteY183" fmla="*/ 529642 h 1016771"/>
                    <a:gd name="connsiteX184" fmla="*/ 70855 w 761692"/>
                    <a:gd name="connsiteY184" fmla="*/ 527871 h 1016771"/>
                    <a:gd name="connsiteX185" fmla="*/ 60227 w 761692"/>
                    <a:gd name="connsiteY185" fmla="*/ 536728 h 1016771"/>
                    <a:gd name="connsiteX186" fmla="*/ 47827 w 761692"/>
                    <a:gd name="connsiteY186" fmla="*/ 526100 h 1016771"/>
                    <a:gd name="connsiteX187" fmla="*/ 42513 w 761692"/>
                    <a:gd name="connsiteY187" fmla="*/ 515471 h 1016771"/>
                    <a:gd name="connsiteX188" fmla="*/ 33656 w 761692"/>
                    <a:gd name="connsiteY188" fmla="*/ 506614 h 1016771"/>
                    <a:gd name="connsiteX189" fmla="*/ 31885 w 761692"/>
                    <a:gd name="connsiteY189" fmla="*/ 490672 h 1016771"/>
                    <a:gd name="connsiteX190" fmla="*/ 26571 w 761692"/>
                    <a:gd name="connsiteY190" fmla="*/ 476501 h 1016771"/>
                    <a:gd name="connsiteX191" fmla="*/ 24799 w 761692"/>
                    <a:gd name="connsiteY191" fmla="*/ 471187 h 1016771"/>
                    <a:gd name="connsiteX192" fmla="*/ 12400 w 761692"/>
                    <a:gd name="connsiteY192" fmla="*/ 472958 h 1016771"/>
                    <a:gd name="connsiteX193" fmla="*/ 7086 w 761692"/>
                    <a:gd name="connsiteY193" fmla="*/ 464101 h 1016771"/>
                    <a:gd name="connsiteX194" fmla="*/ 8857 w 761692"/>
                    <a:gd name="connsiteY194" fmla="*/ 446388 h 1016771"/>
                    <a:gd name="connsiteX195" fmla="*/ 3543 w 761692"/>
                    <a:gd name="connsiteY195" fmla="*/ 435759 h 1016771"/>
                    <a:gd name="connsiteX196" fmla="*/ 5314 w 761692"/>
                    <a:gd name="connsiteY196" fmla="*/ 412731 h 1016771"/>
                    <a:gd name="connsiteX197" fmla="*/ 0 w 761692"/>
                    <a:gd name="connsiteY197" fmla="*/ 396789 h 1016771"/>
                    <a:gd name="connsiteX198" fmla="*/ 3543 w 761692"/>
                    <a:gd name="connsiteY198" fmla="*/ 384389 h 1016771"/>
                    <a:gd name="connsiteX199" fmla="*/ 14171 w 761692"/>
                    <a:gd name="connsiteY199" fmla="*/ 380846 h 1016771"/>
                    <a:gd name="connsiteX200" fmla="*/ 24799 w 761692"/>
                    <a:gd name="connsiteY200" fmla="*/ 364904 h 1016771"/>
                    <a:gd name="connsiteX201" fmla="*/ 30113 w 761692"/>
                    <a:gd name="connsiteY201" fmla="*/ 350733 h 1016771"/>
                    <a:gd name="connsiteX202" fmla="*/ 35428 w 761692"/>
                    <a:gd name="connsiteY202" fmla="*/ 341876 h 1016771"/>
                    <a:gd name="connsiteX203" fmla="*/ 42513 w 761692"/>
                    <a:gd name="connsiteY203" fmla="*/ 327705 h 1016771"/>
                    <a:gd name="connsiteX204" fmla="*/ 42513 w 761692"/>
                    <a:gd name="connsiteY204" fmla="*/ 315305 h 1016771"/>
                    <a:gd name="connsiteX205" fmla="*/ 56684 w 761692"/>
                    <a:gd name="connsiteY205" fmla="*/ 309991 h 1016771"/>
                    <a:gd name="connsiteX206" fmla="*/ 60227 w 761692"/>
                    <a:gd name="connsiteY206" fmla="*/ 309991 h 1016771"/>
                    <a:gd name="connsiteX207" fmla="*/ 61998 w 761692"/>
                    <a:gd name="connsiteY207" fmla="*/ 311763 h 1016771"/>
                    <a:gd name="connsiteX208" fmla="*/ 67312 w 761692"/>
                    <a:gd name="connsiteY208" fmla="*/ 311763 h 1016771"/>
                    <a:gd name="connsiteX209" fmla="*/ 67312 w 761692"/>
                    <a:gd name="connsiteY209" fmla="*/ 309991 h 1016771"/>
                    <a:gd name="connsiteX210" fmla="*/ 67312 w 761692"/>
                    <a:gd name="connsiteY210" fmla="*/ 308220 h 1016771"/>
                    <a:gd name="connsiteX211" fmla="*/ 69084 w 761692"/>
                    <a:gd name="connsiteY211" fmla="*/ 302906 h 1016771"/>
                    <a:gd name="connsiteX212" fmla="*/ 70855 w 761692"/>
                    <a:gd name="connsiteY212" fmla="*/ 301134 h 1016771"/>
                    <a:gd name="connsiteX213" fmla="*/ 70855 w 761692"/>
                    <a:gd name="connsiteY213" fmla="*/ 299363 h 1016771"/>
                    <a:gd name="connsiteX214" fmla="*/ 77941 w 761692"/>
                    <a:gd name="connsiteY214" fmla="*/ 295820 h 1016771"/>
                    <a:gd name="connsiteX215" fmla="*/ 85026 w 761692"/>
                    <a:gd name="connsiteY215" fmla="*/ 295820 h 1016771"/>
                    <a:gd name="connsiteX216" fmla="*/ 93883 w 761692"/>
                    <a:gd name="connsiteY216" fmla="*/ 297592 h 1016771"/>
                    <a:gd name="connsiteX217" fmla="*/ 100968 w 761692"/>
                    <a:gd name="connsiteY217" fmla="*/ 288735 h 1016771"/>
                    <a:gd name="connsiteX218" fmla="*/ 97426 w 761692"/>
                    <a:gd name="connsiteY218" fmla="*/ 279878 h 1016771"/>
                    <a:gd name="connsiteX219" fmla="*/ 85026 w 761692"/>
                    <a:gd name="connsiteY219" fmla="*/ 276335 h 1016771"/>
                    <a:gd name="connsiteX220" fmla="*/ 76169 w 761692"/>
                    <a:gd name="connsiteY220" fmla="*/ 271021 h 1016771"/>
                    <a:gd name="connsiteX221" fmla="*/ 76169 w 761692"/>
                    <a:gd name="connsiteY221" fmla="*/ 262164 h 1016771"/>
                    <a:gd name="connsiteX222" fmla="*/ 81483 w 761692"/>
                    <a:gd name="connsiteY222" fmla="*/ 251536 h 1016771"/>
                    <a:gd name="connsiteX223" fmla="*/ 86797 w 761692"/>
                    <a:gd name="connsiteY223" fmla="*/ 255079 h 1016771"/>
                    <a:gd name="connsiteX224" fmla="*/ 104511 w 761692"/>
                    <a:gd name="connsiteY224" fmla="*/ 262164 h 1016771"/>
                    <a:gd name="connsiteX225" fmla="*/ 116911 w 761692"/>
                    <a:gd name="connsiteY225" fmla="*/ 265707 h 1016771"/>
                    <a:gd name="connsiteX226" fmla="*/ 132853 w 761692"/>
                    <a:gd name="connsiteY226" fmla="*/ 269250 h 1016771"/>
                    <a:gd name="connsiteX227" fmla="*/ 138167 w 761692"/>
                    <a:gd name="connsiteY227" fmla="*/ 265707 h 1016771"/>
                    <a:gd name="connsiteX228" fmla="*/ 150567 w 761692"/>
                    <a:gd name="connsiteY228" fmla="*/ 255079 h 1016771"/>
                    <a:gd name="connsiteX229" fmla="*/ 166509 w 761692"/>
                    <a:gd name="connsiteY229" fmla="*/ 255079 h 1016771"/>
                    <a:gd name="connsiteX230" fmla="*/ 166509 w 761692"/>
                    <a:gd name="connsiteY230" fmla="*/ 265707 h 1016771"/>
                    <a:gd name="connsiteX231" fmla="*/ 177138 w 761692"/>
                    <a:gd name="connsiteY231" fmla="*/ 272792 h 1016771"/>
                    <a:gd name="connsiteX232" fmla="*/ 194851 w 761692"/>
                    <a:gd name="connsiteY232" fmla="*/ 276335 h 1016771"/>
                    <a:gd name="connsiteX233" fmla="*/ 209022 w 761692"/>
                    <a:gd name="connsiteY233" fmla="*/ 279878 h 1016771"/>
                    <a:gd name="connsiteX234" fmla="*/ 221422 w 761692"/>
                    <a:gd name="connsiteY234" fmla="*/ 276335 h 1016771"/>
                    <a:gd name="connsiteX235" fmla="*/ 226736 w 761692"/>
                    <a:gd name="connsiteY235" fmla="*/ 269250 h 1016771"/>
                    <a:gd name="connsiteX236" fmla="*/ 226736 w 761692"/>
                    <a:gd name="connsiteY236" fmla="*/ 251536 h 1016771"/>
                    <a:gd name="connsiteX237" fmla="*/ 224965 w 761692"/>
                    <a:gd name="connsiteY237" fmla="*/ 239136 h 1016771"/>
                    <a:gd name="connsiteX238" fmla="*/ 214337 w 761692"/>
                    <a:gd name="connsiteY238" fmla="*/ 230279 h 1016771"/>
                    <a:gd name="connsiteX239" fmla="*/ 210794 w 761692"/>
                    <a:gd name="connsiteY239" fmla="*/ 217880 h 1016771"/>
                    <a:gd name="connsiteX240" fmla="*/ 221422 w 761692"/>
                    <a:gd name="connsiteY240" fmla="*/ 207251 h 1016771"/>
                    <a:gd name="connsiteX241" fmla="*/ 235593 w 761692"/>
                    <a:gd name="connsiteY241" fmla="*/ 214337 h 1016771"/>
                    <a:gd name="connsiteX242" fmla="*/ 246221 w 761692"/>
                    <a:gd name="connsiteY242" fmla="*/ 219651 h 1016771"/>
                    <a:gd name="connsiteX243" fmla="*/ 253307 w 761692"/>
                    <a:gd name="connsiteY243" fmla="*/ 221422 h 1016771"/>
                    <a:gd name="connsiteX244" fmla="*/ 262164 w 761692"/>
                    <a:gd name="connsiteY244" fmla="*/ 210794 h 1016771"/>
                    <a:gd name="connsiteX245" fmla="*/ 263935 w 761692"/>
                    <a:gd name="connsiteY245" fmla="*/ 201937 h 1016771"/>
                    <a:gd name="connsiteX246" fmla="*/ 274563 w 761692"/>
                    <a:gd name="connsiteY246" fmla="*/ 189538 h 1016771"/>
                    <a:gd name="connsiteX247" fmla="*/ 283420 w 761692"/>
                    <a:gd name="connsiteY247" fmla="*/ 178909 h 1016771"/>
                    <a:gd name="connsiteX248" fmla="*/ 286963 w 761692"/>
                    <a:gd name="connsiteY248" fmla="*/ 173595 h 1016771"/>
                    <a:gd name="connsiteX249" fmla="*/ 311762 w 761692"/>
                    <a:gd name="connsiteY249" fmla="*/ 168281 h 1016771"/>
                    <a:gd name="connsiteX250" fmla="*/ 325933 w 761692"/>
                    <a:gd name="connsiteY250" fmla="*/ 164738 h 1016771"/>
                    <a:gd name="connsiteX251" fmla="*/ 336562 w 761692"/>
                    <a:gd name="connsiteY251" fmla="*/ 159424 h 1016771"/>
                    <a:gd name="connsiteX252" fmla="*/ 348961 w 761692"/>
                    <a:gd name="connsiteY252" fmla="*/ 145253 h 1016771"/>
                    <a:gd name="connsiteX253" fmla="*/ 359589 w 761692"/>
                    <a:gd name="connsiteY253" fmla="*/ 143482 h 1016771"/>
                    <a:gd name="connsiteX254" fmla="*/ 371989 w 761692"/>
                    <a:gd name="connsiteY254" fmla="*/ 143482 h 1016771"/>
                    <a:gd name="connsiteX255" fmla="*/ 391474 w 761692"/>
                    <a:gd name="connsiteY255" fmla="*/ 143482 h 1016771"/>
                    <a:gd name="connsiteX256" fmla="*/ 396788 w 761692"/>
                    <a:gd name="connsiteY256" fmla="*/ 141710 h 1016771"/>
                    <a:gd name="connsiteX257" fmla="*/ 403874 w 761692"/>
                    <a:gd name="connsiteY257" fmla="*/ 134625 h 1016771"/>
                    <a:gd name="connsiteX258" fmla="*/ 409188 w 761692"/>
                    <a:gd name="connsiteY258" fmla="*/ 129311 h 1016771"/>
                    <a:gd name="connsiteX259" fmla="*/ 409188 w 761692"/>
                    <a:gd name="connsiteY259" fmla="*/ 123997 h 1016771"/>
                    <a:gd name="connsiteX260" fmla="*/ 414502 w 761692"/>
                    <a:gd name="connsiteY260" fmla="*/ 115140 h 1016771"/>
                    <a:gd name="connsiteX261" fmla="*/ 428673 w 761692"/>
                    <a:gd name="connsiteY261" fmla="*/ 115140 h 1016771"/>
                    <a:gd name="connsiteX262" fmla="*/ 432216 w 761692"/>
                    <a:gd name="connsiteY262" fmla="*/ 109826 h 1016771"/>
                    <a:gd name="connsiteX263" fmla="*/ 437530 w 761692"/>
                    <a:gd name="connsiteY263" fmla="*/ 100969 h 1016771"/>
                    <a:gd name="connsiteX264" fmla="*/ 448158 w 761692"/>
                    <a:gd name="connsiteY264" fmla="*/ 99197 h 1016771"/>
                    <a:gd name="connsiteX265" fmla="*/ 460558 w 761692"/>
                    <a:gd name="connsiteY265" fmla="*/ 97426 h 1016771"/>
                    <a:gd name="connsiteX266" fmla="*/ 472958 w 761692"/>
                    <a:gd name="connsiteY266" fmla="*/ 93883 h 1016771"/>
                    <a:gd name="connsiteX267" fmla="*/ 492443 w 761692"/>
                    <a:gd name="connsiteY267" fmla="*/ 93883 h 1016771"/>
                    <a:gd name="connsiteX268" fmla="*/ 501300 w 761692"/>
                    <a:gd name="connsiteY268" fmla="*/ 83255 h 1016771"/>
                    <a:gd name="connsiteX269" fmla="*/ 517242 w 761692"/>
                    <a:gd name="connsiteY269" fmla="*/ 81484 h 1016771"/>
                    <a:gd name="connsiteX270" fmla="*/ 522556 w 761692"/>
                    <a:gd name="connsiteY270" fmla="*/ 81484 h 1016771"/>
                    <a:gd name="connsiteX271" fmla="*/ 522556 w 761692"/>
                    <a:gd name="connsiteY271" fmla="*/ 60227 h 1016771"/>
                    <a:gd name="connsiteX272" fmla="*/ 526099 w 761692"/>
                    <a:gd name="connsiteY272" fmla="*/ 54913 h 1016771"/>
                    <a:gd name="connsiteX273" fmla="*/ 529642 w 761692"/>
                    <a:gd name="connsiteY273" fmla="*/ 46056 h 1016771"/>
                    <a:gd name="connsiteX274" fmla="*/ 538499 w 761692"/>
                    <a:gd name="connsiteY274" fmla="*/ 40742 h 1016771"/>
                    <a:gd name="connsiteX275" fmla="*/ 540270 w 761692"/>
                    <a:gd name="connsiteY275" fmla="*/ 30114 h 1016771"/>
                    <a:gd name="connsiteX276" fmla="*/ 536727 w 761692"/>
                    <a:gd name="connsiteY276" fmla="*/ 19485 h 1016771"/>
                    <a:gd name="connsiteX277" fmla="*/ 543813 w 761692"/>
                    <a:gd name="connsiteY277" fmla="*/ 5314 h 1016771"/>
                    <a:gd name="connsiteX278" fmla="*/ 554441 w 761692"/>
                    <a:gd name="connsiteY278" fmla="*/ 0 h 1016771"/>
                    <a:gd name="connsiteX0" fmla="*/ 116476 w 761692"/>
                    <a:gd name="connsiteY0" fmla="*/ 741349 h 1016771"/>
                    <a:gd name="connsiteX1" fmla="*/ 117606 w 761692"/>
                    <a:gd name="connsiteY1" fmla="*/ 742253 h 1016771"/>
                    <a:gd name="connsiteX2" fmla="*/ 116476 w 761692"/>
                    <a:gd name="connsiteY2" fmla="*/ 741349 h 1016771"/>
                    <a:gd name="connsiteX3" fmla="*/ 554441 w 761692"/>
                    <a:gd name="connsiteY3" fmla="*/ 0 h 1016771"/>
                    <a:gd name="connsiteX4" fmla="*/ 570383 w 761692"/>
                    <a:gd name="connsiteY4" fmla="*/ 3543 h 1016771"/>
                    <a:gd name="connsiteX5" fmla="*/ 577469 w 761692"/>
                    <a:gd name="connsiteY5" fmla="*/ 8857 h 1016771"/>
                    <a:gd name="connsiteX6" fmla="*/ 582783 w 761692"/>
                    <a:gd name="connsiteY6" fmla="*/ 17714 h 1016771"/>
                    <a:gd name="connsiteX7" fmla="*/ 582783 w 761692"/>
                    <a:gd name="connsiteY7" fmla="*/ 24799 h 1016771"/>
                    <a:gd name="connsiteX8" fmla="*/ 588097 w 761692"/>
                    <a:gd name="connsiteY8" fmla="*/ 33656 h 1016771"/>
                    <a:gd name="connsiteX9" fmla="*/ 598725 w 761692"/>
                    <a:gd name="connsiteY9" fmla="*/ 31885 h 1016771"/>
                    <a:gd name="connsiteX10" fmla="*/ 612896 w 761692"/>
                    <a:gd name="connsiteY10" fmla="*/ 37199 h 1016771"/>
                    <a:gd name="connsiteX11" fmla="*/ 618211 w 761692"/>
                    <a:gd name="connsiteY11" fmla="*/ 46056 h 1016771"/>
                    <a:gd name="connsiteX12" fmla="*/ 619982 w 761692"/>
                    <a:gd name="connsiteY12" fmla="*/ 54913 h 1016771"/>
                    <a:gd name="connsiteX13" fmla="*/ 618211 w 761692"/>
                    <a:gd name="connsiteY13" fmla="*/ 74398 h 1016771"/>
                    <a:gd name="connsiteX14" fmla="*/ 616439 w 761692"/>
                    <a:gd name="connsiteY14" fmla="*/ 85026 h 1016771"/>
                    <a:gd name="connsiteX15" fmla="*/ 621753 w 761692"/>
                    <a:gd name="connsiteY15" fmla="*/ 97426 h 1016771"/>
                    <a:gd name="connsiteX16" fmla="*/ 637696 w 761692"/>
                    <a:gd name="connsiteY16" fmla="*/ 113368 h 1016771"/>
                    <a:gd name="connsiteX17" fmla="*/ 644781 w 761692"/>
                    <a:gd name="connsiteY17" fmla="*/ 120454 h 1016771"/>
                    <a:gd name="connsiteX18" fmla="*/ 650095 w 761692"/>
                    <a:gd name="connsiteY18" fmla="*/ 136396 h 1016771"/>
                    <a:gd name="connsiteX19" fmla="*/ 655409 w 761692"/>
                    <a:gd name="connsiteY19" fmla="*/ 155881 h 1016771"/>
                    <a:gd name="connsiteX20" fmla="*/ 662495 w 761692"/>
                    <a:gd name="connsiteY20" fmla="*/ 171824 h 1016771"/>
                    <a:gd name="connsiteX21" fmla="*/ 660724 w 761692"/>
                    <a:gd name="connsiteY21" fmla="*/ 185995 h 1016771"/>
                    <a:gd name="connsiteX22" fmla="*/ 635924 w 761692"/>
                    <a:gd name="connsiteY22" fmla="*/ 194852 h 1016771"/>
                    <a:gd name="connsiteX23" fmla="*/ 619982 w 761692"/>
                    <a:gd name="connsiteY23" fmla="*/ 207251 h 1016771"/>
                    <a:gd name="connsiteX24" fmla="*/ 614668 w 761692"/>
                    <a:gd name="connsiteY24" fmla="*/ 223194 h 1016771"/>
                    <a:gd name="connsiteX25" fmla="*/ 618211 w 761692"/>
                    <a:gd name="connsiteY25" fmla="*/ 242679 h 1016771"/>
                    <a:gd name="connsiteX26" fmla="*/ 612896 w 761692"/>
                    <a:gd name="connsiteY26" fmla="*/ 256850 h 1016771"/>
                    <a:gd name="connsiteX27" fmla="*/ 625296 w 761692"/>
                    <a:gd name="connsiteY27" fmla="*/ 267478 h 1016771"/>
                    <a:gd name="connsiteX28" fmla="*/ 641238 w 761692"/>
                    <a:gd name="connsiteY28" fmla="*/ 269250 h 1016771"/>
                    <a:gd name="connsiteX29" fmla="*/ 658952 w 761692"/>
                    <a:gd name="connsiteY29" fmla="*/ 286963 h 1016771"/>
                    <a:gd name="connsiteX30" fmla="*/ 653638 w 761692"/>
                    <a:gd name="connsiteY30" fmla="*/ 309991 h 1016771"/>
                    <a:gd name="connsiteX31" fmla="*/ 653638 w 761692"/>
                    <a:gd name="connsiteY31" fmla="*/ 329476 h 1016771"/>
                    <a:gd name="connsiteX32" fmla="*/ 643010 w 761692"/>
                    <a:gd name="connsiteY32" fmla="*/ 338333 h 1016771"/>
                    <a:gd name="connsiteX33" fmla="*/ 632382 w 761692"/>
                    <a:gd name="connsiteY33" fmla="*/ 338333 h 1016771"/>
                    <a:gd name="connsiteX34" fmla="*/ 618211 w 761692"/>
                    <a:gd name="connsiteY34" fmla="*/ 357819 h 1016771"/>
                    <a:gd name="connsiteX35" fmla="*/ 609354 w 761692"/>
                    <a:gd name="connsiteY35" fmla="*/ 361361 h 1016771"/>
                    <a:gd name="connsiteX36" fmla="*/ 596954 w 761692"/>
                    <a:gd name="connsiteY36" fmla="*/ 363133 h 1016771"/>
                    <a:gd name="connsiteX37" fmla="*/ 581012 w 761692"/>
                    <a:gd name="connsiteY37" fmla="*/ 379075 h 1016771"/>
                    <a:gd name="connsiteX38" fmla="*/ 589868 w 761692"/>
                    <a:gd name="connsiteY38" fmla="*/ 393246 h 1016771"/>
                    <a:gd name="connsiteX39" fmla="*/ 586326 w 761692"/>
                    <a:gd name="connsiteY39" fmla="*/ 409189 h 1016771"/>
                    <a:gd name="connsiteX40" fmla="*/ 570383 w 761692"/>
                    <a:gd name="connsiteY40" fmla="*/ 398560 h 1016771"/>
                    <a:gd name="connsiteX41" fmla="*/ 550898 w 761692"/>
                    <a:gd name="connsiteY41" fmla="*/ 405646 h 1016771"/>
                    <a:gd name="connsiteX42" fmla="*/ 531413 w 761692"/>
                    <a:gd name="connsiteY42" fmla="*/ 425131 h 1016771"/>
                    <a:gd name="connsiteX43" fmla="*/ 543813 w 761692"/>
                    <a:gd name="connsiteY43" fmla="*/ 444616 h 1016771"/>
                    <a:gd name="connsiteX44" fmla="*/ 557984 w 761692"/>
                    <a:gd name="connsiteY44" fmla="*/ 462330 h 1016771"/>
                    <a:gd name="connsiteX45" fmla="*/ 570383 w 761692"/>
                    <a:gd name="connsiteY45" fmla="*/ 478272 h 1016771"/>
                    <a:gd name="connsiteX46" fmla="*/ 579240 w 761692"/>
                    <a:gd name="connsiteY46" fmla="*/ 485358 h 1016771"/>
                    <a:gd name="connsiteX47" fmla="*/ 602268 w 761692"/>
                    <a:gd name="connsiteY47" fmla="*/ 483586 h 1016771"/>
                    <a:gd name="connsiteX48" fmla="*/ 623525 w 761692"/>
                    <a:gd name="connsiteY48" fmla="*/ 474730 h 1016771"/>
                    <a:gd name="connsiteX49" fmla="*/ 639467 w 761692"/>
                    <a:gd name="connsiteY49" fmla="*/ 464101 h 1016771"/>
                    <a:gd name="connsiteX50" fmla="*/ 662495 w 761692"/>
                    <a:gd name="connsiteY50" fmla="*/ 464101 h 1016771"/>
                    <a:gd name="connsiteX51" fmla="*/ 673123 w 761692"/>
                    <a:gd name="connsiteY51" fmla="*/ 464101 h 1016771"/>
                    <a:gd name="connsiteX52" fmla="*/ 681980 w 761692"/>
                    <a:gd name="connsiteY52" fmla="*/ 467644 h 1016771"/>
                    <a:gd name="connsiteX53" fmla="*/ 703237 w 761692"/>
                    <a:gd name="connsiteY53" fmla="*/ 471187 h 1016771"/>
                    <a:gd name="connsiteX54" fmla="*/ 708551 w 761692"/>
                    <a:gd name="connsiteY54" fmla="*/ 474730 h 1016771"/>
                    <a:gd name="connsiteX55" fmla="*/ 722722 w 761692"/>
                    <a:gd name="connsiteY55" fmla="*/ 501300 h 1016771"/>
                    <a:gd name="connsiteX56" fmla="*/ 724493 w 761692"/>
                    <a:gd name="connsiteY56" fmla="*/ 522557 h 1016771"/>
                    <a:gd name="connsiteX57" fmla="*/ 722722 w 761692"/>
                    <a:gd name="connsiteY57" fmla="*/ 540271 h 1016771"/>
                    <a:gd name="connsiteX58" fmla="*/ 735121 w 761692"/>
                    <a:gd name="connsiteY58" fmla="*/ 552670 h 1016771"/>
                    <a:gd name="connsiteX59" fmla="*/ 735121 w 761692"/>
                    <a:gd name="connsiteY59" fmla="*/ 570384 h 1016771"/>
                    <a:gd name="connsiteX60" fmla="*/ 751064 w 761692"/>
                    <a:gd name="connsiteY60" fmla="*/ 581012 h 1016771"/>
                    <a:gd name="connsiteX61" fmla="*/ 761692 w 761692"/>
                    <a:gd name="connsiteY61" fmla="*/ 604040 h 1016771"/>
                    <a:gd name="connsiteX62" fmla="*/ 747521 w 761692"/>
                    <a:gd name="connsiteY62" fmla="*/ 616440 h 1016771"/>
                    <a:gd name="connsiteX63" fmla="*/ 728036 w 761692"/>
                    <a:gd name="connsiteY63" fmla="*/ 627068 h 1016771"/>
                    <a:gd name="connsiteX64" fmla="*/ 726264 w 761692"/>
                    <a:gd name="connsiteY64" fmla="*/ 650096 h 1016771"/>
                    <a:gd name="connsiteX65" fmla="*/ 728036 w 761692"/>
                    <a:gd name="connsiteY65" fmla="*/ 673124 h 1016771"/>
                    <a:gd name="connsiteX66" fmla="*/ 742207 w 761692"/>
                    <a:gd name="connsiteY66" fmla="*/ 689066 h 1016771"/>
                    <a:gd name="connsiteX67" fmla="*/ 742207 w 761692"/>
                    <a:gd name="connsiteY67" fmla="*/ 712094 h 1016771"/>
                    <a:gd name="connsiteX68" fmla="*/ 740435 w 761692"/>
                    <a:gd name="connsiteY68" fmla="*/ 735122 h 1016771"/>
                    <a:gd name="connsiteX69" fmla="*/ 742207 w 761692"/>
                    <a:gd name="connsiteY69" fmla="*/ 751065 h 1016771"/>
                    <a:gd name="connsiteX70" fmla="*/ 747521 w 761692"/>
                    <a:gd name="connsiteY70" fmla="*/ 768778 h 1016771"/>
                    <a:gd name="connsiteX71" fmla="*/ 759921 w 761692"/>
                    <a:gd name="connsiteY71" fmla="*/ 777635 h 1016771"/>
                    <a:gd name="connsiteX72" fmla="*/ 758149 w 761692"/>
                    <a:gd name="connsiteY72" fmla="*/ 802434 h 1016771"/>
                    <a:gd name="connsiteX73" fmla="*/ 752835 w 761692"/>
                    <a:gd name="connsiteY73" fmla="*/ 814834 h 1016771"/>
                    <a:gd name="connsiteX74" fmla="*/ 743978 w 761692"/>
                    <a:gd name="connsiteY74" fmla="*/ 827234 h 1016771"/>
                    <a:gd name="connsiteX75" fmla="*/ 743978 w 761692"/>
                    <a:gd name="connsiteY75" fmla="*/ 837862 h 1016771"/>
                    <a:gd name="connsiteX76" fmla="*/ 747521 w 761692"/>
                    <a:gd name="connsiteY76" fmla="*/ 853804 h 1016771"/>
                    <a:gd name="connsiteX77" fmla="*/ 733350 w 761692"/>
                    <a:gd name="connsiteY77" fmla="*/ 867975 h 1016771"/>
                    <a:gd name="connsiteX78" fmla="*/ 724493 w 761692"/>
                    <a:gd name="connsiteY78" fmla="*/ 880375 h 1016771"/>
                    <a:gd name="connsiteX79" fmla="*/ 722722 w 761692"/>
                    <a:gd name="connsiteY79" fmla="*/ 899860 h 1016771"/>
                    <a:gd name="connsiteX80" fmla="*/ 722722 w 761692"/>
                    <a:gd name="connsiteY80" fmla="*/ 919345 h 1016771"/>
                    <a:gd name="connsiteX81" fmla="*/ 715636 w 761692"/>
                    <a:gd name="connsiteY81" fmla="*/ 940602 h 1016771"/>
                    <a:gd name="connsiteX82" fmla="*/ 708551 w 761692"/>
                    <a:gd name="connsiteY82" fmla="*/ 954773 h 1016771"/>
                    <a:gd name="connsiteX83" fmla="*/ 699694 w 761692"/>
                    <a:gd name="connsiteY83" fmla="*/ 965401 h 1016771"/>
                    <a:gd name="connsiteX84" fmla="*/ 692608 w 761692"/>
                    <a:gd name="connsiteY84" fmla="*/ 984886 h 1016771"/>
                    <a:gd name="connsiteX85" fmla="*/ 683751 w 761692"/>
                    <a:gd name="connsiteY85" fmla="*/ 997286 h 1016771"/>
                    <a:gd name="connsiteX86" fmla="*/ 673123 w 761692"/>
                    <a:gd name="connsiteY86" fmla="*/ 1002600 h 1016771"/>
                    <a:gd name="connsiteX87" fmla="*/ 662495 w 761692"/>
                    <a:gd name="connsiteY87" fmla="*/ 1013228 h 1016771"/>
                    <a:gd name="connsiteX88" fmla="*/ 644781 w 761692"/>
                    <a:gd name="connsiteY88" fmla="*/ 1016771 h 1016771"/>
                    <a:gd name="connsiteX89" fmla="*/ 635924 w 761692"/>
                    <a:gd name="connsiteY89" fmla="*/ 1004372 h 1016771"/>
                    <a:gd name="connsiteX90" fmla="*/ 623525 w 761692"/>
                    <a:gd name="connsiteY90" fmla="*/ 997286 h 1016771"/>
                    <a:gd name="connsiteX91" fmla="*/ 614668 w 761692"/>
                    <a:gd name="connsiteY91" fmla="*/ 986658 h 1016771"/>
                    <a:gd name="connsiteX92" fmla="*/ 593411 w 761692"/>
                    <a:gd name="connsiteY92" fmla="*/ 970715 h 1016771"/>
                    <a:gd name="connsiteX93" fmla="*/ 582783 w 761692"/>
                    <a:gd name="connsiteY93" fmla="*/ 965401 h 1016771"/>
                    <a:gd name="connsiteX94" fmla="*/ 531413 w 761692"/>
                    <a:gd name="connsiteY94" fmla="*/ 965401 h 1016771"/>
                    <a:gd name="connsiteX95" fmla="*/ 511928 w 761692"/>
                    <a:gd name="connsiteY95" fmla="*/ 965401 h 1016771"/>
                    <a:gd name="connsiteX96" fmla="*/ 492443 w 761692"/>
                    <a:gd name="connsiteY96" fmla="*/ 963630 h 1016771"/>
                    <a:gd name="connsiteX97" fmla="*/ 483586 w 761692"/>
                    <a:gd name="connsiteY97" fmla="*/ 958316 h 1016771"/>
                    <a:gd name="connsiteX98" fmla="*/ 469415 w 761692"/>
                    <a:gd name="connsiteY98" fmla="*/ 954773 h 1016771"/>
                    <a:gd name="connsiteX99" fmla="*/ 460558 w 761692"/>
                    <a:gd name="connsiteY99" fmla="*/ 942373 h 1016771"/>
                    <a:gd name="connsiteX100" fmla="*/ 446387 w 761692"/>
                    <a:gd name="connsiteY100" fmla="*/ 935288 h 1016771"/>
                    <a:gd name="connsiteX101" fmla="*/ 428673 w 761692"/>
                    <a:gd name="connsiteY101" fmla="*/ 928202 h 1016771"/>
                    <a:gd name="connsiteX102" fmla="*/ 418045 w 761692"/>
                    <a:gd name="connsiteY102" fmla="*/ 917574 h 1016771"/>
                    <a:gd name="connsiteX103" fmla="*/ 421588 w 761692"/>
                    <a:gd name="connsiteY103" fmla="*/ 903403 h 1016771"/>
                    <a:gd name="connsiteX104" fmla="*/ 418045 w 761692"/>
                    <a:gd name="connsiteY104" fmla="*/ 898089 h 1016771"/>
                    <a:gd name="connsiteX105" fmla="*/ 396788 w 761692"/>
                    <a:gd name="connsiteY105" fmla="*/ 898089 h 1016771"/>
                    <a:gd name="connsiteX106" fmla="*/ 382617 w 761692"/>
                    <a:gd name="connsiteY106" fmla="*/ 896318 h 1016771"/>
                    <a:gd name="connsiteX107" fmla="*/ 380846 w 761692"/>
                    <a:gd name="connsiteY107" fmla="*/ 906946 h 1016771"/>
                    <a:gd name="connsiteX108" fmla="*/ 373601 w 761692"/>
                    <a:gd name="connsiteY108" fmla="*/ 894832 h 1016771"/>
                    <a:gd name="connsiteX109" fmla="*/ 387164 w 761692"/>
                    <a:gd name="connsiteY109" fmla="*/ 896527 h 1016771"/>
                    <a:gd name="connsiteX110" fmla="*/ 383773 w 761692"/>
                    <a:gd name="connsiteY110" fmla="*/ 886355 h 1016771"/>
                    <a:gd name="connsiteX111" fmla="*/ 387164 w 761692"/>
                    <a:gd name="connsiteY111" fmla="*/ 876183 h 1016771"/>
                    <a:gd name="connsiteX112" fmla="*/ 388859 w 761692"/>
                    <a:gd name="connsiteY112" fmla="*/ 867707 h 1016771"/>
                    <a:gd name="connsiteX113" fmla="*/ 380382 w 761692"/>
                    <a:gd name="connsiteY113" fmla="*/ 859230 h 1016771"/>
                    <a:gd name="connsiteX114" fmla="*/ 373601 w 761692"/>
                    <a:gd name="connsiteY114" fmla="*/ 849058 h 1016771"/>
                    <a:gd name="connsiteX115" fmla="*/ 380382 w 761692"/>
                    <a:gd name="connsiteY115" fmla="*/ 838886 h 1016771"/>
                    <a:gd name="connsiteX116" fmla="*/ 383773 w 761692"/>
                    <a:gd name="connsiteY116" fmla="*/ 833800 h 1016771"/>
                    <a:gd name="connsiteX117" fmla="*/ 388859 w 761692"/>
                    <a:gd name="connsiteY117" fmla="*/ 825324 h 1016771"/>
                    <a:gd name="connsiteX118" fmla="*/ 387164 w 761692"/>
                    <a:gd name="connsiteY118" fmla="*/ 810066 h 1016771"/>
                    <a:gd name="connsiteX119" fmla="*/ 387164 w 761692"/>
                    <a:gd name="connsiteY119" fmla="*/ 796503 h 1016771"/>
                    <a:gd name="connsiteX120" fmla="*/ 378687 w 761692"/>
                    <a:gd name="connsiteY120" fmla="*/ 789722 h 1016771"/>
                    <a:gd name="connsiteX121" fmla="*/ 366820 w 761692"/>
                    <a:gd name="connsiteY121" fmla="*/ 782940 h 1016771"/>
                    <a:gd name="connsiteX122" fmla="*/ 356648 w 761692"/>
                    <a:gd name="connsiteY122" fmla="*/ 781245 h 1016771"/>
                    <a:gd name="connsiteX123" fmla="*/ 349866 w 761692"/>
                    <a:gd name="connsiteY123" fmla="*/ 771073 h 1016771"/>
                    <a:gd name="connsiteX124" fmla="*/ 349866 w 761692"/>
                    <a:gd name="connsiteY124" fmla="*/ 752425 h 1016771"/>
                    <a:gd name="connsiteX125" fmla="*/ 353257 w 761692"/>
                    <a:gd name="connsiteY125" fmla="*/ 743948 h 1016771"/>
                    <a:gd name="connsiteX126" fmla="*/ 354952 w 761692"/>
                    <a:gd name="connsiteY126" fmla="*/ 730385 h 1016771"/>
                    <a:gd name="connsiteX127" fmla="*/ 353257 w 761692"/>
                    <a:gd name="connsiteY127" fmla="*/ 713432 h 1016771"/>
                    <a:gd name="connsiteX128" fmla="*/ 346476 w 761692"/>
                    <a:gd name="connsiteY128" fmla="*/ 701565 h 1016771"/>
                    <a:gd name="connsiteX129" fmla="*/ 332913 w 761692"/>
                    <a:gd name="connsiteY129" fmla="*/ 689697 h 1016771"/>
                    <a:gd name="connsiteX130" fmla="*/ 324436 w 761692"/>
                    <a:gd name="connsiteY130" fmla="*/ 681221 h 1016771"/>
                    <a:gd name="connsiteX131" fmla="*/ 314264 w 761692"/>
                    <a:gd name="connsiteY131" fmla="*/ 676135 h 1016771"/>
                    <a:gd name="connsiteX132" fmla="*/ 293920 w 761692"/>
                    <a:gd name="connsiteY132" fmla="*/ 669354 h 1016771"/>
                    <a:gd name="connsiteX133" fmla="*/ 282053 w 761692"/>
                    <a:gd name="connsiteY133" fmla="*/ 667658 h 1016771"/>
                    <a:gd name="connsiteX134" fmla="*/ 266795 w 761692"/>
                    <a:gd name="connsiteY134" fmla="*/ 672744 h 1016771"/>
                    <a:gd name="connsiteX135" fmla="*/ 265100 w 761692"/>
                    <a:gd name="connsiteY135" fmla="*/ 672744 h 1016771"/>
                    <a:gd name="connsiteX136" fmla="*/ 263404 w 761692"/>
                    <a:gd name="connsiteY136" fmla="*/ 671049 h 1016771"/>
                    <a:gd name="connsiteX137" fmla="*/ 260014 w 761692"/>
                    <a:gd name="connsiteY137" fmla="*/ 671049 h 1016771"/>
                    <a:gd name="connsiteX138" fmla="*/ 258318 w 761692"/>
                    <a:gd name="connsiteY138" fmla="*/ 671049 h 1016771"/>
                    <a:gd name="connsiteX139" fmla="*/ 253232 w 761692"/>
                    <a:gd name="connsiteY139" fmla="*/ 671049 h 1016771"/>
                    <a:gd name="connsiteX140" fmla="*/ 248146 w 761692"/>
                    <a:gd name="connsiteY140" fmla="*/ 672744 h 1016771"/>
                    <a:gd name="connsiteX141" fmla="*/ 248146 w 761692"/>
                    <a:gd name="connsiteY141" fmla="*/ 674440 h 1016771"/>
                    <a:gd name="connsiteX142" fmla="*/ 246451 w 761692"/>
                    <a:gd name="connsiteY142" fmla="*/ 674440 h 1016771"/>
                    <a:gd name="connsiteX143" fmla="*/ 236279 w 761692"/>
                    <a:gd name="connsiteY143" fmla="*/ 679526 h 1016771"/>
                    <a:gd name="connsiteX144" fmla="*/ 226107 w 761692"/>
                    <a:gd name="connsiteY144" fmla="*/ 684612 h 1016771"/>
                    <a:gd name="connsiteX145" fmla="*/ 217630 w 761692"/>
                    <a:gd name="connsiteY145" fmla="*/ 684612 h 1016771"/>
                    <a:gd name="connsiteX146" fmla="*/ 207458 w 761692"/>
                    <a:gd name="connsiteY146" fmla="*/ 693088 h 1016771"/>
                    <a:gd name="connsiteX147" fmla="*/ 198982 w 761692"/>
                    <a:gd name="connsiteY147" fmla="*/ 694783 h 1016771"/>
                    <a:gd name="connsiteX148" fmla="*/ 192200 w 761692"/>
                    <a:gd name="connsiteY148" fmla="*/ 699869 h 1016771"/>
                    <a:gd name="connsiteX149" fmla="*/ 178638 w 761692"/>
                    <a:gd name="connsiteY149" fmla="*/ 706651 h 1016771"/>
                    <a:gd name="connsiteX150" fmla="*/ 163380 w 761692"/>
                    <a:gd name="connsiteY150" fmla="*/ 710041 h 1016771"/>
                    <a:gd name="connsiteX151" fmla="*/ 141340 w 761692"/>
                    <a:gd name="connsiteY151" fmla="*/ 710041 h 1016771"/>
                    <a:gd name="connsiteX152" fmla="*/ 134559 w 761692"/>
                    <a:gd name="connsiteY152" fmla="*/ 716823 h 1016771"/>
                    <a:gd name="connsiteX153" fmla="*/ 127778 w 761692"/>
                    <a:gd name="connsiteY153" fmla="*/ 718518 h 1016771"/>
                    <a:gd name="connsiteX154" fmla="*/ 120996 w 761692"/>
                    <a:gd name="connsiteY154" fmla="*/ 725299 h 1016771"/>
                    <a:gd name="connsiteX155" fmla="*/ 111172 w 761692"/>
                    <a:gd name="connsiteY155" fmla="*/ 733720 h 1016771"/>
                    <a:gd name="connsiteX156" fmla="*/ 106283 w 761692"/>
                    <a:gd name="connsiteY156" fmla="*/ 729808 h 1016771"/>
                    <a:gd name="connsiteX157" fmla="*/ 92112 w 761692"/>
                    <a:gd name="connsiteY157" fmla="*/ 724494 h 1016771"/>
                    <a:gd name="connsiteX158" fmla="*/ 77941 w 761692"/>
                    <a:gd name="connsiteY158" fmla="*/ 726265 h 1016771"/>
                    <a:gd name="connsiteX159" fmla="*/ 70855 w 761692"/>
                    <a:gd name="connsiteY159" fmla="*/ 719180 h 1016771"/>
                    <a:gd name="connsiteX160" fmla="*/ 70855 w 761692"/>
                    <a:gd name="connsiteY160" fmla="*/ 699695 h 1016771"/>
                    <a:gd name="connsiteX161" fmla="*/ 81483 w 761692"/>
                    <a:gd name="connsiteY161" fmla="*/ 685524 h 1016771"/>
                    <a:gd name="connsiteX162" fmla="*/ 85026 w 761692"/>
                    <a:gd name="connsiteY162" fmla="*/ 673124 h 1016771"/>
                    <a:gd name="connsiteX163" fmla="*/ 86797 w 761692"/>
                    <a:gd name="connsiteY163" fmla="*/ 660724 h 1016771"/>
                    <a:gd name="connsiteX164" fmla="*/ 97426 w 761692"/>
                    <a:gd name="connsiteY164" fmla="*/ 650096 h 1016771"/>
                    <a:gd name="connsiteX165" fmla="*/ 102740 w 761692"/>
                    <a:gd name="connsiteY165" fmla="*/ 635925 h 1016771"/>
                    <a:gd name="connsiteX166" fmla="*/ 113368 w 761692"/>
                    <a:gd name="connsiteY166" fmla="*/ 625297 h 1016771"/>
                    <a:gd name="connsiteX167" fmla="*/ 115139 w 761692"/>
                    <a:gd name="connsiteY167" fmla="*/ 612897 h 1016771"/>
                    <a:gd name="connsiteX168" fmla="*/ 127539 w 761692"/>
                    <a:gd name="connsiteY168" fmla="*/ 609354 h 1016771"/>
                    <a:gd name="connsiteX169" fmla="*/ 136396 w 761692"/>
                    <a:gd name="connsiteY169" fmla="*/ 604040 h 1016771"/>
                    <a:gd name="connsiteX170" fmla="*/ 132853 w 761692"/>
                    <a:gd name="connsiteY170" fmla="*/ 593412 h 1016771"/>
                    <a:gd name="connsiteX171" fmla="*/ 134625 w 761692"/>
                    <a:gd name="connsiteY171" fmla="*/ 584555 h 1016771"/>
                    <a:gd name="connsiteX172" fmla="*/ 131082 w 761692"/>
                    <a:gd name="connsiteY172" fmla="*/ 575698 h 1016771"/>
                    <a:gd name="connsiteX173" fmla="*/ 120454 w 761692"/>
                    <a:gd name="connsiteY173" fmla="*/ 568613 h 1016771"/>
                    <a:gd name="connsiteX174" fmla="*/ 125768 w 761692"/>
                    <a:gd name="connsiteY174" fmla="*/ 552670 h 1016771"/>
                    <a:gd name="connsiteX175" fmla="*/ 118682 w 761692"/>
                    <a:gd name="connsiteY175" fmla="*/ 543813 h 1016771"/>
                    <a:gd name="connsiteX176" fmla="*/ 90340 w 761692"/>
                    <a:gd name="connsiteY176" fmla="*/ 543813 h 1016771"/>
                    <a:gd name="connsiteX177" fmla="*/ 86797 w 761692"/>
                    <a:gd name="connsiteY177" fmla="*/ 542042 h 1016771"/>
                    <a:gd name="connsiteX178" fmla="*/ 83255 w 761692"/>
                    <a:gd name="connsiteY178" fmla="*/ 542042 h 1016771"/>
                    <a:gd name="connsiteX179" fmla="*/ 81483 w 761692"/>
                    <a:gd name="connsiteY179" fmla="*/ 540271 h 1016771"/>
                    <a:gd name="connsiteX180" fmla="*/ 81483 w 761692"/>
                    <a:gd name="connsiteY180" fmla="*/ 536728 h 1016771"/>
                    <a:gd name="connsiteX181" fmla="*/ 79712 w 761692"/>
                    <a:gd name="connsiteY181" fmla="*/ 531414 h 1016771"/>
                    <a:gd name="connsiteX182" fmla="*/ 77941 w 761692"/>
                    <a:gd name="connsiteY182" fmla="*/ 529642 h 1016771"/>
                    <a:gd name="connsiteX183" fmla="*/ 70855 w 761692"/>
                    <a:gd name="connsiteY183" fmla="*/ 527871 h 1016771"/>
                    <a:gd name="connsiteX184" fmla="*/ 60227 w 761692"/>
                    <a:gd name="connsiteY184" fmla="*/ 536728 h 1016771"/>
                    <a:gd name="connsiteX185" fmla="*/ 47827 w 761692"/>
                    <a:gd name="connsiteY185" fmla="*/ 526100 h 1016771"/>
                    <a:gd name="connsiteX186" fmla="*/ 42513 w 761692"/>
                    <a:gd name="connsiteY186" fmla="*/ 515471 h 1016771"/>
                    <a:gd name="connsiteX187" fmla="*/ 33656 w 761692"/>
                    <a:gd name="connsiteY187" fmla="*/ 506614 h 1016771"/>
                    <a:gd name="connsiteX188" fmla="*/ 31885 w 761692"/>
                    <a:gd name="connsiteY188" fmla="*/ 490672 h 1016771"/>
                    <a:gd name="connsiteX189" fmla="*/ 26571 w 761692"/>
                    <a:gd name="connsiteY189" fmla="*/ 476501 h 1016771"/>
                    <a:gd name="connsiteX190" fmla="*/ 24799 w 761692"/>
                    <a:gd name="connsiteY190" fmla="*/ 471187 h 1016771"/>
                    <a:gd name="connsiteX191" fmla="*/ 12400 w 761692"/>
                    <a:gd name="connsiteY191" fmla="*/ 472958 h 1016771"/>
                    <a:gd name="connsiteX192" fmla="*/ 7086 w 761692"/>
                    <a:gd name="connsiteY192" fmla="*/ 464101 h 1016771"/>
                    <a:gd name="connsiteX193" fmla="*/ 8857 w 761692"/>
                    <a:gd name="connsiteY193" fmla="*/ 446388 h 1016771"/>
                    <a:gd name="connsiteX194" fmla="*/ 3543 w 761692"/>
                    <a:gd name="connsiteY194" fmla="*/ 435759 h 1016771"/>
                    <a:gd name="connsiteX195" fmla="*/ 5314 w 761692"/>
                    <a:gd name="connsiteY195" fmla="*/ 412731 h 1016771"/>
                    <a:gd name="connsiteX196" fmla="*/ 0 w 761692"/>
                    <a:gd name="connsiteY196" fmla="*/ 396789 h 1016771"/>
                    <a:gd name="connsiteX197" fmla="*/ 3543 w 761692"/>
                    <a:gd name="connsiteY197" fmla="*/ 384389 h 1016771"/>
                    <a:gd name="connsiteX198" fmla="*/ 14171 w 761692"/>
                    <a:gd name="connsiteY198" fmla="*/ 380846 h 1016771"/>
                    <a:gd name="connsiteX199" fmla="*/ 24799 w 761692"/>
                    <a:gd name="connsiteY199" fmla="*/ 364904 h 1016771"/>
                    <a:gd name="connsiteX200" fmla="*/ 30113 w 761692"/>
                    <a:gd name="connsiteY200" fmla="*/ 350733 h 1016771"/>
                    <a:gd name="connsiteX201" fmla="*/ 35428 w 761692"/>
                    <a:gd name="connsiteY201" fmla="*/ 341876 h 1016771"/>
                    <a:gd name="connsiteX202" fmla="*/ 42513 w 761692"/>
                    <a:gd name="connsiteY202" fmla="*/ 327705 h 1016771"/>
                    <a:gd name="connsiteX203" fmla="*/ 42513 w 761692"/>
                    <a:gd name="connsiteY203" fmla="*/ 315305 h 1016771"/>
                    <a:gd name="connsiteX204" fmla="*/ 56684 w 761692"/>
                    <a:gd name="connsiteY204" fmla="*/ 309991 h 1016771"/>
                    <a:gd name="connsiteX205" fmla="*/ 60227 w 761692"/>
                    <a:gd name="connsiteY205" fmla="*/ 309991 h 1016771"/>
                    <a:gd name="connsiteX206" fmla="*/ 61998 w 761692"/>
                    <a:gd name="connsiteY206" fmla="*/ 311763 h 1016771"/>
                    <a:gd name="connsiteX207" fmla="*/ 67312 w 761692"/>
                    <a:gd name="connsiteY207" fmla="*/ 311763 h 1016771"/>
                    <a:gd name="connsiteX208" fmla="*/ 67312 w 761692"/>
                    <a:gd name="connsiteY208" fmla="*/ 309991 h 1016771"/>
                    <a:gd name="connsiteX209" fmla="*/ 67312 w 761692"/>
                    <a:gd name="connsiteY209" fmla="*/ 308220 h 1016771"/>
                    <a:gd name="connsiteX210" fmla="*/ 69084 w 761692"/>
                    <a:gd name="connsiteY210" fmla="*/ 302906 h 1016771"/>
                    <a:gd name="connsiteX211" fmla="*/ 70855 w 761692"/>
                    <a:gd name="connsiteY211" fmla="*/ 301134 h 1016771"/>
                    <a:gd name="connsiteX212" fmla="*/ 70855 w 761692"/>
                    <a:gd name="connsiteY212" fmla="*/ 299363 h 1016771"/>
                    <a:gd name="connsiteX213" fmla="*/ 77941 w 761692"/>
                    <a:gd name="connsiteY213" fmla="*/ 295820 h 1016771"/>
                    <a:gd name="connsiteX214" fmla="*/ 85026 w 761692"/>
                    <a:gd name="connsiteY214" fmla="*/ 295820 h 1016771"/>
                    <a:gd name="connsiteX215" fmla="*/ 93883 w 761692"/>
                    <a:gd name="connsiteY215" fmla="*/ 297592 h 1016771"/>
                    <a:gd name="connsiteX216" fmla="*/ 100968 w 761692"/>
                    <a:gd name="connsiteY216" fmla="*/ 288735 h 1016771"/>
                    <a:gd name="connsiteX217" fmla="*/ 97426 w 761692"/>
                    <a:gd name="connsiteY217" fmla="*/ 279878 h 1016771"/>
                    <a:gd name="connsiteX218" fmla="*/ 85026 w 761692"/>
                    <a:gd name="connsiteY218" fmla="*/ 276335 h 1016771"/>
                    <a:gd name="connsiteX219" fmla="*/ 76169 w 761692"/>
                    <a:gd name="connsiteY219" fmla="*/ 271021 h 1016771"/>
                    <a:gd name="connsiteX220" fmla="*/ 76169 w 761692"/>
                    <a:gd name="connsiteY220" fmla="*/ 262164 h 1016771"/>
                    <a:gd name="connsiteX221" fmla="*/ 81483 w 761692"/>
                    <a:gd name="connsiteY221" fmla="*/ 251536 h 1016771"/>
                    <a:gd name="connsiteX222" fmla="*/ 86797 w 761692"/>
                    <a:gd name="connsiteY222" fmla="*/ 255079 h 1016771"/>
                    <a:gd name="connsiteX223" fmla="*/ 104511 w 761692"/>
                    <a:gd name="connsiteY223" fmla="*/ 262164 h 1016771"/>
                    <a:gd name="connsiteX224" fmla="*/ 116911 w 761692"/>
                    <a:gd name="connsiteY224" fmla="*/ 265707 h 1016771"/>
                    <a:gd name="connsiteX225" fmla="*/ 132853 w 761692"/>
                    <a:gd name="connsiteY225" fmla="*/ 269250 h 1016771"/>
                    <a:gd name="connsiteX226" fmla="*/ 138167 w 761692"/>
                    <a:gd name="connsiteY226" fmla="*/ 265707 h 1016771"/>
                    <a:gd name="connsiteX227" fmla="*/ 150567 w 761692"/>
                    <a:gd name="connsiteY227" fmla="*/ 255079 h 1016771"/>
                    <a:gd name="connsiteX228" fmla="*/ 166509 w 761692"/>
                    <a:gd name="connsiteY228" fmla="*/ 255079 h 1016771"/>
                    <a:gd name="connsiteX229" fmla="*/ 166509 w 761692"/>
                    <a:gd name="connsiteY229" fmla="*/ 265707 h 1016771"/>
                    <a:gd name="connsiteX230" fmla="*/ 177138 w 761692"/>
                    <a:gd name="connsiteY230" fmla="*/ 272792 h 1016771"/>
                    <a:gd name="connsiteX231" fmla="*/ 194851 w 761692"/>
                    <a:gd name="connsiteY231" fmla="*/ 276335 h 1016771"/>
                    <a:gd name="connsiteX232" fmla="*/ 209022 w 761692"/>
                    <a:gd name="connsiteY232" fmla="*/ 279878 h 1016771"/>
                    <a:gd name="connsiteX233" fmla="*/ 221422 w 761692"/>
                    <a:gd name="connsiteY233" fmla="*/ 276335 h 1016771"/>
                    <a:gd name="connsiteX234" fmla="*/ 226736 w 761692"/>
                    <a:gd name="connsiteY234" fmla="*/ 269250 h 1016771"/>
                    <a:gd name="connsiteX235" fmla="*/ 226736 w 761692"/>
                    <a:gd name="connsiteY235" fmla="*/ 251536 h 1016771"/>
                    <a:gd name="connsiteX236" fmla="*/ 224965 w 761692"/>
                    <a:gd name="connsiteY236" fmla="*/ 239136 h 1016771"/>
                    <a:gd name="connsiteX237" fmla="*/ 214337 w 761692"/>
                    <a:gd name="connsiteY237" fmla="*/ 230279 h 1016771"/>
                    <a:gd name="connsiteX238" fmla="*/ 210794 w 761692"/>
                    <a:gd name="connsiteY238" fmla="*/ 217880 h 1016771"/>
                    <a:gd name="connsiteX239" fmla="*/ 221422 w 761692"/>
                    <a:gd name="connsiteY239" fmla="*/ 207251 h 1016771"/>
                    <a:gd name="connsiteX240" fmla="*/ 235593 w 761692"/>
                    <a:gd name="connsiteY240" fmla="*/ 214337 h 1016771"/>
                    <a:gd name="connsiteX241" fmla="*/ 246221 w 761692"/>
                    <a:gd name="connsiteY241" fmla="*/ 219651 h 1016771"/>
                    <a:gd name="connsiteX242" fmla="*/ 253307 w 761692"/>
                    <a:gd name="connsiteY242" fmla="*/ 221422 h 1016771"/>
                    <a:gd name="connsiteX243" fmla="*/ 262164 w 761692"/>
                    <a:gd name="connsiteY243" fmla="*/ 210794 h 1016771"/>
                    <a:gd name="connsiteX244" fmla="*/ 263935 w 761692"/>
                    <a:gd name="connsiteY244" fmla="*/ 201937 h 1016771"/>
                    <a:gd name="connsiteX245" fmla="*/ 274563 w 761692"/>
                    <a:gd name="connsiteY245" fmla="*/ 189538 h 1016771"/>
                    <a:gd name="connsiteX246" fmla="*/ 283420 w 761692"/>
                    <a:gd name="connsiteY246" fmla="*/ 178909 h 1016771"/>
                    <a:gd name="connsiteX247" fmla="*/ 286963 w 761692"/>
                    <a:gd name="connsiteY247" fmla="*/ 173595 h 1016771"/>
                    <a:gd name="connsiteX248" fmla="*/ 311762 w 761692"/>
                    <a:gd name="connsiteY248" fmla="*/ 168281 h 1016771"/>
                    <a:gd name="connsiteX249" fmla="*/ 325933 w 761692"/>
                    <a:gd name="connsiteY249" fmla="*/ 164738 h 1016771"/>
                    <a:gd name="connsiteX250" fmla="*/ 336562 w 761692"/>
                    <a:gd name="connsiteY250" fmla="*/ 159424 h 1016771"/>
                    <a:gd name="connsiteX251" fmla="*/ 348961 w 761692"/>
                    <a:gd name="connsiteY251" fmla="*/ 145253 h 1016771"/>
                    <a:gd name="connsiteX252" fmla="*/ 359589 w 761692"/>
                    <a:gd name="connsiteY252" fmla="*/ 143482 h 1016771"/>
                    <a:gd name="connsiteX253" fmla="*/ 371989 w 761692"/>
                    <a:gd name="connsiteY253" fmla="*/ 143482 h 1016771"/>
                    <a:gd name="connsiteX254" fmla="*/ 391474 w 761692"/>
                    <a:gd name="connsiteY254" fmla="*/ 143482 h 1016771"/>
                    <a:gd name="connsiteX255" fmla="*/ 396788 w 761692"/>
                    <a:gd name="connsiteY255" fmla="*/ 141710 h 1016771"/>
                    <a:gd name="connsiteX256" fmla="*/ 403874 w 761692"/>
                    <a:gd name="connsiteY256" fmla="*/ 134625 h 1016771"/>
                    <a:gd name="connsiteX257" fmla="*/ 409188 w 761692"/>
                    <a:gd name="connsiteY257" fmla="*/ 129311 h 1016771"/>
                    <a:gd name="connsiteX258" fmla="*/ 409188 w 761692"/>
                    <a:gd name="connsiteY258" fmla="*/ 123997 h 1016771"/>
                    <a:gd name="connsiteX259" fmla="*/ 414502 w 761692"/>
                    <a:gd name="connsiteY259" fmla="*/ 115140 h 1016771"/>
                    <a:gd name="connsiteX260" fmla="*/ 428673 w 761692"/>
                    <a:gd name="connsiteY260" fmla="*/ 115140 h 1016771"/>
                    <a:gd name="connsiteX261" fmla="*/ 432216 w 761692"/>
                    <a:gd name="connsiteY261" fmla="*/ 109826 h 1016771"/>
                    <a:gd name="connsiteX262" fmla="*/ 437530 w 761692"/>
                    <a:gd name="connsiteY262" fmla="*/ 100969 h 1016771"/>
                    <a:gd name="connsiteX263" fmla="*/ 448158 w 761692"/>
                    <a:gd name="connsiteY263" fmla="*/ 99197 h 1016771"/>
                    <a:gd name="connsiteX264" fmla="*/ 460558 w 761692"/>
                    <a:gd name="connsiteY264" fmla="*/ 97426 h 1016771"/>
                    <a:gd name="connsiteX265" fmla="*/ 472958 w 761692"/>
                    <a:gd name="connsiteY265" fmla="*/ 93883 h 1016771"/>
                    <a:gd name="connsiteX266" fmla="*/ 492443 w 761692"/>
                    <a:gd name="connsiteY266" fmla="*/ 93883 h 1016771"/>
                    <a:gd name="connsiteX267" fmla="*/ 501300 w 761692"/>
                    <a:gd name="connsiteY267" fmla="*/ 83255 h 1016771"/>
                    <a:gd name="connsiteX268" fmla="*/ 517242 w 761692"/>
                    <a:gd name="connsiteY268" fmla="*/ 81484 h 1016771"/>
                    <a:gd name="connsiteX269" fmla="*/ 522556 w 761692"/>
                    <a:gd name="connsiteY269" fmla="*/ 81484 h 1016771"/>
                    <a:gd name="connsiteX270" fmla="*/ 522556 w 761692"/>
                    <a:gd name="connsiteY270" fmla="*/ 60227 h 1016771"/>
                    <a:gd name="connsiteX271" fmla="*/ 526099 w 761692"/>
                    <a:gd name="connsiteY271" fmla="*/ 54913 h 1016771"/>
                    <a:gd name="connsiteX272" fmla="*/ 529642 w 761692"/>
                    <a:gd name="connsiteY272" fmla="*/ 46056 h 1016771"/>
                    <a:gd name="connsiteX273" fmla="*/ 538499 w 761692"/>
                    <a:gd name="connsiteY273" fmla="*/ 40742 h 1016771"/>
                    <a:gd name="connsiteX274" fmla="*/ 540270 w 761692"/>
                    <a:gd name="connsiteY274" fmla="*/ 30114 h 1016771"/>
                    <a:gd name="connsiteX275" fmla="*/ 536727 w 761692"/>
                    <a:gd name="connsiteY275" fmla="*/ 19485 h 1016771"/>
                    <a:gd name="connsiteX276" fmla="*/ 543813 w 761692"/>
                    <a:gd name="connsiteY276" fmla="*/ 5314 h 1016771"/>
                    <a:gd name="connsiteX277" fmla="*/ 554441 w 761692"/>
                    <a:gd name="connsiteY277" fmla="*/ 0 h 1016771"/>
                    <a:gd name="connsiteX0" fmla="*/ 116476 w 761692"/>
                    <a:gd name="connsiteY0" fmla="*/ 741349 h 1016771"/>
                    <a:gd name="connsiteX1" fmla="*/ 117606 w 761692"/>
                    <a:gd name="connsiteY1" fmla="*/ 742253 h 1016771"/>
                    <a:gd name="connsiteX2" fmla="*/ 116476 w 761692"/>
                    <a:gd name="connsiteY2" fmla="*/ 741349 h 1016771"/>
                    <a:gd name="connsiteX3" fmla="*/ 554441 w 761692"/>
                    <a:gd name="connsiteY3" fmla="*/ 0 h 1016771"/>
                    <a:gd name="connsiteX4" fmla="*/ 570383 w 761692"/>
                    <a:gd name="connsiteY4" fmla="*/ 3543 h 1016771"/>
                    <a:gd name="connsiteX5" fmla="*/ 577469 w 761692"/>
                    <a:gd name="connsiteY5" fmla="*/ 8857 h 1016771"/>
                    <a:gd name="connsiteX6" fmla="*/ 582783 w 761692"/>
                    <a:gd name="connsiteY6" fmla="*/ 17714 h 1016771"/>
                    <a:gd name="connsiteX7" fmla="*/ 582783 w 761692"/>
                    <a:gd name="connsiteY7" fmla="*/ 24799 h 1016771"/>
                    <a:gd name="connsiteX8" fmla="*/ 588097 w 761692"/>
                    <a:gd name="connsiteY8" fmla="*/ 33656 h 1016771"/>
                    <a:gd name="connsiteX9" fmla="*/ 598725 w 761692"/>
                    <a:gd name="connsiteY9" fmla="*/ 31885 h 1016771"/>
                    <a:gd name="connsiteX10" fmla="*/ 612896 w 761692"/>
                    <a:gd name="connsiteY10" fmla="*/ 37199 h 1016771"/>
                    <a:gd name="connsiteX11" fmla="*/ 618211 w 761692"/>
                    <a:gd name="connsiteY11" fmla="*/ 46056 h 1016771"/>
                    <a:gd name="connsiteX12" fmla="*/ 619982 w 761692"/>
                    <a:gd name="connsiteY12" fmla="*/ 54913 h 1016771"/>
                    <a:gd name="connsiteX13" fmla="*/ 618211 w 761692"/>
                    <a:gd name="connsiteY13" fmla="*/ 74398 h 1016771"/>
                    <a:gd name="connsiteX14" fmla="*/ 616439 w 761692"/>
                    <a:gd name="connsiteY14" fmla="*/ 85026 h 1016771"/>
                    <a:gd name="connsiteX15" fmla="*/ 621753 w 761692"/>
                    <a:gd name="connsiteY15" fmla="*/ 97426 h 1016771"/>
                    <a:gd name="connsiteX16" fmla="*/ 637696 w 761692"/>
                    <a:gd name="connsiteY16" fmla="*/ 113368 h 1016771"/>
                    <a:gd name="connsiteX17" fmla="*/ 644781 w 761692"/>
                    <a:gd name="connsiteY17" fmla="*/ 120454 h 1016771"/>
                    <a:gd name="connsiteX18" fmla="*/ 650095 w 761692"/>
                    <a:gd name="connsiteY18" fmla="*/ 136396 h 1016771"/>
                    <a:gd name="connsiteX19" fmla="*/ 655409 w 761692"/>
                    <a:gd name="connsiteY19" fmla="*/ 155881 h 1016771"/>
                    <a:gd name="connsiteX20" fmla="*/ 662495 w 761692"/>
                    <a:gd name="connsiteY20" fmla="*/ 171824 h 1016771"/>
                    <a:gd name="connsiteX21" fmla="*/ 660724 w 761692"/>
                    <a:gd name="connsiteY21" fmla="*/ 185995 h 1016771"/>
                    <a:gd name="connsiteX22" fmla="*/ 635924 w 761692"/>
                    <a:gd name="connsiteY22" fmla="*/ 194852 h 1016771"/>
                    <a:gd name="connsiteX23" fmla="*/ 619982 w 761692"/>
                    <a:gd name="connsiteY23" fmla="*/ 207251 h 1016771"/>
                    <a:gd name="connsiteX24" fmla="*/ 614668 w 761692"/>
                    <a:gd name="connsiteY24" fmla="*/ 223194 h 1016771"/>
                    <a:gd name="connsiteX25" fmla="*/ 618211 w 761692"/>
                    <a:gd name="connsiteY25" fmla="*/ 242679 h 1016771"/>
                    <a:gd name="connsiteX26" fmla="*/ 612896 w 761692"/>
                    <a:gd name="connsiteY26" fmla="*/ 256850 h 1016771"/>
                    <a:gd name="connsiteX27" fmla="*/ 625296 w 761692"/>
                    <a:gd name="connsiteY27" fmla="*/ 267478 h 1016771"/>
                    <a:gd name="connsiteX28" fmla="*/ 641238 w 761692"/>
                    <a:gd name="connsiteY28" fmla="*/ 269250 h 1016771"/>
                    <a:gd name="connsiteX29" fmla="*/ 658952 w 761692"/>
                    <a:gd name="connsiteY29" fmla="*/ 286963 h 1016771"/>
                    <a:gd name="connsiteX30" fmla="*/ 653638 w 761692"/>
                    <a:gd name="connsiteY30" fmla="*/ 309991 h 1016771"/>
                    <a:gd name="connsiteX31" fmla="*/ 653638 w 761692"/>
                    <a:gd name="connsiteY31" fmla="*/ 329476 h 1016771"/>
                    <a:gd name="connsiteX32" fmla="*/ 643010 w 761692"/>
                    <a:gd name="connsiteY32" fmla="*/ 338333 h 1016771"/>
                    <a:gd name="connsiteX33" fmla="*/ 632382 w 761692"/>
                    <a:gd name="connsiteY33" fmla="*/ 338333 h 1016771"/>
                    <a:gd name="connsiteX34" fmla="*/ 618211 w 761692"/>
                    <a:gd name="connsiteY34" fmla="*/ 357819 h 1016771"/>
                    <a:gd name="connsiteX35" fmla="*/ 609354 w 761692"/>
                    <a:gd name="connsiteY35" fmla="*/ 361361 h 1016771"/>
                    <a:gd name="connsiteX36" fmla="*/ 596954 w 761692"/>
                    <a:gd name="connsiteY36" fmla="*/ 363133 h 1016771"/>
                    <a:gd name="connsiteX37" fmla="*/ 581012 w 761692"/>
                    <a:gd name="connsiteY37" fmla="*/ 379075 h 1016771"/>
                    <a:gd name="connsiteX38" fmla="*/ 589868 w 761692"/>
                    <a:gd name="connsiteY38" fmla="*/ 393246 h 1016771"/>
                    <a:gd name="connsiteX39" fmla="*/ 586326 w 761692"/>
                    <a:gd name="connsiteY39" fmla="*/ 409189 h 1016771"/>
                    <a:gd name="connsiteX40" fmla="*/ 570383 w 761692"/>
                    <a:gd name="connsiteY40" fmla="*/ 398560 h 1016771"/>
                    <a:gd name="connsiteX41" fmla="*/ 550898 w 761692"/>
                    <a:gd name="connsiteY41" fmla="*/ 405646 h 1016771"/>
                    <a:gd name="connsiteX42" fmla="*/ 531413 w 761692"/>
                    <a:gd name="connsiteY42" fmla="*/ 425131 h 1016771"/>
                    <a:gd name="connsiteX43" fmla="*/ 543813 w 761692"/>
                    <a:gd name="connsiteY43" fmla="*/ 444616 h 1016771"/>
                    <a:gd name="connsiteX44" fmla="*/ 557984 w 761692"/>
                    <a:gd name="connsiteY44" fmla="*/ 462330 h 1016771"/>
                    <a:gd name="connsiteX45" fmla="*/ 570383 w 761692"/>
                    <a:gd name="connsiteY45" fmla="*/ 478272 h 1016771"/>
                    <a:gd name="connsiteX46" fmla="*/ 579240 w 761692"/>
                    <a:gd name="connsiteY46" fmla="*/ 485358 h 1016771"/>
                    <a:gd name="connsiteX47" fmla="*/ 602268 w 761692"/>
                    <a:gd name="connsiteY47" fmla="*/ 483586 h 1016771"/>
                    <a:gd name="connsiteX48" fmla="*/ 623525 w 761692"/>
                    <a:gd name="connsiteY48" fmla="*/ 474730 h 1016771"/>
                    <a:gd name="connsiteX49" fmla="*/ 639467 w 761692"/>
                    <a:gd name="connsiteY49" fmla="*/ 464101 h 1016771"/>
                    <a:gd name="connsiteX50" fmla="*/ 662495 w 761692"/>
                    <a:gd name="connsiteY50" fmla="*/ 464101 h 1016771"/>
                    <a:gd name="connsiteX51" fmla="*/ 673123 w 761692"/>
                    <a:gd name="connsiteY51" fmla="*/ 464101 h 1016771"/>
                    <a:gd name="connsiteX52" fmla="*/ 681980 w 761692"/>
                    <a:gd name="connsiteY52" fmla="*/ 467644 h 1016771"/>
                    <a:gd name="connsiteX53" fmla="*/ 703237 w 761692"/>
                    <a:gd name="connsiteY53" fmla="*/ 471187 h 1016771"/>
                    <a:gd name="connsiteX54" fmla="*/ 708551 w 761692"/>
                    <a:gd name="connsiteY54" fmla="*/ 474730 h 1016771"/>
                    <a:gd name="connsiteX55" fmla="*/ 722722 w 761692"/>
                    <a:gd name="connsiteY55" fmla="*/ 501300 h 1016771"/>
                    <a:gd name="connsiteX56" fmla="*/ 724493 w 761692"/>
                    <a:gd name="connsiteY56" fmla="*/ 522557 h 1016771"/>
                    <a:gd name="connsiteX57" fmla="*/ 722722 w 761692"/>
                    <a:gd name="connsiteY57" fmla="*/ 540271 h 1016771"/>
                    <a:gd name="connsiteX58" fmla="*/ 735121 w 761692"/>
                    <a:gd name="connsiteY58" fmla="*/ 552670 h 1016771"/>
                    <a:gd name="connsiteX59" fmla="*/ 735121 w 761692"/>
                    <a:gd name="connsiteY59" fmla="*/ 570384 h 1016771"/>
                    <a:gd name="connsiteX60" fmla="*/ 751064 w 761692"/>
                    <a:gd name="connsiteY60" fmla="*/ 581012 h 1016771"/>
                    <a:gd name="connsiteX61" fmla="*/ 761692 w 761692"/>
                    <a:gd name="connsiteY61" fmla="*/ 604040 h 1016771"/>
                    <a:gd name="connsiteX62" fmla="*/ 747521 w 761692"/>
                    <a:gd name="connsiteY62" fmla="*/ 616440 h 1016771"/>
                    <a:gd name="connsiteX63" fmla="*/ 728036 w 761692"/>
                    <a:gd name="connsiteY63" fmla="*/ 627068 h 1016771"/>
                    <a:gd name="connsiteX64" fmla="*/ 726264 w 761692"/>
                    <a:gd name="connsiteY64" fmla="*/ 650096 h 1016771"/>
                    <a:gd name="connsiteX65" fmla="*/ 728036 w 761692"/>
                    <a:gd name="connsiteY65" fmla="*/ 673124 h 1016771"/>
                    <a:gd name="connsiteX66" fmla="*/ 742207 w 761692"/>
                    <a:gd name="connsiteY66" fmla="*/ 689066 h 1016771"/>
                    <a:gd name="connsiteX67" fmla="*/ 742207 w 761692"/>
                    <a:gd name="connsiteY67" fmla="*/ 712094 h 1016771"/>
                    <a:gd name="connsiteX68" fmla="*/ 740435 w 761692"/>
                    <a:gd name="connsiteY68" fmla="*/ 735122 h 1016771"/>
                    <a:gd name="connsiteX69" fmla="*/ 742207 w 761692"/>
                    <a:gd name="connsiteY69" fmla="*/ 751065 h 1016771"/>
                    <a:gd name="connsiteX70" fmla="*/ 747521 w 761692"/>
                    <a:gd name="connsiteY70" fmla="*/ 768778 h 1016771"/>
                    <a:gd name="connsiteX71" fmla="*/ 759921 w 761692"/>
                    <a:gd name="connsiteY71" fmla="*/ 777635 h 1016771"/>
                    <a:gd name="connsiteX72" fmla="*/ 758149 w 761692"/>
                    <a:gd name="connsiteY72" fmla="*/ 802434 h 1016771"/>
                    <a:gd name="connsiteX73" fmla="*/ 752835 w 761692"/>
                    <a:gd name="connsiteY73" fmla="*/ 814834 h 1016771"/>
                    <a:gd name="connsiteX74" fmla="*/ 743978 w 761692"/>
                    <a:gd name="connsiteY74" fmla="*/ 827234 h 1016771"/>
                    <a:gd name="connsiteX75" fmla="*/ 743978 w 761692"/>
                    <a:gd name="connsiteY75" fmla="*/ 837862 h 1016771"/>
                    <a:gd name="connsiteX76" fmla="*/ 747521 w 761692"/>
                    <a:gd name="connsiteY76" fmla="*/ 853804 h 1016771"/>
                    <a:gd name="connsiteX77" fmla="*/ 733350 w 761692"/>
                    <a:gd name="connsiteY77" fmla="*/ 867975 h 1016771"/>
                    <a:gd name="connsiteX78" fmla="*/ 724493 w 761692"/>
                    <a:gd name="connsiteY78" fmla="*/ 880375 h 1016771"/>
                    <a:gd name="connsiteX79" fmla="*/ 722722 w 761692"/>
                    <a:gd name="connsiteY79" fmla="*/ 899860 h 1016771"/>
                    <a:gd name="connsiteX80" fmla="*/ 722722 w 761692"/>
                    <a:gd name="connsiteY80" fmla="*/ 919345 h 1016771"/>
                    <a:gd name="connsiteX81" fmla="*/ 715636 w 761692"/>
                    <a:gd name="connsiteY81" fmla="*/ 940602 h 1016771"/>
                    <a:gd name="connsiteX82" fmla="*/ 708551 w 761692"/>
                    <a:gd name="connsiteY82" fmla="*/ 954773 h 1016771"/>
                    <a:gd name="connsiteX83" fmla="*/ 699694 w 761692"/>
                    <a:gd name="connsiteY83" fmla="*/ 965401 h 1016771"/>
                    <a:gd name="connsiteX84" fmla="*/ 692608 w 761692"/>
                    <a:gd name="connsiteY84" fmla="*/ 984886 h 1016771"/>
                    <a:gd name="connsiteX85" fmla="*/ 683751 w 761692"/>
                    <a:gd name="connsiteY85" fmla="*/ 997286 h 1016771"/>
                    <a:gd name="connsiteX86" fmla="*/ 673123 w 761692"/>
                    <a:gd name="connsiteY86" fmla="*/ 1002600 h 1016771"/>
                    <a:gd name="connsiteX87" fmla="*/ 662495 w 761692"/>
                    <a:gd name="connsiteY87" fmla="*/ 1013228 h 1016771"/>
                    <a:gd name="connsiteX88" fmla="*/ 644781 w 761692"/>
                    <a:gd name="connsiteY88" fmla="*/ 1016771 h 1016771"/>
                    <a:gd name="connsiteX89" fmla="*/ 635924 w 761692"/>
                    <a:gd name="connsiteY89" fmla="*/ 1004372 h 1016771"/>
                    <a:gd name="connsiteX90" fmla="*/ 623525 w 761692"/>
                    <a:gd name="connsiteY90" fmla="*/ 997286 h 1016771"/>
                    <a:gd name="connsiteX91" fmla="*/ 614668 w 761692"/>
                    <a:gd name="connsiteY91" fmla="*/ 986658 h 1016771"/>
                    <a:gd name="connsiteX92" fmla="*/ 593411 w 761692"/>
                    <a:gd name="connsiteY92" fmla="*/ 970715 h 1016771"/>
                    <a:gd name="connsiteX93" fmla="*/ 582783 w 761692"/>
                    <a:gd name="connsiteY93" fmla="*/ 965401 h 1016771"/>
                    <a:gd name="connsiteX94" fmla="*/ 531413 w 761692"/>
                    <a:gd name="connsiteY94" fmla="*/ 965401 h 1016771"/>
                    <a:gd name="connsiteX95" fmla="*/ 511928 w 761692"/>
                    <a:gd name="connsiteY95" fmla="*/ 965401 h 1016771"/>
                    <a:gd name="connsiteX96" fmla="*/ 492443 w 761692"/>
                    <a:gd name="connsiteY96" fmla="*/ 963630 h 1016771"/>
                    <a:gd name="connsiteX97" fmla="*/ 483586 w 761692"/>
                    <a:gd name="connsiteY97" fmla="*/ 958316 h 1016771"/>
                    <a:gd name="connsiteX98" fmla="*/ 469415 w 761692"/>
                    <a:gd name="connsiteY98" fmla="*/ 954773 h 1016771"/>
                    <a:gd name="connsiteX99" fmla="*/ 460558 w 761692"/>
                    <a:gd name="connsiteY99" fmla="*/ 942373 h 1016771"/>
                    <a:gd name="connsiteX100" fmla="*/ 446387 w 761692"/>
                    <a:gd name="connsiteY100" fmla="*/ 935288 h 1016771"/>
                    <a:gd name="connsiteX101" fmla="*/ 428673 w 761692"/>
                    <a:gd name="connsiteY101" fmla="*/ 928202 h 1016771"/>
                    <a:gd name="connsiteX102" fmla="*/ 418045 w 761692"/>
                    <a:gd name="connsiteY102" fmla="*/ 917574 h 1016771"/>
                    <a:gd name="connsiteX103" fmla="*/ 421588 w 761692"/>
                    <a:gd name="connsiteY103" fmla="*/ 903403 h 1016771"/>
                    <a:gd name="connsiteX104" fmla="*/ 418045 w 761692"/>
                    <a:gd name="connsiteY104" fmla="*/ 898089 h 1016771"/>
                    <a:gd name="connsiteX105" fmla="*/ 396788 w 761692"/>
                    <a:gd name="connsiteY105" fmla="*/ 898089 h 1016771"/>
                    <a:gd name="connsiteX106" fmla="*/ 382617 w 761692"/>
                    <a:gd name="connsiteY106" fmla="*/ 896318 h 1016771"/>
                    <a:gd name="connsiteX107" fmla="*/ 380846 w 761692"/>
                    <a:gd name="connsiteY107" fmla="*/ 906946 h 1016771"/>
                    <a:gd name="connsiteX108" fmla="*/ 387164 w 761692"/>
                    <a:gd name="connsiteY108" fmla="*/ 896527 h 1016771"/>
                    <a:gd name="connsiteX109" fmla="*/ 383773 w 761692"/>
                    <a:gd name="connsiteY109" fmla="*/ 886355 h 1016771"/>
                    <a:gd name="connsiteX110" fmla="*/ 387164 w 761692"/>
                    <a:gd name="connsiteY110" fmla="*/ 876183 h 1016771"/>
                    <a:gd name="connsiteX111" fmla="*/ 388859 w 761692"/>
                    <a:gd name="connsiteY111" fmla="*/ 867707 h 1016771"/>
                    <a:gd name="connsiteX112" fmla="*/ 380382 w 761692"/>
                    <a:gd name="connsiteY112" fmla="*/ 859230 h 1016771"/>
                    <a:gd name="connsiteX113" fmla="*/ 373601 w 761692"/>
                    <a:gd name="connsiteY113" fmla="*/ 849058 h 1016771"/>
                    <a:gd name="connsiteX114" fmla="*/ 380382 w 761692"/>
                    <a:gd name="connsiteY114" fmla="*/ 838886 h 1016771"/>
                    <a:gd name="connsiteX115" fmla="*/ 383773 w 761692"/>
                    <a:gd name="connsiteY115" fmla="*/ 833800 h 1016771"/>
                    <a:gd name="connsiteX116" fmla="*/ 388859 w 761692"/>
                    <a:gd name="connsiteY116" fmla="*/ 825324 h 1016771"/>
                    <a:gd name="connsiteX117" fmla="*/ 387164 w 761692"/>
                    <a:gd name="connsiteY117" fmla="*/ 810066 h 1016771"/>
                    <a:gd name="connsiteX118" fmla="*/ 387164 w 761692"/>
                    <a:gd name="connsiteY118" fmla="*/ 796503 h 1016771"/>
                    <a:gd name="connsiteX119" fmla="*/ 378687 w 761692"/>
                    <a:gd name="connsiteY119" fmla="*/ 789722 h 1016771"/>
                    <a:gd name="connsiteX120" fmla="*/ 366820 w 761692"/>
                    <a:gd name="connsiteY120" fmla="*/ 782940 h 1016771"/>
                    <a:gd name="connsiteX121" fmla="*/ 356648 w 761692"/>
                    <a:gd name="connsiteY121" fmla="*/ 781245 h 1016771"/>
                    <a:gd name="connsiteX122" fmla="*/ 349866 w 761692"/>
                    <a:gd name="connsiteY122" fmla="*/ 771073 h 1016771"/>
                    <a:gd name="connsiteX123" fmla="*/ 349866 w 761692"/>
                    <a:gd name="connsiteY123" fmla="*/ 752425 h 1016771"/>
                    <a:gd name="connsiteX124" fmla="*/ 353257 w 761692"/>
                    <a:gd name="connsiteY124" fmla="*/ 743948 h 1016771"/>
                    <a:gd name="connsiteX125" fmla="*/ 354952 w 761692"/>
                    <a:gd name="connsiteY125" fmla="*/ 730385 h 1016771"/>
                    <a:gd name="connsiteX126" fmla="*/ 353257 w 761692"/>
                    <a:gd name="connsiteY126" fmla="*/ 713432 h 1016771"/>
                    <a:gd name="connsiteX127" fmla="*/ 346476 w 761692"/>
                    <a:gd name="connsiteY127" fmla="*/ 701565 h 1016771"/>
                    <a:gd name="connsiteX128" fmla="*/ 332913 w 761692"/>
                    <a:gd name="connsiteY128" fmla="*/ 689697 h 1016771"/>
                    <a:gd name="connsiteX129" fmla="*/ 324436 w 761692"/>
                    <a:gd name="connsiteY129" fmla="*/ 681221 h 1016771"/>
                    <a:gd name="connsiteX130" fmla="*/ 314264 w 761692"/>
                    <a:gd name="connsiteY130" fmla="*/ 676135 h 1016771"/>
                    <a:gd name="connsiteX131" fmla="*/ 293920 w 761692"/>
                    <a:gd name="connsiteY131" fmla="*/ 669354 h 1016771"/>
                    <a:gd name="connsiteX132" fmla="*/ 282053 w 761692"/>
                    <a:gd name="connsiteY132" fmla="*/ 667658 h 1016771"/>
                    <a:gd name="connsiteX133" fmla="*/ 266795 w 761692"/>
                    <a:gd name="connsiteY133" fmla="*/ 672744 h 1016771"/>
                    <a:gd name="connsiteX134" fmla="*/ 265100 w 761692"/>
                    <a:gd name="connsiteY134" fmla="*/ 672744 h 1016771"/>
                    <a:gd name="connsiteX135" fmla="*/ 263404 w 761692"/>
                    <a:gd name="connsiteY135" fmla="*/ 671049 h 1016771"/>
                    <a:gd name="connsiteX136" fmla="*/ 260014 w 761692"/>
                    <a:gd name="connsiteY136" fmla="*/ 671049 h 1016771"/>
                    <a:gd name="connsiteX137" fmla="*/ 258318 w 761692"/>
                    <a:gd name="connsiteY137" fmla="*/ 671049 h 1016771"/>
                    <a:gd name="connsiteX138" fmla="*/ 253232 w 761692"/>
                    <a:gd name="connsiteY138" fmla="*/ 671049 h 1016771"/>
                    <a:gd name="connsiteX139" fmla="*/ 248146 w 761692"/>
                    <a:gd name="connsiteY139" fmla="*/ 672744 h 1016771"/>
                    <a:gd name="connsiteX140" fmla="*/ 248146 w 761692"/>
                    <a:gd name="connsiteY140" fmla="*/ 674440 h 1016771"/>
                    <a:gd name="connsiteX141" fmla="*/ 246451 w 761692"/>
                    <a:gd name="connsiteY141" fmla="*/ 674440 h 1016771"/>
                    <a:gd name="connsiteX142" fmla="*/ 236279 w 761692"/>
                    <a:gd name="connsiteY142" fmla="*/ 679526 h 1016771"/>
                    <a:gd name="connsiteX143" fmla="*/ 226107 w 761692"/>
                    <a:gd name="connsiteY143" fmla="*/ 684612 h 1016771"/>
                    <a:gd name="connsiteX144" fmla="*/ 217630 w 761692"/>
                    <a:gd name="connsiteY144" fmla="*/ 684612 h 1016771"/>
                    <a:gd name="connsiteX145" fmla="*/ 207458 w 761692"/>
                    <a:gd name="connsiteY145" fmla="*/ 693088 h 1016771"/>
                    <a:gd name="connsiteX146" fmla="*/ 198982 w 761692"/>
                    <a:gd name="connsiteY146" fmla="*/ 694783 h 1016771"/>
                    <a:gd name="connsiteX147" fmla="*/ 192200 w 761692"/>
                    <a:gd name="connsiteY147" fmla="*/ 699869 h 1016771"/>
                    <a:gd name="connsiteX148" fmla="*/ 178638 w 761692"/>
                    <a:gd name="connsiteY148" fmla="*/ 706651 h 1016771"/>
                    <a:gd name="connsiteX149" fmla="*/ 163380 w 761692"/>
                    <a:gd name="connsiteY149" fmla="*/ 710041 h 1016771"/>
                    <a:gd name="connsiteX150" fmla="*/ 141340 w 761692"/>
                    <a:gd name="connsiteY150" fmla="*/ 710041 h 1016771"/>
                    <a:gd name="connsiteX151" fmla="*/ 134559 w 761692"/>
                    <a:gd name="connsiteY151" fmla="*/ 716823 h 1016771"/>
                    <a:gd name="connsiteX152" fmla="*/ 127778 w 761692"/>
                    <a:gd name="connsiteY152" fmla="*/ 718518 h 1016771"/>
                    <a:gd name="connsiteX153" fmla="*/ 120996 w 761692"/>
                    <a:gd name="connsiteY153" fmla="*/ 725299 h 1016771"/>
                    <a:gd name="connsiteX154" fmla="*/ 111172 w 761692"/>
                    <a:gd name="connsiteY154" fmla="*/ 733720 h 1016771"/>
                    <a:gd name="connsiteX155" fmla="*/ 106283 w 761692"/>
                    <a:gd name="connsiteY155" fmla="*/ 729808 h 1016771"/>
                    <a:gd name="connsiteX156" fmla="*/ 92112 w 761692"/>
                    <a:gd name="connsiteY156" fmla="*/ 724494 h 1016771"/>
                    <a:gd name="connsiteX157" fmla="*/ 77941 w 761692"/>
                    <a:gd name="connsiteY157" fmla="*/ 726265 h 1016771"/>
                    <a:gd name="connsiteX158" fmla="*/ 70855 w 761692"/>
                    <a:gd name="connsiteY158" fmla="*/ 719180 h 1016771"/>
                    <a:gd name="connsiteX159" fmla="*/ 70855 w 761692"/>
                    <a:gd name="connsiteY159" fmla="*/ 699695 h 1016771"/>
                    <a:gd name="connsiteX160" fmla="*/ 81483 w 761692"/>
                    <a:gd name="connsiteY160" fmla="*/ 685524 h 1016771"/>
                    <a:gd name="connsiteX161" fmla="*/ 85026 w 761692"/>
                    <a:gd name="connsiteY161" fmla="*/ 673124 h 1016771"/>
                    <a:gd name="connsiteX162" fmla="*/ 86797 w 761692"/>
                    <a:gd name="connsiteY162" fmla="*/ 660724 h 1016771"/>
                    <a:gd name="connsiteX163" fmla="*/ 97426 w 761692"/>
                    <a:gd name="connsiteY163" fmla="*/ 650096 h 1016771"/>
                    <a:gd name="connsiteX164" fmla="*/ 102740 w 761692"/>
                    <a:gd name="connsiteY164" fmla="*/ 635925 h 1016771"/>
                    <a:gd name="connsiteX165" fmla="*/ 113368 w 761692"/>
                    <a:gd name="connsiteY165" fmla="*/ 625297 h 1016771"/>
                    <a:gd name="connsiteX166" fmla="*/ 115139 w 761692"/>
                    <a:gd name="connsiteY166" fmla="*/ 612897 h 1016771"/>
                    <a:gd name="connsiteX167" fmla="*/ 127539 w 761692"/>
                    <a:gd name="connsiteY167" fmla="*/ 609354 h 1016771"/>
                    <a:gd name="connsiteX168" fmla="*/ 136396 w 761692"/>
                    <a:gd name="connsiteY168" fmla="*/ 604040 h 1016771"/>
                    <a:gd name="connsiteX169" fmla="*/ 132853 w 761692"/>
                    <a:gd name="connsiteY169" fmla="*/ 593412 h 1016771"/>
                    <a:gd name="connsiteX170" fmla="*/ 134625 w 761692"/>
                    <a:gd name="connsiteY170" fmla="*/ 584555 h 1016771"/>
                    <a:gd name="connsiteX171" fmla="*/ 131082 w 761692"/>
                    <a:gd name="connsiteY171" fmla="*/ 575698 h 1016771"/>
                    <a:gd name="connsiteX172" fmla="*/ 120454 w 761692"/>
                    <a:gd name="connsiteY172" fmla="*/ 568613 h 1016771"/>
                    <a:gd name="connsiteX173" fmla="*/ 125768 w 761692"/>
                    <a:gd name="connsiteY173" fmla="*/ 552670 h 1016771"/>
                    <a:gd name="connsiteX174" fmla="*/ 118682 w 761692"/>
                    <a:gd name="connsiteY174" fmla="*/ 543813 h 1016771"/>
                    <a:gd name="connsiteX175" fmla="*/ 90340 w 761692"/>
                    <a:gd name="connsiteY175" fmla="*/ 543813 h 1016771"/>
                    <a:gd name="connsiteX176" fmla="*/ 86797 w 761692"/>
                    <a:gd name="connsiteY176" fmla="*/ 542042 h 1016771"/>
                    <a:gd name="connsiteX177" fmla="*/ 83255 w 761692"/>
                    <a:gd name="connsiteY177" fmla="*/ 542042 h 1016771"/>
                    <a:gd name="connsiteX178" fmla="*/ 81483 w 761692"/>
                    <a:gd name="connsiteY178" fmla="*/ 540271 h 1016771"/>
                    <a:gd name="connsiteX179" fmla="*/ 81483 w 761692"/>
                    <a:gd name="connsiteY179" fmla="*/ 536728 h 1016771"/>
                    <a:gd name="connsiteX180" fmla="*/ 79712 w 761692"/>
                    <a:gd name="connsiteY180" fmla="*/ 531414 h 1016771"/>
                    <a:gd name="connsiteX181" fmla="*/ 77941 w 761692"/>
                    <a:gd name="connsiteY181" fmla="*/ 529642 h 1016771"/>
                    <a:gd name="connsiteX182" fmla="*/ 70855 w 761692"/>
                    <a:gd name="connsiteY182" fmla="*/ 527871 h 1016771"/>
                    <a:gd name="connsiteX183" fmla="*/ 60227 w 761692"/>
                    <a:gd name="connsiteY183" fmla="*/ 536728 h 1016771"/>
                    <a:gd name="connsiteX184" fmla="*/ 47827 w 761692"/>
                    <a:gd name="connsiteY184" fmla="*/ 526100 h 1016771"/>
                    <a:gd name="connsiteX185" fmla="*/ 42513 w 761692"/>
                    <a:gd name="connsiteY185" fmla="*/ 515471 h 1016771"/>
                    <a:gd name="connsiteX186" fmla="*/ 33656 w 761692"/>
                    <a:gd name="connsiteY186" fmla="*/ 506614 h 1016771"/>
                    <a:gd name="connsiteX187" fmla="*/ 31885 w 761692"/>
                    <a:gd name="connsiteY187" fmla="*/ 490672 h 1016771"/>
                    <a:gd name="connsiteX188" fmla="*/ 26571 w 761692"/>
                    <a:gd name="connsiteY188" fmla="*/ 476501 h 1016771"/>
                    <a:gd name="connsiteX189" fmla="*/ 24799 w 761692"/>
                    <a:gd name="connsiteY189" fmla="*/ 471187 h 1016771"/>
                    <a:gd name="connsiteX190" fmla="*/ 12400 w 761692"/>
                    <a:gd name="connsiteY190" fmla="*/ 472958 h 1016771"/>
                    <a:gd name="connsiteX191" fmla="*/ 7086 w 761692"/>
                    <a:gd name="connsiteY191" fmla="*/ 464101 h 1016771"/>
                    <a:gd name="connsiteX192" fmla="*/ 8857 w 761692"/>
                    <a:gd name="connsiteY192" fmla="*/ 446388 h 1016771"/>
                    <a:gd name="connsiteX193" fmla="*/ 3543 w 761692"/>
                    <a:gd name="connsiteY193" fmla="*/ 435759 h 1016771"/>
                    <a:gd name="connsiteX194" fmla="*/ 5314 w 761692"/>
                    <a:gd name="connsiteY194" fmla="*/ 412731 h 1016771"/>
                    <a:gd name="connsiteX195" fmla="*/ 0 w 761692"/>
                    <a:gd name="connsiteY195" fmla="*/ 396789 h 1016771"/>
                    <a:gd name="connsiteX196" fmla="*/ 3543 w 761692"/>
                    <a:gd name="connsiteY196" fmla="*/ 384389 h 1016771"/>
                    <a:gd name="connsiteX197" fmla="*/ 14171 w 761692"/>
                    <a:gd name="connsiteY197" fmla="*/ 380846 h 1016771"/>
                    <a:gd name="connsiteX198" fmla="*/ 24799 w 761692"/>
                    <a:gd name="connsiteY198" fmla="*/ 364904 h 1016771"/>
                    <a:gd name="connsiteX199" fmla="*/ 30113 w 761692"/>
                    <a:gd name="connsiteY199" fmla="*/ 350733 h 1016771"/>
                    <a:gd name="connsiteX200" fmla="*/ 35428 w 761692"/>
                    <a:gd name="connsiteY200" fmla="*/ 341876 h 1016771"/>
                    <a:gd name="connsiteX201" fmla="*/ 42513 w 761692"/>
                    <a:gd name="connsiteY201" fmla="*/ 327705 h 1016771"/>
                    <a:gd name="connsiteX202" fmla="*/ 42513 w 761692"/>
                    <a:gd name="connsiteY202" fmla="*/ 315305 h 1016771"/>
                    <a:gd name="connsiteX203" fmla="*/ 56684 w 761692"/>
                    <a:gd name="connsiteY203" fmla="*/ 309991 h 1016771"/>
                    <a:gd name="connsiteX204" fmla="*/ 60227 w 761692"/>
                    <a:gd name="connsiteY204" fmla="*/ 309991 h 1016771"/>
                    <a:gd name="connsiteX205" fmla="*/ 61998 w 761692"/>
                    <a:gd name="connsiteY205" fmla="*/ 311763 h 1016771"/>
                    <a:gd name="connsiteX206" fmla="*/ 67312 w 761692"/>
                    <a:gd name="connsiteY206" fmla="*/ 311763 h 1016771"/>
                    <a:gd name="connsiteX207" fmla="*/ 67312 w 761692"/>
                    <a:gd name="connsiteY207" fmla="*/ 309991 h 1016771"/>
                    <a:gd name="connsiteX208" fmla="*/ 67312 w 761692"/>
                    <a:gd name="connsiteY208" fmla="*/ 308220 h 1016771"/>
                    <a:gd name="connsiteX209" fmla="*/ 69084 w 761692"/>
                    <a:gd name="connsiteY209" fmla="*/ 302906 h 1016771"/>
                    <a:gd name="connsiteX210" fmla="*/ 70855 w 761692"/>
                    <a:gd name="connsiteY210" fmla="*/ 301134 h 1016771"/>
                    <a:gd name="connsiteX211" fmla="*/ 70855 w 761692"/>
                    <a:gd name="connsiteY211" fmla="*/ 299363 h 1016771"/>
                    <a:gd name="connsiteX212" fmla="*/ 77941 w 761692"/>
                    <a:gd name="connsiteY212" fmla="*/ 295820 h 1016771"/>
                    <a:gd name="connsiteX213" fmla="*/ 85026 w 761692"/>
                    <a:gd name="connsiteY213" fmla="*/ 295820 h 1016771"/>
                    <a:gd name="connsiteX214" fmla="*/ 93883 w 761692"/>
                    <a:gd name="connsiteY214" fmla="*/ 297592 h 1016771"/>
                    <a:gd name="connsiteX215" fmla="*/ 100968 w 761692"/>
                    <a:gd name="connsiteY215" fmla="*/ 288735 h 1016771"/>
                    <a:gd name="connsiteX216" fmla="*/ 97426 w 761692"/>
                    <a:gd name="connsiteY216" fmla="*/ 279878 h 1016771"/>
                    <a:gd name="connsiteX217" fmla="*/ 85026 w 761692"/>
                    <a:gd name="connsiteY217" fmla="*/ 276335 h 1016771"/>
                    <a:gd name="connsiteX218" fmla="*/ 76169 w 761692"/>
                    <a:gd name="connsiteY218" fmla="*/ 271021 h 1016771"/>
                    <a:gd name="connsiteX219" fmla="*/ 76169 w 761692"/>
                    <a:gd name="connsiteY219" fmla="*/ 262164 h 1016771"/>
                    <a:gd name="connsiteX220" fmla="*/ 81483 w 761692"/>
                    <a:gd name="connsiteY220" fmla="*/ 251536 h 1016771"/>
                    <a:gd name="connsiteX221" fmla="*/ 86797 w 761692"/>
                    <a:gd name="connsiteY221" fmla="*/ 255079 h 1016771"/>
                    <a:gd name="connsiteX222" fmla="*/ 104511 w 761692"/>
                    <a:gd name="connsiteY222" fmla="*/ 262164 h 1016771"/>
                    <a:gd name="connsiteX223" fmla="*/ 116911 w 761692"/>
                    <a:gd name="connsiteY223" fmla="*/ 265707 h 1016771"/>
                    <a:gd name="connsiteX224" fmla="*/ 132853 w 761692"/>
                    <a:gd name="connsiteY224" fmla="*/ 269250 h 1016771"/>
                    <a:gd name="connsiteX225" fmla="*/ 138167 w 761692"/>
                    <a:gd name="connsiteY225" fmla="*/ 265707 h 1016771"/>
                    <a:gd name="connsiteX226" fmla="*/ 150567 w 761692"/>
                    <a:gd name="connsiteY226" fmla="*/ 255079 h 1016771"/>
                    <a:gd name="connsiteX227" fmla="*/ 166509 w 761692"/>
                    <a:gd name="connsiteY227" fmla="*/ 255079 h 1016771"/>
                    <a:gd name="connsiteX228" fmla="*/ 166509 w 761692"/>
                    <a:gd name="connsiteY228" fmla="*/ 265707 h 1016771"/>
                    <a:gd name="connsiteX229" fmla="*/ 177138 w 761692"/>
                    <a:gd name="connsiteY229" fmla="*/ 272792 h 1016771"/>
                    <a:gd name="connsiteX230" fmla="*/ 194851 w 761692"/>
                    <a:gd name="connsiteY230" fmla="*/ 276335 h 1016771"/>
                    <a:gd name="connsiteX231" fmla="*/ 209022 w 761692"/>
                    <a:gd name="connsiteY231" fmla="*/ 279878 h 1016771"/>
                    <a:gd name="connsiteX232" fmla="*/ 221422 w 761692"/>
                    <a:gd name="connsiteY232" fmla="*/ 276335 h 1016771"/>
                    <a:gd name="connsiteX233" fmla="*/ 226736 w 761692"/>
                    <a:gd name="connsiteY233" fmla="*/ 269250 h 1016771"/>
                    <a:gd name="connsiteX234" fmla="*/ 226736 w 761692"/>
                    <a:gd name="connsiteY234" fmla="*/ 251536 h 1016771"/>
                    <a:gd name="connsiteX235" fmla="*/ 224965 w 761692"/>
                    <a:gd name="connsiteY235" fmla="*/ 239136 h 1016771"/>
                    <a:gd name="connsiteX236" fmla="*/ 214337 w 761692"/>
                    <a:gd name="connsiteY236" fmla="*/ 230279 h 1016771"/>
                    <a:gd name="connsiteX237" fmla="*/ 210794 w 761692"/>
                    <a:gd name="connsiteY237" fmla="*/ 217880 h 1016771"/>
                    <a:gd name="connsiteX238" fmla="*/ 221422 w 761692"/>
                    <a:gd name="connsiteY238" fmla="*/ 207251 h 1016771"/>
                    <a:gd name="connsiteX239" fmla="*/ 235593 w 761692"/>
                    <a:gd name="connsiteY239" fmla="*/ 214337 h 1016771"/>
                    <a:gd name="connsiteX240" fmla="*/ 246221 w 761692"/>
                    <a:gd name="connsiteY240" fmla="*/ 219651 h 1016771"/>
                    <a:gd name="connsiteX241" fmla="*/ 253307 w 761692"/>
                    <a:gd name="connsiteY241" fmla="*/ 221422 h 1016771"/>
                    <a:gd name="connsiteX242" fmla="*/ 262164 w 761692"/>
                    <a:gd name="connsiteY242" fmla="*/ 210794 h 1016771"/>
                    <a:gd name="connsiteX243" fmla="*/ 263935 w 761692"/>
                    <a:gd name="connsiteY243" fmla="*/ 201937 h 1016771"/>
                    <a:gd name="connsiteX244" fmla="*/ 274563 w 761692"/>
                    <a:gd name="connsiteY244" fmla="*/ 189538 h 1016771"/>
                    <a:gd name="connsiteX245" fmla="*/ 283420 w 761692"/>
                    <a:gd name="connsiteY245" fmla="*/ 178909 h 1016771"/>
                    <a:gd name="connsiteX246" fmla="*/ 286963 w 761692"/>
                    <a:gd name="connsiteY246" fmla="*/ 173595 h 1016771"/>
                    <a:gd name="connsiteX247" fmla="*/ 311762 w 761692"/>
                    <a:gd name="connsiteY247" fmla="*/ 168281 h 1016771"/>
                    <a:gd name="connsiteX248" fmla="*/ 325933 w 761692"/>
                    <a:gd name="connsiteY248" fmla="*/ 164738 h 1016771"/>
                    <a:gd name="connsiteX249" fmla="*/ 336562 w 761692"/>
                    <a:gd name="connsiteY249" fmla="*/ 159424 h 1016771"/>
                    <a:gd name="connsiteX250" fmla="*/ 348961 w 761692"/>
                    <a:gd name="connsiteY250" fmla="*/ 145253 h 1016771"/>
                    <a:gd name="connsiteX251" fmla="*/ 359589 w 761692"/>
                    <a:gd name="connsiteY251" fmla="*/ 143482 h 1016771"/>
                    <a:gd name="connsiteX252" fmla="*/ 371989 w 761692"/>
                    <a:gd name="connsiteY252" fmla="*/ 143482 h 1016771"/>
                    <a:gd name="connsiteX253" fmla="*/ 391474 w 761692"/>
                    <a:gd name="connsiteY253" fmla="*/ 143482 h 1016771"/>
                    <a:gd name="connsiteX254" fmla="*/ 396788 w 761692"/>
                    <a:gd name="connsiteY254" fmla="*/ 141710 h 1016771"/>
                    <a:gd name="connsiteX255" fmla="*/ 403874 w 761692"/>
                    <a:gd name="connsiteY255" fmla="*/ 134625 h 1016771"/>
                    <a:gd name="connsiteX256" fmla="*/ 409188 w 761692"/>
                    <a:gd name="connsiteY256" fmla="*/ 129311 h 1016771"/>
                    <a:gd name="connsiteX257" fmla="*/ 409188 w 761692"/>
                    <a:gd name="connsiteY257" fmla="*/ 123997 h 1016771"/>
                    <a:gd name="connsiteX258" fmla="*/ 414502 w 761692"/>
                    <a:gd name="connsiteY258" fmla="*/ 115140 h 1016771"/>
                    <a:gd name="connsiteX259" fmla="*/ 428673 w 761692"/>
                    <a:gd name="connsiteY259" fmla="*/ 115140 h 1016771"/>
                    <a:gd name="connsiteX260" fmla="*/ 432216 w 761692"/>
                    <a:gd name="connsiteY260" fmla="*/ 109826 h 1016771"/>
                    <a:gd name="connsiteX261" fmla="*/ 437530 w 761692"/>
                    <a:gd name="connsiteY261" fmla="*/ 100969 h 1016771"/>
                    <a:gd name="connsiteX262" fmla="*/ 448158 w 761692"/>
                    <a:gd name="connsiteY262" fmla="*/ 99197 h 1016771"/>
                    <a:gd name="connsiteX263" fmla="*/ 460558 w 761692"/>
                    <a:gd name="connsiteY263" fmla="*/ 97426 h 1016771"/>
                    <a:gd name="connsiteX264" fmla="*/ 472958 w 761692"/>
                    <a:gd name="connsiteY264" fmla="*/ 93883 h 1016771"/>
                    <a:gd name="connsiteX265" fmla="*/ 492443 w 761692"/>
                    <a:gd name="connsiteY265" fmla="*/ 93883 h 1016771"/>
                    <a:gd name="connsiteX266" fmla="*/ 501300 w 761692"/>
                    <a:gd name="connsiteY266" fmla="*/ 83255 h 1016771"/>
                    <a:gd name="connsiteX267" fmla="*/ 517242 w 761692"/>
                    <a:gd name="connsiteY267" fmla="*/ 81484 h 1016771"/>
                    <a:gd name="connsiteX268" fmla="*/ 522556 w 761692"/>
                    <a:gd name="connsiteY268" fmla="*/ 81484 h 1016771"/>
                    <a:gd name="connsiteX269" fmla="*/ 522556 w 761692"/>
                    <a:gd name="connsiteY269" fmla="*/ 60227 h 1016771"/>
                    <a:gd name="connsiteX270" fmla="*/ 526099 w 761692"/>
                    <a:gd name="connsiteY270" fmla="*/ 54913 h 1016771"/>
                    <a:gd name="connsiteX271" fmla="*/ 529642 w 761692"/>
                    <a:gd name="connsiteY271" fmla="*/ 46056 h 1016771"/>
                    <a:gd name="connsiteX272" fmla="*/ 538499 w 761692"/>
                    <a:gd name="connsiteY272" fmla="*/ 40742 h 1016771"/>
                    <a:gd name="connsiteX273" fmla="*/ 540270 w 761692"/>
                    <a:gd name="connsiteY273" fmla="*/ 30114 h 1016771"/>
                    <a:gd name="connsiteX274" fmla="*/ 536727 w 761692"/>
                    <a:gd name="connsiteY274" fmla="*/ 19485 h 1016771"/>
                    <a:gd name="connsiteX275" fmla="*/ 543813 w 761692"/>
                    <a:gd name="connsiteY275" fmla="*/ 5314 h 1016771"/>
                    <a:gd name="connsiteX276" fmla="*/ 554441 w 761692"/>
                    <a:gd name="connsiteY276" fmla="*/ 0 h 1016771"/>
                    <a:gd name="connsiteX0" fmla="*/ 116476 w 761692"/>
                    <a:gd name="connsiteY0" fmla="*/ 741349 h 1016771"/>
                    <a:gd name="connsiteX1" fmla="*/ 117606 w 761692"/>
                    <a:gd name="connsiteY1" fmla="*/ 742253 h 1016771"/>
                    <a:gd name="connsiteX2" fmla="*/ 116476 w 761692"/>
                    <a:gd name="connsiteY2" fmla="*/ 741349 h 1016771"/>
                    <a:gd name="connsiteX3" fmla="*/ 554441 w 761692"/>
                    <a:gd name="connsiteY3" fmla="*/ 0 h 1016771"/>
                    <a:gd name="connsiteX4" fmla="*/ 570383 w 761692"/>
                    <a:gd name="connsiteY4" fmla="*/ 3543 h 1016771"/>
                    <a:gd name="connsiteX5" fmla="*/ 577469 w 761692"/>
                    <a:gd name="connsiteY5" fmla="*/ 8857 h 1016771"/>
                    <a:gd name="connsiteX6" fmla="*/ 582783 w 761692"/>
                    <a:gd name="connsiteY6" fmla="*/ 17714 h 1016771"/>
                    <a:gd name="connsiteX7" fmla="*/ 582783 w 761692"/>
                    <a:gd name="connsiteY7" fmla="*/ 24799 h 1016771"/>
                    <a:gd name="connsiteX8" fmla="*/ 588097 w 761692"/>
                    <a:gd name="connsiteY8" fmla="*/ 33656 h 1016771"/>
                    <a:gd name="connsiteX9" fmla="*/ 598725 w 761692"/>
                    <a:gd name="connsiteY9" fmla="*/ 31885 h 1016771"/>
                    <a:gd name="connsiteX10" fmla="*/ 612896 w 761692"/>
                    <a:gd name="connsiteY10" fmla="*/ 37199 h 1016771"/>
                    <a:gd name="connsiteX11" fmla="*/ 618211 w 761692"/>
                    <a:gd name="connsiteY11" fmla="*/ 46056 h 1016771"/>
                    <a:gd name="connsiteX12" fmla="*/ 619982 w 761692"/>
                    <a:gd name="connsiteY12" fmla="*/ 54913 h 1016771"/>
                    <a:gd name="connsiteX13" fmla="*/ 618211 w 761692"/>
                    <a:gd name="connsiteY13" fmla="*/ 74398 h 1016771"/>
                    <a:gd name="connsiteX14" fmla="*/ 616439 w 761692"/>
                    <a:gd name="connsiteY14" fmla="*/ 85026 h 1016771"/>
                    <a:gd name="connsiteX15" fmla="*/ 621753 w 761692"/>
                    <a:gd name="connsiteY15" fmla="*/ 97426 h 1016771"/>
                    <a:gd name="connsiteX16" fmla="*/ 637696 w 761692"/>
                    <a:gd name="connsiteY16" fmla="*/ 113368 h 1016771"/>
                    <a:gd name="connsiteX17" fmla="*/ 644781 w 761692"/>
                    <a:gd name="connsiteY17" fmla="*/ 120454 h 1016771"/>
                    <a:gd name="connsiteX18" fmla="*/ 650095 w 761692"/>
                    <a:gd name="connsiteY18" fmla="*/ 136396 h 1016771"/>
                    <a:gd name="connsiteX19" fmla="*/ 655409 w 761692"/>
                    <a:gd name="connsiteY19" fmla="*/ 155881 h 1016771"/>
                    <a:gd name="connsiteX20" fmla="*/ 662495 w 761692"/>
                    <a:gd name="connsiteY20" fmla="*/ 171824 h 1016771"/>
                    <a:gd name="connsiteX21" fmla="*/ 660724 w 761692"/>
                    <a:gd name="connsiteY21" fmla="*/ 185995 h 1016771"/>
                    <a:gd name="connsiteX22" fmla="*/ 635924 w 761692"/>
                    <a:gd name="connsiteY22" fmla="*/ 194852 h 1016771"/>
                    <a:gd name="connsiteX23" fmla="*/ 619982 w 761692"/>
                    <a:gd name="connsiteY23" fmla="*/ 207251 h 1016771"/>
                    <a:gd name="connsiteX24" fmla="*/ 614668 w 761692"/>
                    <a:gd name="connsiteY24" fmla="*/ 223194 h 1016771"/>
                    <a:gd name="connsiteX25" fmla="*/ 618211 w 761692"/>
                    <a:gd name="connsiteY25" fmla="*/ 242679 h 1016771"/>
                    <a:gd name="connsiteX26" fmla="*/ 612896 w 761692"/>
                    <a:gd name="connsiteY26" fmla="*/ 256850 h 1016771"/>
                    <a:gd name="connsiteX27" fmla="*/ 625296 w 761692"/>
                    <a:gd name="connsiteY27" fmla="*/ 267478 h 1016771"/>
                    <a:gd name="connsiteX28" fmla="*/ 641238 w 761692"/>
                    <a:gd name="connsiteY28" fmla="*/ 269250 h 1016771"/>
                    <a:gd name="connsiteX29" fmla="*/ 658952 w 761692"/>
                    <a:gd name="connsiteY29" fmla="*/ 286963 h 1016771"/>
                    <a:gd name="connsiteX30" fmla="*/ 653638 w 761692"/>
                    <a:gd name="connsiteY30" fmla="*/ 309991 h 1016771"/>
                    <a:gd name="connsiteX31" fmla="*/ 653638 w 761692"/>
                    <a:gd name="connsiteY31" fmla="*/ 329476 h 1016771"/>
                    <a:gd name="connsiteX32" fmla="*/ 643010 w 761692"/>
                    <a:gd name="connsiteY32" fmla="*/ 338333 h 1016771"/>
                    <a:gd name="connsiteX33" fmla="*/ 632382 w 761692"/>
                    <a:gd name="connsiteY33" fmla="*/ 338333 h 1016771"/>
                    <a:gd name="connsiteX34" fmla="*/ 618211 w 761692"/>
                    <a:gd name="connsiteY34" fmla="*/ 357819 h 1016771"/>
                    <a:gd name="connsiteX35" fmla="*/ 609354 w 761692"/>
                    <a:gd name="connsiteY35" fmla="*/ 361361 h 1016771"/>
                    <a:gd name="connsiteX36" fmla="*/ 596954 w 761692"/>
                    <a:gd name="connsiteY36" fmla="*/ 363133 h 1016771"/>
                    <a:gd name="connsiteX37" fmla="*/ 581012 w 761692"/>
                    <a:gd name="connsiteY37" fmla="*/ 379075 h 1016771"/>
                    <a:gd name="connsiteX38" fmla="*/ 589868 w 761692"/>
                    <a:gd name="connsiteY38" fmla="*/ 393246 h 1016771"/>
                    <a:gd name="connsiteX39" fmla="*/ 586326 w 761692"/>
                    <a:gd name="connsiteY39" fmla="*/ 409189 h 1016771"/>
                    <a:gd name="connsiteX40" fmla="*/ 570383 w 761692"/>
                    <a:gd name="connsiteY40" fmla="*/ 398560 h 1016771"/>
                    <a:gd name="connsiteX41" fmla="*/ 550898 w 761692"/>
                    <a:gd name="connsiteY41" fmla="*/ 405646 h 1016771"/>
                    <a:gd name="connsiteX42" fmla="*/ 531413 w 761692"/>
                    <a:gd name="connsiteY42" fmla="*/ 425131 h 1016771"/>
                    <a:gd name="connsiteX43" fmla="*/ 543813 w 761692"/>
                    <a:gd name="connsiteY43" fmla="*/ 444616 h 1016771"/>
                    <a:gd name="connsiteX44" fmla="*/ 557984 w 761692"/>
                    <a:gd name="connsiteY44" fmla="*/ 462330 h 1016771"/>
                    <a:gd name="connsiteX45" fmla="*/ 570383 w 761692"/>
                    <a:gd name="connsiteY45" fmla="*/ 478272 h 1016771"/>
                    <a:gd name="connsiteX46" fmla="*/ 579240 w 761692"/>
                    <a:gd name="connsiteY46" fmla="*/ 485358 h 1016771"/>
                    <a:gd name="connsiteX47" fmla="*/ 602268 w 761692"/>
                    <a:gd name="connsiteY47" fmla="*/ 483586 h 1016771"/>
                    <a:gd name="connsiteX48" fmla="*/ 623525 w 761692"/>
                    <a:gd name="connsiteY48" fmla="*/ 474730 h 1016771"/>
                    <a:gd name="connsiteX49" fmla="*/ 639467 w 761692"/>
                    <a:gd name="connsiteY49" fmla="*/ 464101 h 1016771"/>
                    <a:gd name="connsiteX50" fmla="*/ 662495 w 761692"/>
                    <a:gd name="connsiteY50" fmla="*/ 464101 h 1016771"/>
                    <a:gd name="connsiteX51" fmla="*/ 673123 w 761692"/>
                    <a:gd name="connsiteY51" fmla="*/ 464101 h 1016771"/>
                    <a:gd name="connsiteX52" fmla="*/ 681980 w 761692"/>
                    <a:gd name="connsiteY52" fmla="*/ 467644 h 1016771"/>
                    <a:gd name="connsiteX53" fmla="*/ 703237 w 761692"/>
                    <a:gd name="connsiteY53" fmla="*/ 471187 h 1016771"/>
                    <a:gd name="connsiteX54" fmla="*/ 708551 w 761692"/>
                    <a:gd name="connsiteY54" fmla="*/ 474730 h 1016771"/>
                    <a:gd name="connsiteX55" fmla="*/ 722722 w 761692"/>
                    <a:gd name="connsiteY55" fmla="*/ 501300 h 1016771"/>
                    <a:gd name="connsiteX56" fmla="*/ 724493 w 761692"/>
                    <a:gd name="connsiteY56" fmla="*/ 522557 h 1016771"/>
                    <a:gd name="connsiteX57" fmla="*/ 722722 w 761692"/>
                    <a:gd name="connsiteY57" fmla="*/ 540271 h 1016771"/>
                    <a:gd name="connsiteX58" fmla="*/ 735121 w 761692"/>
                    <a:gd name="connsiteY58" fmla="*/ 552670 h 1016771"/>
                    <a:gd name="connsiteX59" fmla="*/ 735121 w 761692"/>
                    <a:gd name="connsiteY59" fmla="*/ 570384 h 1016771"/>
                    <a:gd name="connsiteX60" fmla="*/ 751064 w 761692"/>
                    <a:gd name="connsiteY60" fmla="*/ 581012 h 1016771"/>
                    <a:gd name="connsiteX61" fmla="*/ 761692 w 761692"/>
                    <a:gd name="connsiteY61" fmla="*/ 604040 h 1016771"/>
                    <a:gd name="connsiteX62" fmla="*/ 747521 w 761692"/>
                    <a:gd name="connsiteY62" fmla="*/ 616440 h 1016771"/>
                    <a:gd name="connsiteX63" fmla="*/ 728036 w 761692"/>
                    <a:gd name="connsiteY63" fmla="*/ 627068 h 1016771"/>
                    <a:gd name="connsiteX64" fmla="*/ 726264 w 761692"/>
                    <a:gd name="connsiteY64" fmla="*/ 650096 h 1016771"/>
                    <a:gd name="connsiteX65" fmla="*/ 728036 w 761692"/>
                    <a:gd name="connsiteY65" fmla="*/ 673124 h 1016771"/>
                    <a:gd name="connsiteX66" fmla="*/ 742207 w 761692"/>
                    <a:gd name="connsiteY66" fmla="*/ 689066 h 1016771"/>
                    <a:gd name="connsiteX67" fmla="*/ 742207 w 761692"/>
                    <a:gd name="connsiteY67" fmla="*/ 712094 h 1016771"/>
                    <a:gd name="connsiteX68" fmla="*/ 740435 w 761692"/>
                    <a:gd name="connsiteY68" fmla="*/ 735122 h 1016771"/>
                    <a:gd name="connsiteX69" fmla="*/ 742207 w 761692"/>
                    <a:gd name="connsiteY69" fmla="*/ 751065 h 1016771"/>
                    <a:gd name="connsiteX70" fmla="*/ 747521 w 761692"/>
                    <a:gd name="connsiteY70" fmla="*/ 768778 h 1016771"/>
                    <a:gd name="connsiteX71" fmla="*/ 759921 w 761692"/>
                    <a:gd name="connsiteY71" fmla="*/ 777635 h 1016771"/>
                    <a:gd name="connsiteX72" fmla="*/ 758149 w 761692"/>
                    <a:gd name="connsiteY72" fmla="*/ 802434 h 1016771"/>
                    <a:gd name="connsiteX73" fmla="*/ 752835 w 761692"/>
                    <a:gd name="connsiteY73" fmla="*/ 814834 h 1016771"/>
                    <a:gd name="connsiteX74" fmla="*/ 743978 w 761692"/>
                    <a:gd name="connsiteY74" fmla="*/ 827234 h 1016771"/>
                    <a:gd name="connsiteX75" fmla="*/ 743978 w 761692"/>
                    <a:gd name="connsiteY75" fmla="*/ 837862 h 1016771"/>
                    <a:gd name="connsiteX76" fmla="*/ 747521 w 761692"/>
                    <a:gd name="connsiteY76" fmla="*/ 853804 h 1016771"/>
                    <a:gd name="connsiteX77" fmla="*/ 733350 w 761692"/>
                    <a:gd name="connsiteY77" fmla="*/ 867975 h 1016771"/>
                    <a:gd name="connsiteX78" fmla="*/ 724493 w 761692"/>
                    <a:gd name="connsiteY78" fmla="*/ 880375 h 1016771"/>
                    <a:gd name="connsiteX79" fmla="*/ 722722 w 761692"/>
                    <a:gd name="connsiteY79" fmla="*/ 899860 h 1016771"/>
                    <a:gd name="connsiteX80" fmla="*/ 722722 w 761692"/>
                    <a:gd name="connsiteY80" fmla="*/ 919345 h 1016771"/>
                    <a:gd name="connsiteX81" fmla="*/ 715636 w 761692"/>
                    <a:gd name="connsiteY81" fmla="*/ 940602 h 1016771"/>
                    <a:gd name="connsiteX82" fmla="*/ 708551 w 761692"/>
                    <a:gd name="connsiteY82" fmla="*/ 954773 h 1016771"/>
                    <a:gd name="connsiteX83" fmla="*/ 699694 w 761692"/>
                    <a:gd name="connsiteY83" fmla="*/ 965401 h 1016771"/>
                    <a:gd name="connsiteX84" fmla="*/ 692608 w 761692"/>
                    <a:gd name="connsiteY84" fmla="*/ 984886 h 1016771"/>
                    <a:gd name="connsiteX85" fmla="*/ 683751 w 761692"/>
                    <a:gd name="connsiteY85" fmla="*/ 997286 h 1016771"/>
                    <a:gd name="connsiteX86" fmla="*/ 673123 w 761692"/>
                    <a:gd name="connsiteY86" fmla="*/ 1002600 h 1016771"/>
                    <a:gd name="connsiteX87" fmla="*/ 662495 w 761692"/>
                    <a:gd name="connsiteY87" fmla="*/ 1013228 h 1016771"/>
                    <a:gd name="connsiteX88" fmla="*/ 644781 w 761692"/>
                    <a:gd name="connsiteY88" fmla="*/ 1016771 h 1016771"/>
                    <a:gd name="connsiteX89" fmla="*/ 635924 w 761692"/>
                    <a:gd name="connsiteY89" fmla="*/ 1004372 h 1016771"/>
                    <a:gd name="connsiteX90" fmla="*/ 623525 w 761692"/>
                    <a:gd name="connsiteY90" fmla="*/ 997286 h 1016771"/>
                    <a:gd name="connsiteX91" fmla="*/ 614668 w 761692"/>
                    <a:gd name="connsiteY91" fmla="*/ 986658 h 1016771"/>
                    <a:gd name="connsiteX92" fmla="*/ 593411 w 761692"/>
                    <a:gd name="connsiteY92" fmla="*/ 970715 h 1016771"/>
                    <a:gd name="connsiteX93" fmla="*/ 582783 w 761692"/>
                    <a:gd name="connsiteY93" fmla="*/ 965401 h 1016771"/>
                    <a:gd name="connsiteX94" fmla="*/ 531413 w 761692"/>
                    <a:gd name="connsiteY94" fmla="*/ 965401 h 1016771"/>
                    <a:gd name="connsiteX95" fmla="*/ 511928 w 761692"/>
                    <a:gd name="connsiteY95" fmla="*/ 965401 h 1016771"/>
                    <a:gd name="connsiteX96" fmla="*/ 492443 w 761692"/>
                    <a:gd name="connsiteY96" fmla="*/ 963630 h 1016771"/>
                    <a:gd name="connsiteX97" fmla="*/ 483586 w 761692"/>
                    <a:gd name="connsiteY97" fmla="*/ 958316 h 1016771"/>
                    <a:gd name="connsiteX98" fmla="*/ 469415 w 761692"/>
                    <a:gd name="connsiteY98" fmla="*/ 954773 h 1016771"/>
                    <a:gd name="connsiteX99" fmla="*/ 460558 w 761692"/>
                    <a:gd name="connsiteY99" fmla="*/ 942373 h 1016771"/>
                    <a:gd name="connsiteX100" fmla="*/ 446387 w 761692"/>
                    <a:gd name="connsiteY100" fmla="*/ 935288 h 1016771"/>
                    <a:gd name="connsiteX101" fmla="*/ 428673 w 761692"/>
                    <a:gd name="connsiteY101" fmla="*/ 928202 h 1016771"/>
                    <a:gd name="connsiteX102" fmla="*/ 418045 w 761692"/>
                    <a:gd name="connsiteY102" fmla="*/ 917574 h 1016771"/>
                    <a:gd name="connsiteX103" fmla="*/ 421588 w 761692"/>
                    <a:gd name="connsiteY103" fmla="*/ 903403 h 1016771"/>
                    <a:gd name="connsiteX104" fmla="*/ 418045 w 761692"/>
                    <a:gd name="connsiteY104" fmla="*/ 898089 h 1016771"/>
                    <a:gd name="connsiteX105" fmla="*/ 396788 w 761692"/>
                    <a:gd name="connsiteY105" fmla="*/ 898089 h 1016771"/>
                    <a:gd name="connsiteX106" fmla="*/ 382617 w 761692"/>
                    <a:gd name="connsiteY106" fmla="*/ 896318 h 1016771"/>
                    <a:gd name="connsiteX107" fmla="*/ 387164 w 761692"/>
                    <a:gd name="connsiteY107" fmla="*/ 896527 h 1016771"/>
                    <a:gd name="connsiteX108" fmla="*/ 383773 w 761692"/>
                    <a:gd name="connsiteY108" fmla="*/ 886355 h 1016771"/>
                    <a:gd name="connsiteX109" fmla="*/ 387164 w 761692"/>
                    <a:gd name="connsiteY109" fmla="*/ 876183 h 1016771"/>
                    <a:gd name="connsiteX110" fmla="*/ 388859 w 761692"/>
                    <a:gd name="connsiteY110" fmla="*/ 867707 h 1016771"/>
                    <a:gd name="connsiteX111" fmla="*/ 380382 w 761692"/>
                    <a:gd name="connsiteY111" fmla="*/ 859230 h 1016771"/>
                    <a:gd name="connsiteX112" fmla="*/ 373601 w 761692"/>
                    <a:gd name="connsiteY112" fmla="*/ 849058 h 1016771"/>
                    <a:gd name="connsiteX113" fmla="*/ 380382 w 761692"/>
                    <a:gd name="connsiteY113" fmla="*/ 838886 h 1016771"/>
                    <a:gd name="connsiteX114" fmla="*/ 383773 w 761692"/>
                    <a:gd name="connsiteY114" fmla="*/ 833800 h 1016771"/>
                    <a:gd name="connsiteX115" fmla="*/ 388859 w 761692"/>
                    <a:gd name="connsiteY115" fmla="*/ 825324 h 1016771"/>
                    <a:gd name="connsiteX116" fmla="*/ 387164 w 761692"/>
                    <a:gd name="connsiteY116" fmla="*/ 810066 h 1016771"/>
                    <a:gd name="connsiteX117" fmla="*/ 387164 w 761692"/>
                    <a:gd name="connsiteY117" fmla="*/ 796503 h 1016771"/>
                    <a:gd name="connsiteX118" fmla="*/ 378687 w 761692"/>
                    <a:gd name="connsiteY118" fmla="*/ 789722 h 1016771"/>
                    <a:gd name="connsiteX119" fmla="*/ 366820 w 761692"/>
                    <a:gd name="connsiteY119" fmla="*/ 782940 h 1016771"/>
                    <a:gd name="connsiteX120" fmla="*/ 356648 w 761692"/>
                    <a:gd name="connsiteY120" fmla="*/ 781245 h 1016771"/>
                    <a:gd name="connsiteX121" fmla="*/ 349866 w 761692"/>
                    <a:gd name="connsiteY121" fmla="*/ 771073 h 1016771"/>
                    <a:gd name="connsiteX122" fmla="*/ 349866 w 761692"/>
                    <a:gd name="connsiteY122" fmla="*/ 752425 h 1016771"/>
                    <a:gd name="connsiteX123" fmla="*/ 353257 w 761692"/>
                    <a:gd name="connsiteY123" fmla="*/ 743948 h 1016771"/>
                    <a:gd name="connsiteX124" fmla="*/ 354952 w 761692"/>
                    <a:gd name="connsiteY124" fmla="*/ 730385 h 1016771"/>
                    <a:gd name="connsiteX125" fmla="*/ 353257 w 761692"/>
                    <a:gd name="connsiteY125" fmla="*/ 713432 h 1016771"/>
                    <a:gd name="connsiteX126" fmla="*/ 346476 w 761692"/>
                    <a:gd name="connsiteY126" fmla="*/ 701565 h 1016771"/>
                    <a:gd name="connsiteX127" fmla="*/ 332913 w 761692"/>
                    <a:gd name="connsiteY127" fmla="*/ 689697 h 1016771"/>
                    <a:gd name="connsiteX128" fmla="*/ 324436 w 761692"/>
                    <a:gd name="connsiteY128" fmla="*/ 681221 h 1016771"/>
                    <a:gd name="connsiteX129" fmla="*/ 314264 w 761692"/>
                    <a:gd name="connsiteY129" fmla="*/ 676135 h 1016771"/>
                    <a:gd name="connsiteX130" fmla="*/ 293920 w 761692"/>
                    <a:gd name="connsiteY130" fmla="*/ 669354 h 1016771"/>
                    <a:gd name="connsiteX131" fmla="*/ 282053 w 761692"/>
                    <a:gd name="connsiteY131" fmla="*/ 667658 h 1016771"/>
                    <a:gd name="connsiteX132" fmla="*/ 266795 w 761692"/>
                    <a:gd name="connsiteY132" fmla="*/ 672744 h 1016771"/>
                    <a:gd name="connsiteX133" fmla="*/ 265100 w 761692"/>
                    <a:gd name="connsiteY133" fmla="*/ 672744 h 1016771"/>
                    <a:gd name="connsiteX134" fmla="*/ 263404 w 761692"/>
                    <a:gd name="connsiteY134" fmla="*/ 671049 h 1016771"/>
                    <a:gd name="connsiteX135" fmla="*/ 260014 w 761692"/>
                    <a:gd name="connsiteY135" fmla="*/ 671049 h 1016771"/>
                    <a:gd name="connsiteX136" fmla="*/ 258318 w 761692"/>
                    <a:gd name="connsiteY136" fmla="*/ 671049 h 1016771"/>
                    <a:gd name="connsiteX137" fmla="*/ 253232 w 761692"/>
                    <a:gd name="connsiteY137" fmla="*/ 671049 h 1016771"/>
                    <a:gd name="connsiteX138" fmla="*/ 248146 w 761692"/>
                    <a:gd name="connsiteY138" fmla="*/ 672744 h 1016771"/>
                    <a:gd name="connsiteX139" fmla="*/ 248146 w 761692"/>
                    <a:gd name="connsiteY139" fmla="*/ 674440 h 1016771"/>
                    <a:gd name="connsiteX140" fmla="*/ 246451 w 761692"/>
                    <a:gd name="connsiteY140" fmla="*/ 674440 h 1016771"/>
                    <a:gd name="connsiteX141" fmla="*/ 236279 w 761692"/>
                    <a:gd name="connsiteY141" fmla="*/ 679526 h 1016771"/>
                    <a:gd name="connsiteX142" fmla="*/ 226107 w 761692"/>
                    <a:gd name="connsiteY142" fmla="*/ 684612 h 1016771"/>
                    <a:gd name="connsiteX143" fmla="*/ 217630 w 761692"/>
                    <a:gd name="connsiteY143" fmla="*/ 684612 h 1016771"/>
                    <a:gd name="connsiteX144" fmla="*/ 207458 w 761692"/>
                    <a:gd name="connsiteY144" fmla="*/ 693088 h 1016771"/>
                    <a:gd name="connsiteX145" fmla="*/ 198982 w 761692"/>
                    <a:gd name="connsiteY145" fmla="*/ 694783 h 1016771"/>
                    <a:gd name="connsiteX146" fmla="*/ 192200 w 761692"/>
                    <a:gd name="connsiteY146" fmla="*/ 699869 h 1016771"/>
                    <a:gd name="connsiteX147" fmla="*/ 178638 w 761692"/>
                    <a:gd name="connsiteY147" fmla="*/ 706651 h 1016771"/>
                    <a:gd name="connsiteX148" fmla="*/ 163380 w 761692"/>
                    <a:gd name="connsiteY148" fmla="*/ 710041 h 1016771"/>
                    <a:gd name="connsiteX149" fmla="*/ 141340 w 761692"/>
                    <a:gd name="connsiteY149" fmla="*/ 710041 h 1016771"/>
                    <a:gd name="connsiteX150" fmla="*/ 134559 w 761692"/>
                    <a:gd name="connsiteY150" fmla="*/ 716823 h 1016771"/>
                    <a:gd name="connsiteX151" fmla="*/ 127778 w 761692"/>
                    <a:gd name="connsiteY151" fmla="*/ 718518 h 1016771"/>
                    <a:gd name="connsiteX152" fmla="*/ 120996 w 761692"/>
                    <a:gd name="connsiteY152" fmla="*/ 725299 h 1016771"/>
                    <a:gd name="connsiteX153" fmla="*/ 111172 w 761692"/>
                    <a:gd name="connsiteY153" fmla="*/ 733720 h 1016771"/>
                    <a:gd name="connsiteX154" fmla="*/ 106283 w 761692"/>
                    <a:gd name="connsiteY154" fmla="*/ 729808 h 1016771"/>
                    <a:gd name="connsiteX155" fmla="*/ 92112 w 761692"/>
                    <a:gd name="connsiteY155" fmla="*/ 724494 h 1016771"/>
                    <a:gd name="connsiteX156" fmla="*/ 77941 w 761692"/>
                    <a:gd name="connsiteY156" fmla="*/ 726265 h 1016771"/>
                    <a:gd name="connsiteX157" fmla="*/ 70855 w 761692"/>
                    <a:gd name="connsiteY157" fmla="*/ 719180 h 1016771"/>
                    <a:gd name="connsiteX158" fmla="*/ 70855 w 761692"/>
                    <a:gd name="connsiteY158" fmla="*/ 699695 h 1016771"/>
                    <a:gd name="connsiteX159" fmla="*/ 81483 w 761692"/>
                    <a:gd name="connsiteY159" fmla="*/ 685524 h 1016771"/>
                    <a:gd name="connsiteX160" fmla="*/ 85026 w 761692"/>
                    <a:gd name="connsiteY160" fmla="*/ 673124 h 1016771"/>
                    <a:gd name="connsiteX161" fmla="*/ 86797 w 761692"/>
                    <a:gd name="connsiteY161" fmla="*/ 660724 h 1016771"/>
                    <a:gd name="connsiteX162" fmla="*/ 97426 w 761692"/>
                    <a:gd name="connsiteY162" fmla="*/ 650096 h 1016771"/>
                    <a:gd name="connsiteX163" fmla="*/ 102740 w 761692"/>
                    <a:gd name="connsiteY163" fmla="*/ 635925 h 1016771"/>
                    <a:gd name="connsiteX164" fmla="*/ 113368 w 761692"/>
                    <a:gd name="connsiteY164" fmla="*/ 625297 h 1016771"/>
                    <a:gd name="connsiteX165" fmla="*/ 115139 w 761692"/>
                    <a:gd name="connsiteY165" fmla="*/ 612897 h 1016771"/>
                    <a:gd name="connsiteX166" fmla="*/ 127539 w 761692"/>
                    <a:gd name="connsiteY166" fmla="*/ 609354 h 1016771"/>
                    <a:gd name="connsiteX167" fmla="*/ 136396 w 761692"/>
                    <a:gd name="connsiteY167" fmla="*/ 604040 h 1016771"/>
                    <a:gd name="connsiteX168" fmla="*/ 132853 w 761692"/>
                    <a:gd name="connsiteY168" fmla="*/ 593412 h 1016771"/>
                    <a:gd name="connsiteX169" fmla="*/ 134625 w 761692"/>
                    <a:gd name="connsiteY169" fmla="*/ 584555 h 1016771"/>
                    <a:gd name="connsiteX170" fmla="*/ 131082 w 761692"/>
                    <a:gd name="connsiteY170" fmla="*/ 575698 h 1016771"/>
                    <a:gd name="connsiteX171" fmla="*/ 120454 w 761692"/>
                    <a:gd name="connsiteY171" fmla="*/ 568613 h 1016771"/>
                    <a:gd name="connsiteX172" fmla="*/ 125768 w 761692"/>
                    <a:gd name="connsiteY172" fmla="*/ 552670 h 1016771"/>
                    <a:gd name="connsiteX173" fmla="*/ 118682 w 761692"/>
                    <a:gd name="connsiteY173" fmla="*/ 543813 h 1016771"/>
                    <a:gd name="connsiteX174" fmla="*/ 90340 w 761692"/>
                    <a:gd name="connsiteY174" fmla="*/ 543813 h 1016771"/>
                    <a:gd name="connsiteX175" fmla="*/ 86797 w 761692"/>
                    <a:gd name="connsiteY175" fmla="*/ 542042 h 1016771"/>
                    <a:gd name="connsiteX176" fmla="*/ 83255 w 761692"/>
                    <a:gd name="connsiteY176" fmla="*/ 542042 h 1016771"/>
                    <a:gd name="connsiteX177" fmla="*/ 81483 w 761692"/>
                    <a:gd name="connsiteY177" fmla="*/ 540271 h 1016771"/>
                    <a:gd name="connsiteX178" fmla="*/ 81483 w 761692"/>
                    <a:gd name="connsiteY178" fmla="*/ 536728 h 1016771"/>
                    <a:gd name="connsiteX179" fmla="*/ 79712 w 761692"/>
                    <a:gd name="connsiteY179" fmla="*/ 531414 h 1016771"/>
                    <a:gd name="connsiteX180" fmla="*/ 77941 w 761692"/>
                    <a:gd name="connsiteY180" fmla="*/ 529642 h 1016771"/>
                    <a:gd name="connsiteX181" fmla="*/ 70855 w 761692"/>
                    <a:gd name="connsiteY181" fmla="*/ 527871 h 1016771"/>
                    <a:gd name="connsiteX182" fmla="*/ 60227 w 761692"/>
                    <a:gd name="connsiteY182" fmla="*/ 536728 h 1016771"/>
                    <a:gd name="connsiteX183" fmla="*/ 47827 w 761692"/>
                    <a:gd name="connsiteY183" fmla="*/ 526100 h 1016771"/>
                    <a:gd name="connsiteX184" fmla="*/ 42513 w 761692"/>
                    <a:gd name="connsiteY184" fmla="*/ 515471 h 1016771"/>
                    <a:gd name="connsiteX185" fmla="*/ 33656 w 761692"/>
                    <a:gd name="connsiteY185" fmla="*/ 506614 h 1016771"/>
                    <a:gd name="connsiteX186" fmla="*/ 31885 w 761692"/>
                    <a:gd name="connsiteY186" fmla="*/ 490672 h 1016771"/>
                    <a:gd name="connsiteX187" fmla="*/ 26571 w 761692"/>
                    <a:gd name="connsiteY187" fmla="*/ 476501 h 1016771"/>
                    <a:gd name="connsiteX188" fmla="*/ 24799 w 761692"/>
                    <a:gd name="connsiteY188" fmla="*/ 471187 h 1016771"/>
                    <a:gd name="connsiteX189" fmla="*/ 12400 w 761692"/>
                    <a:gd name="connsiteY189" fmla="*/ 472958 h 1016771"/>
                    <a:gd name="connsiteX190" fmla="*/ 7086 w 761692"/>
                    <a:gd name="connsiteY190" fmla="*/ 464101 h 1016771"/>
                    <a:gd name="connsiteX191" fmla="*/ 8857 w 761692"/>
                    <a:gd name="connsiteY191" fmla="*/ 446388 h 1016771"/>
                    <a:gd name="connsiteX192" fmla="*/ 3543 w 761692"/>
                    <a:gd name="connsiteY192" fmla="*/ 435759 h 1016771"/>
                    <a:gd name="connsiteX193" fmla="*/ 5314 w 761692"/>
                    <a:gd name="connsiteY193" fmla="*/ 412731 h 1016771"/>
                    <a:gd name="connsiteX194" fmla="*/ 0 w 761692"/>
                    <a:gd name="connsiteY194" fmla="*/ 396789 h 1016771"/>
                    <a:gd name="connsiteX195" fmla="*/ 3543 w 761692"/>
                    <a:gd name="connsiteY195" fmla="*/ 384389 h 1016771"/>
                    <a:gd name="connsiteX196" fmla="*/ 14171 w 761692"/>
                    <a:gd name="connsiteY196" fmla="*/ 380846 h 1016771"/>
                    <a:gd name="connsiteX197" fmla="*/ 24799 w 761692"/>
                    <a:gd name="connsiteY197" fmla="*/ 364904 h 1016771"/>
                    <a:gd name="connsiteX198" fmla="*/ 30113 w 761692"/>
                    <a:gd name="connsiteY198" fmla="*/ 350733 h 1016771"/>
                    <a:gd name="connsiteX199" fmla="*/ 35428 w 761692"/>
                    <a:gd name="connsiteY199" fmla="*/ 341876 h 1016771"/>
                    <a:gd name="connsiteX200" fmla="*/ 42513 w 761692"/>
                    <a:gd name="connsiteY200" fmla="*/ 327705 h 1016771"/>
                    <a:gd name="connsiteX201" fmla="*/ 42513 w 761692"/>
                    <a:gd name="connsiteY201" fmla="*/ 315305 h 1016771"/>
                    <a:gd name="connsiteX202" fmla="*/ 56684 w 761692"/>
                    <a:gd name="connsiteY202" fmla="*/ 309991 h 1016771"/>
                    <a:gd name="connsiteX203" fmla="*/ 60227 w 761692"/>
                    <a:gd name="connsiteY203" fmla="*/ 309991 h 1016771"/>
                    <a:gd name="connsiteX204" fmla="*/ 61998 w 761692"/>
                    <a:gd name="connsiteY204" fmla="*/ 311763 h 1016771"/>
                    <a:gd name="connsiteX205" fmla="*/ 67312 w 761692"/>
                    <a:gd name="connsiteY205" fmla="*/ 311763 h 1016771"/>
                    <a:gd name="connsiteX206" fmla="*/ 67312 w 761692"/>
                    <a:gd name="connsiteY206" fmla="*/ 309991 h 1016771"/>
                    <a:gd name="connsiteX207" fmla="*/ 67312 w 761692"/>
                    <a:gd name="connsiteY207" fmla="*/ 308220 h 1016771"/>
                    <a:gd name="connsiteX208" fmla="*/ 69084 w 761692"/>
                    <a:gd name="connsiteY208" fmla="*/ 302906 h 1016771"/>
                    <a:gd name="connsiteX209" fmla="*/ 70855 w 761692"/>
                    <a:gd name="connsiteY209" fmla="*/ 301134 h 1016771"/>
                    <a:gd name="connsiteX210" fmla="*/ 70855 w 761692"/>
                    <a:gd name="connsiteY210" fmla="*/ 299363 h 1016771"/>
                    <a:gd name="connsiteX211" fmla="*/ 77941 w 761692"/>
                    <a:gd name="connsiteY211" fmla="*/ 295820 h 1016771"/>
                    <a:gd name="connsiteX212" fmla="*/ 85026 w 761692"/>
                    <a:gd name="connsiteY212" fmla="*/ 295820 h 1016771"/>
                    <a:gd name="connsiteX213" fmla="*/ 93883 w 761692"/>
                    <a:gd name="connsiteY213" fmla="*/ 297592 h 1016771"/>
                    <a:gd name="connsiteX214" fmla="*/ 100968 w 761692"/>
                    <a:gd name="connsiteY214" fmla="*/ 288735 h 1016771"/>
                    <a:gd name="connsiteX215" fmla="*/ 97426 w 761692"/>
                    <a:gd name="connsiteY215" fmla="*/ 279878 h 1016771"/>
                    <a:gd name="connsiteX216" fmla="*/ 85026 w 761692"/>
                    <a:gd name="connsiteY216" fmla="*/ 276335 h 1016771"/>
                    <a:gd name="connsiteX217" fmla="*/ 76169 w 761692"/>
                    <a:gd name="connsiteY217" fmla="*/ 271021 h 1016771"/>
                    <a:gd name="connsiteX218" fmla="*/ 76169 w 761692"/>
                    <a:gd name="connsiteY218" fmla="*/ 262164 h 1016771"/>
                    <a:gd name="connsiteX219" fmla="*/ 81483 w 761692"/>
                    <a:gd name="connsiteY219" fmla="*/ 251536 h 1016771"/>
                    <a:gd name="connsiteX220" fmla="*/ 86797 w 761692"/>
                    <a:gd name="connsiteY220" fmla="*/ 255079 h 1016771"/>
                    <a:gd name="connsiteX221" fmla="*/ 104511 w 761692"/>
                    <a:gd name="connsiteY221" fmla="*/ 262164 h 1016771"/>
                    <a:gd name="connsiteX222" fmla="*/ 116911 w 761692"/>
                    <a:gd name="connsiteY222" fmla="*/ 265707 h 1016771"/>
                    <a:gd name="connsiteX223" fmla="*/ 132853 w 761692"/>
                    <a:gd name="connsiteY223" fmla="*/ 269250 h 1016771"/>
                    <a:gd name="connsiteX224" fmla="*/ 138167 w 761692"/>
                    <a:gd name="connsiteY224" fmla="*/ 265707 h 1016771"/>
                    <a:gd name="connsiteX225" fmla="*/ 150567 w 761692"/>
                    <a:gd name="connsiteY225" fmla="*/ 255079 h 1016771"/>
                    <a:gd name="connsiteX226" fmla="*/ 166509 w 761692"/>
                    <a:gd name="connsiteY226" fmla="*/ 255079 h 1016771"/>
                    <a:gd name="connsiteX227" fmla="*/ 166509 w 761692"/>
                    <a:gd name="connsiteY227" fmla="*/ 265707 h 1016771"/>
                    <a:gd name="connsiteX228" fmla="*/ 177138 w 761692"/>
                    <a:gd name="connsiteY228" fmla="*/ 272792 h 1016771"/>
                    <a:gd name="connsiteX229" fmla="*/ 194851 w 761692"/>
                    <a:gd name="connsiteY229" fmla="*/ 276335 h 1016771"/>
                    <a:gd name="connsiteX230" fmla="*/ 209022 w 761692"/>
                    <a:gd name="connsiteY230" fmla="*/ 279878 h 1016771"/>
                    <a:gd name="connsiteX231" fmla="*/ 221422 w 761692"/>
                    <a:gd name="connsiteY231" fmla="*/ 276335 h 1016771"/>
                    <a:gd name="connsiteX232" fmla="*/ 226736 w 761692"/>
                    <a:gd name="connsiteY232" fmla="*/ 269250 h 1016771"/>
                    <a:gd name="connsiteX233" fmla="*/ 226736 w 761692"/>
                    <a:gd name="connsiteY233" fmla="*/ 251536 h 1016771"/>
                    <a:gd name="connsiteX234" fmla="*/ 224965 w 761692"/>
                    <a:gd name="connsiteY234" fmla="*/ 239136 h 1016771"/>
                    <a:gd name="connsiteX235" fmla="*/ 214337 w 761692"/>
                    <a:gd name="connsiteY235" fmla="*/ 230279 h 1016771"/>
                    <a:gd name="connsiteX236" fmla="*/ 210794 w 761692"/>
                    <a:gd name="connsiteY236" fmla="*/ 217880 h 1016771"/>
                    <a:gd name="connsiteX237" fmla="*/ 221422 w 761692"/>
                    <a:gd name="connsiteY237" fmla="*/ 207251 h 1016771"/>
                    <a:gd name="connsiteX238" fmla="*/ 235593 w 761692"/>
                    <a:gd name="connsiteY238" fmla="*/ 214337 h 1016771"/>
                    <a:gd name="connsiteX239" fmla="*/ 246221 w 761692"/>
                    <a:gd name="connsiteY239" fmla="*/ 219651 h 1016771"/>
                    <a:gd name="connsiteX240" fmla="*/ 253307 w 761692"/>
                    <a:gd name="connsiteY240" fmla="*/ 221422 h 1016771"/>
                    <a:gd name="connsiteX241" fmla="*/ 262164 w 761692"/>
                    <a:gd name="connsiteY241" fmla="*/ 210794 h 1016771"/>
                    <a:gd name="connsiteX242" fmla="*/ 263935 w 761692"/>
                    <a:gd name="connsiteY242" fmla="*/ 201937 h 1016771"/>
                    <a:gd name="connsiteX243" fmla="*/ 274563 w 761692"/>
                    <a:gd name="connsiteY243" fmla="*/ 189538 h 1016771"/>
                    <a:gd name="connsiteX244" fmla="*/ 283420 w 761692"/>
                    <a:gd name="connsiteY244" fmla="*/ 178909 h 1016771"/>
                    <a:gd name="connsiteX245" fmla="*/ 286963 w 761692"/>
                    <a:gd name="connsiteY245" fmla="*/ 173595 h 1016771"/>
                    <a:gd name="connsiteX246" fmla="*/ 311762 w 761692"/>
                    <a:gd name="connsiteY246" fmla="*/ 168281 h 1016771"/>
                    <a:gd name="connsiteX247" fmla="*/ 325933 w 761692"/>
                    <a:gd name="connsiteY247" fmla="*/ 164738 h 1016771"/>
                    <a:gd name="connsiteX248" fmla="*/ 336562 w 761692"/>
                    <a:gd name="connsiteY248" fmla="*/ 159424 h 1016771"/>
                    <a:gd name="connsiteX249" fmla="*/ 348961 w 761692"/>
                    <a:gd name="connsiteY249" fmla="*/ 145253 h 1016771"/>
                    <a:gd name="connsiteX250" fmla="*/ 359589 w 761692"/>
                    <a:gd name="connsiteY250" fmla="*/ 143482 h 1016771"/>
                    <a:gd name="connsiteX251" fmla="*/ 371989 w 761692"/>
                    <a:gd name="connsiteY251" fmla="*/ 143482 h 1016771"/>
                    <a:gd name="connsiteX252" fmla="*/ 391474 w 761692"/>
                    <a:gd name="connsiteY252" fmla="*/ 143482 h 1016771"/>
                    <a:gd name="connsiteX253" fmla="*/ 396788 w 761692"/>
                    <a:gd name="connsiteY253" fmla="*/ 141710 h 1016771"/>
                    <a:gd name="connsiteX254" fmla="*/ 403874 w 761692"/>
                    <a:gd name="connsiteY254" fmla="*/ 134625 h 1016771"/>
                    <a:gd name="connsiteX255" fmla="*/ 409188 w 761692"/>
                    <a:gd name="connsiteY255" fmla="*/ 129311 h 1016771"/>
                    <a:gd name="connsiteX256" fmla="*/ 409188 w 761692"/>
                    <a:gd name="connsiteY256" fmla="*/ 123997 h 1016771"/>
                    <a:gd name="connsiteX257" fmla="*/ 414502 w 761692"/>
                    <a:gd name="connsiteY257" fmla="*/ 115140 h 1016771"/>
                    <a:gd name="connsiteX258" fmla="*/ 428673 w 761692"/>
                    <a:gd name="connsiteY258" fmla="*/ 115140 h 1016771"/>
                    <a:gd name="connsiteX259" fmla="*/ 432216 w 761692"/>
                    <a:gd name="connsiteY259" fmla="*/ 109826 h 1016771"/>
                    <a:gd name="connsiteX260" fmla="*/ 437530 w 761692"/>
                    <a:gd name="connsiteY260" fmla="*/ 100969 h 1016771"/>
                    <a:gd name="connsiteX261" fmla="*/ 448158 w 761692"/>
                    <a:gd name="connsiteY261" fmla="*/ 99197 h 1016771"/>
                    <a:gd name="connsiteX262" fmla="*/ 460558 w 761692"/>
                    <a:gd name="connsiteY262" fmla="*/ 97426 h 1016771"/>
                    <a:gd name="connsiteX263" fmla="*/ 472958 w 761692"/>
                    <a:gd name="connsiteY263" fmla="*/ 93883 h 1016771"/>
                    <a:gd name="connsiteX264" fmla="*/ 492443 w 761692"/>
                    <a:gd name="connsiteY264" fmla="*/ 93883 h 1016771"/>
                    <a:gd name="connsiteX265" fmla="*/ 501300 w 761692"/>
                    <a:gd name="connsiteY265" fmla="*/ 83255 h 1016771"/>
                    <a:gd name="connsiteX266" fmla="*/ 517242 w 761692"/>
                    <a:gd name="connsiteY266" fmla="*/ 81484 h 1016771"/>
                    <a:gd name="connsiteX267" fmla="*/ 522556 w 761692"/>
                    <a:gd name="connsiteY267" fmla="*/ 81484 h 1016771"/>
                    <a:gd name="connsiteX268" fmla="*/ 522556 w 761692"/>
                    <a:gd name="connsiteY268" fmla="*/ 60227 h 1016771"/>
                    <a:gd name="connsiteX269" fmla="*/ 526099 w 761692"/>
                    <a:gd name="connsiteY269" fmla="*/ 54913 h 1016771"/>
                    <a:gd name="connsiteX270" fmla="*/ 529642 w 761692"/>
                    <a:gd name="connsiteY270" fmla="*/ 46056 h 1016771"/>
                    <a:gd name="connsiteX271" fmla="*/ 538499 w 761692"/>
                    <a:gd name="connsiteY271" fmla="*/ 40742 h 1016771"/>
                    <a:gd name="connsiteX272" fmla="*/ 540270 w 761692"/>
                    <a:gd name="connsiteY272" fmla="*/ 30114 h 1016771"/>
                    <a:gd name="connsiteX273" fmla="*/ 536727 w 761692"/>
                    <a:gd name="connsiteY273" fmla="*/ 19485 h 1016771"/>
                    <a:gd name="connsiteX274" fmla="*/ 543813 w 761692"/>
                    <a:gd name="connsiteY274" fmla="*/ 5314 h 1016771"/>
                    <a:gd name="connsiteX275" fmla="*/ 554441 w 761692"/>
                    <a:gd name="connsiteY275" fmla="*/ 0 h 10167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  <a:cxn ang="0">
                      <a:pos x="connsiteX172" y="connsiteY172"/>
                    </a:cxn>
                    <a:cxn ang="0">
                      <a:pos x="connsiteX173" y="connsiteY173"/>
                    </a:cxn>
                    <a:cxn ang="0">
                      <a:pos x="connsiteX174" y="connsiteY174"/>
                    </a:cxn>
                    <a:cxn ang="0">
                      <a:pos x="connsiteX175" y="connsiteY175"/>
                    </a:cxn>
                    <a:cxn ang="0">
                      <a:pos x="connsiteX176" y="connsiteY176"/>
                    </a:cxn>
                    <a:cxn ang="0">
                      <a:pos x="connsiteX177" y="connsiteY177"/>
                    </a:cxn>
                    <a:cxn ang="0">
                      <a:pos x="connsiteX178" y="connsiteY178"/>
                    </a:cxn>
                    <a:cxn ang="0">
                      <a:pos x="connsiteX179" y="connsiteY179"/>
                    </a:cxn>
                    <a:cxn ang="0">
                      <a:pos x="connsiteX180" y="connsiteY180"/>
                    </a:cxn>
                    <a:cxn ang="0">
                      <a:pos x="connsiteX181" y="connsiteY181"/>
                    </a:cxn>
                    <a:cxn ang="0">
                      <a:pos x="connsiteX182" y="connsiteY182"/>
                    </a:cxn>
                    <a:cxn ang="0">
                      <a:pos x="connsiteX183" y="connsiteY183"/>
                    </a:cxn>
                    <a:cxn ang="0">
                      <a:pos x="connsiteX184" y="connsiteY184"/>
                    </a:cxn>
                    <a:cxn ang="0">
                      <a:pos x="connsiteX185" y="connsiteY185"/>
                    </a:cxn>
                    <a:cxn ang="0">
                      <a:pos x="connsiteX186" y="connsiteY186"/>
                    </a:cxn>
                    <a:cxn ang="0">
                      <a:pos x="connsiteX187" y="connsiteY187"/>
                    </a:cxn>
                    <a:cxn ang="0">
                      <a:pos x="connsiteX188" y="connsiteY188"/>
                    </a:cxn>
                    <a:cxn ang="0">
                      <a:pos x="connsiteX189" y="connsiteY189"/>
                    </a:cxn>
                    <a:cxn ang="0">
                      <a:pos x="connsiteX190" y="connsiteY190"/>
                    </a:cxn>
                    <a:cxn ang="0">
                      <a:pos x="connsiteX191" y="connsiteY191"/>
                    </a:cxn>
                    <a:cxn ang="0">
                      <a:pos x="connsiteX192" y="connsiteY192"/>
                    </a:cxn>
                    <a:cxn ang="0">
                      <a:pos x="connsiteX193" y="connsiteY193"/>
                    </a:cxn>
                    <a:cxn ang="0">
                      <a:pos x="connsiteX194" y="connsiteY194"/>
                    </a:cxn>
                    <a:cxn ang="0">
                      <a:pos x="connsiteX195" y="connsiteY195"/>
                    </a:cxn>
                    <a:cxn ang="0">
                      <a:pos x="connsiteX196" y="connsiteY196"/>
                    </a:cxn>
                    <a:cxn ang="0">
                      <a:pos x="connsiteX197" y="connsiteY197"/>
                    </a:cxn>
                    <a:cxn ang="0">
                      <a:pos x="connsiteX198" y="connsiteY198"/>
                    </a:cxn>
                    <a:cxn ang="0">
                      <a:pos x="connsiteX199" y="connsiteY199"/>
                    </a:cxn>
                    <a:cxn ang="0">
                      <a:pos x="connsiteX200" y="connsiteY200"/>
                    </a:cxn>
                    <a:cxn ang="0">
                      <a:pos x="connsiteX201" y="connsiteY201"/>
                    </a:cxn>
                    <a:cxn ang="0">
                      <a:pos x="connsiteX202" y="connsiteY202"/>
                    </a:cxn>
                    <a:cxn ang="0">
                      <a:pos x="connsiteX203" y="connsiteY203"/>
                    </a:cxn>
                    <a:cxn ang="0">
                      <a:pos x="connsiteX204" y="connsiteY204"/>
                    </a:cxn>
                    <a:cxn ang="0">
                      <a:pos x="connsiteX205" y="connsiteY205"/>
                    </a:cxn>
                    <a:cxn ang="0">
                      <a:pos x="connsiteX206" y="connsiteY206"/>
                    </a:cxn>
                    <a:cxn ang="0">
                      <a:pos x="connsiteX207" y="connsiteY207"/>
                    </a:cxn>
                    <a:cxn ang="0">
                      <a:pos x="connsiteX208" y="connsiteY208"/>
                    </a:cxn>
                    <a:cxn ang="0">
                      <a:pos x="connsiteX209" y="connsiteY209"/>
                    </a:cxn>
                    <a:cxn ang="0">
                      <a:pos x="connsiteX210" y="connsiteY210"/>
                    </a:cxn>
                    <a:cxn ang="0">
                      <a:pos x="connsiteX211" y="connsiteY211"/>
                    </a:cxn>
                    <a:cxn ang="0">
                      <a:pos x="connsiteX212" y="connsiteY212"/>
                    </a:cxn>
                    <a:cxn ang="0">
                      <a:pos x="connsiteX213" y="connsiteY213"/>
                    </a:cxn>
                    <a:cxn ang="0">
                      <a:pos x="connsiteX214" y="connsiteY214"/>
                    </a:cxn>
                    <a:cxn ang="0">
                      <a:pos x="connsiteX215" y="connsiteY215"/>
                    </a:cxn>
                    <a:cxn ang="0">
                      <a:pos x="connsiteX216" y="connsiteY216"/>
                    </a:cxn>
                    <a:cxn ang="0">
                      <a:pos x="connsiteX217" y="connsiteY217"/>
                    </a:cxn>
                    <a:cxn ang="0">
                      <a:pos x="connsiteX218" y="connsiteY218"/>
                    </a:cxn>
                    <a:cxn ang="0">
                      <a:pos x="connsiteX219" y="connsiteY219"/>
                    </a:cxn>
                    <a:cxn ang="0">
                      <a:pos x="connsiteX220" y="connsiteY220"/>
                    </a:cxn>
                    <a:cxn ang="0">
                      <a:pos x="connsiteX221" y="connsiteY221"/>
                    </a:cxn>
                    <a:cxn ang="0">
                      <a:pos x="connsiteX222" y="connsiteY222"/>
                    </a:cxn>
                    <a:cxn ang="0">
                      <a:pos x="connsiteX223" y="connsiteY223"/>
                    </a:cxn>
                    <a:cxn ang="0">
                      <a:pos x="connsiteX224" y="connsiteY224"/>
                    </a:cxn>
                    <a:cxn ang="0">
                      <a:pos x="connsiteX225" y="connsiteY225"/>
                    </a:cxn>
                    <a:cxn ang="0">
                      <a:pos x="connsiteX226" y="connsiteY226"/>
                    </a:cxn>
                    <a:cxn ang="0">
                      <a:pos x="connsiteX227" y="connsiteY227"/>
                    </a:cxn>
                    <a:cxn ang="0">
                      <a:pos x="connsiteX228" y="connsiteY228"/>
                    </a:cxn>
                    <a:cxn ang="0">
                      <a:pos x="connsiteX229" y="connsiteY229"/>
                    </a:cxn>
                    <a:cxn ang="0">
                      <a:pos x="connsiteX230" y="connsiteY230"/>
                    </a:cxn>
                    <a:cxn ang="0">
                      <a:pos x="connsiteX231" y="connsiteY231"/>
                    </a:cxn>
                    <a:cxn ang="0">
                      <a:pos x="connsiteX232" y="connsiteY232"/>
                    </a:cxn>
                    <a:cxn ang="0">
                      <a:pos x="connsiteX233" y="connsiteY233"/>
                    </a:cxn>
                    <a:cxn ang="0">
                      <a:pos x="connsiteX234" y="connsiteY234"/>
                    </a:cxn>
                    <a:cxn ang="0">
                      <a:pos x="connsiteX235" y="connsiteY235"/>
                    </a:cxn>
                    <a:cxn ang="0">
                      <a:pos x="connsiteX236" y="connsiteY236"/>
                    </a:cxn>
                    <a:cxn ang="0">
                      <a:pos x="connsiteX237" y="connsiteY237"/>
                    </a:cxn>
                    <a:cxn ang="0">
                      <a:pos x="connsiteX238" y="connsiteY238"/>
                    </a:cxn>
                    <a:cxn ang="0">
                      <a:pos x="connsiteX239" y="connsiteY239"/>
                    </a:cxn>
                    <a:cxn ang="0">
                      <a:pos x="connsiteX240" y="connsiteY240"/>
                    </a:cxn>
                    <a:cxn ang="0">
                      <a:pos x="connsiteX241" y="connsiteY241"/>
                    </a:cxn>
                    <a:cxn ang="0">
                      <a:pos x="connsiteX242" y="connsiteY242"/>
                    </a:cxn>
                    <a:cxn ang="0">
                      <a:pos x="connsiteX243" y="connsiteY243"/>
                    </a:cxn>
                    <a:cxn ang="0">
                      <a:pos x="connsiteX244" y="connsiteY244"/>
                    </a:cxn>
                    <a:cxn ang="0">
                      <a:pos x="connsiteX245" y="connsiteY245"/>
                    </a:cxn>
                    <a:cxn ang="0">
                      <a:pos x="connsiteX246" y="connsiteY246"/>
                    </a:cxn>
                    <a:cxn ang="0">
                      <a:pos x="connsiteX247" y="connsiteY247"/>
                    </a:cxn>
                    <a:cxn ang="0">
                      <a:pos x="connsiteX248" y="connsiteY248"/>
                    </a:cxn>
                    <a:cxn ang="0">
                      <a:pos x="connsiteX249" y="connsiteY249"/>
                    </a:cxn>
                    <a:cxn ang="0">
                      <a:pos x="connsiteX250" y="connsiteY250"/>
                    </a:cxn>
                    <a:cxn ang="0">
                      <a:pos x="connsiteX251" y="connsiteY251"/>
                    </a:cxn>
                    <a:cxn ang="0">
                      <a:pos x="connsiteX252" y="connsiteY252"/>
                    </a:cxn>
                    <a:cxn ang="0">
                      <a:pos x="connsiteX253" y="connsiteY253"/>
                    </a:cxn>
                    <a:cxn ang="0">
                      <a:pos x="connsiteX254" y="connsiteY254"/>
                    </a:cxn>
                    <a:cxn ang="0">
                      <a:pos x="connsiteX255" y="connsiteY255"/>
                    </a:cxn>
                    <a:cxn ang="0">
                      <a:pos x="connsiteX256" y="connsiteY256"/>
                    </a:cxn>
                    <a:cxn ang="0">
                      <a:pos x="connsiteX257" y="connsiteY257"/>
                    </a:cxn>
                    <a:cxn ang="0">
                      <a:pos x="connsiteX258" y="connsiteY258"/>
                    </a:cxn>
                    <a:cxn ang="0">
                      <a:pos x="connsiteX259" y="connsiteY259"/>
                    </a:cxn>
                    <a:cxn ang="0">
                      <a:pos x="connsiteX260" y="connsiteY260"/>
                    </a:cxn>
                    <a:cxn ang="0">
                      <a:pos x="connsiteX261" y="connsiteY261"/>
                    </a:cxn>
                    <a:cxn ang="0">
                      <a:pos x="connsiteX262" y="connsiteY262"/>
                    </a:cxn>
                    <a:cxn ang="0">
                      <a:pos x="connsiteX263" y="connsiteY263"/>
                    </a:cxn>
                    <a:cxn ang="0">
                      <a:pos x="connsiteX264" y="connsiteY264"/>
                    </a:cxn>
                    <a:cxn ang="0">
                      <a:pos x="connsiteX265" y="connsiteY265"/>
                    </a:cxn>
                    <a:cxn ang="0">
                      <a:pos x="connsiteX266" y="connsiteY266"/>
                    </a:cxn>
                    <a:cxn ang="0">
                      <a:pos x="connsiteX267" y="connsiteY267"/>
                    </a:cxn>
                    <a:cxn ang="0">
                      <a:pos x="connsiteX268" y="connsiteY268"/>
                    </a:cxn>
                    <a:cxn ang="0">
                      <a:pos x="connsiteX269" y="connsiteY269"/>
                    </a:cxn>
                    <a:cxn ang="0">
                      <a:pos x="connsiteX270" y="connsiteY270"/>
                    </a:cxn>
                    <a:cxn ang="0">
                      <a:pos x="connsiteX271" y="connsiteY271"/>
                    </a:cxn>
                    <a:cxn ang="0">
                      <a:pos x="connsiteX272" y="connsiteY272"/>
                    </a:cxn>
                    <a:cxn ang="0">
                      <a:pos x="connsiteX273" y="connsiteY273"/>
                    </a:cxn>
                    <a:cxn ang="0">
                      <a:pos x="connsiteX274" y="connsiteY274"/>
                    </a:cxn>
                    <a:cxn ang="0">
                      <a:pos x="connsiteX275" y="connsiteY275"/>
                    </a:cxn>
                  </a:cxnLst>
                  <a:rect l="l" t="t" r="r" b="b"/>
                  <a:pathLst>
                    <a:path w="761692" h="1016771">
                      <a:moveTo>
                        <a:pt x="116476" y="741349"/>
                      </a:moveTo>
                      <a:lnTo>
                        <a:pt x="117606" y="742253"/>
                      </a:lnTo>
                      <a:lnTo>
                        <a:pt x="116476" y="741349"/>
                      </a:lnTo>
                      <a:close/>
                      <a:moveTo>
                        <a:pt x="554441" y="0"/>
                      </a:moveTo>
                      <a:lnTo>
                        <a:pt x="570383" y="3543"/>
                      </a:lnTo>
                      <a:lnTo>
                        <a:pt x="577469" y="8857"/>
                      </a:lnTo>
                      <a:lnTo>
                        <a:pt x="582783" y="17714"/>
                      </a:lnTo>
                      <a:lnTo>
                        <a:pt x="582783" y="24799"/>
                      </a:lnTo>
                      <a:lnTo>
                        <a:pt x="588097" y="33656"/>
                      </a:lnTo>
                      <a:lnTo>
                        <a:pt x="598725" y="31885"/>
                      </a:lnTo>
                      <a:lnTo>
                        <a:pt x="612896" y="37199"/>
                      </a:lnTo>
                      <a:lnTo>
                        <a:pt x="618211" y="46056"/>
                      </a:lnTo>
                      <a:lnTo>
                        <a:pt x="619982" y="54913"/>
                      </a:lnTo>
                      <a:lnTo>
                        <a:pt x="618211" y="74398"/>
                      </a:lnTo>
                      <a:lnTo>
                        <a:pt x="616439" y="85026"/>
                      </a:lnTo>
                      <a:lnTo>
                        <a:pt x="621753" y="97426"/>
                      </a:lnTo>
                      <a:lnTo>
                        <a:pt x="637696" y="113368"/>
                      </a:lnTo>
                      <a:lnTo>
                        <a:pt x="644781" y="120454"/>
                      </a:lnTo>
                      <a:lnTo>
                        <a:pt x="650095" y="136396"/>
                      </a:lnTo>
                      <a:lnTo>
                        <a:pt x="655409" y="155881"/>
                      </a:lnTo>
                      <a:lnTo>
                        <a:pt x="662495" y="171824"/>
                      </a:lnTo>
                      <a:lnTo>
                        <a:pt x="660724" y="185995"/>
                      </a:lnTo>
                      <a:lnTo>
                        <a:pt x="635924" y="194852"/>
                      </a:lnTo>
                      <a:lnTo>
                        <a:pt x="619982" y="207251"/>
                      </a:lnTo>
                      <a:lnTo>
                        <a:pt x="614668" y="223194"/>
                      </a:lnTo>
                      <a:lnTo>
                        <a:pt x="618211" y="242679"/>
                      </a:lnTo>
                      <a:lnTo>
                        <a:pt x="612896" y="256850"/>
                      </a:lnTo>
                      <a:lnTo>
                        <a:pt x="625296" y="267478"/>
                      </a:lnTo>
                      <a:lnTo>
                        <a:pt x="641238" y="269250"/>
                      </a:lnTo>
                      <a:lnTo>
                        <a:pt x="658952" y="286963"/>
                      </a:lnTo>
                      <a:lnTo>
                        <a:pt x="653638" y="309991"/>
                      </a:lnTo>
                      <a:lnTo>
                        <a:pt x="653638" y="329476"/>
                      </a:lnTo>
                      <a:lnTo>
                        <a:pt x="643010" y="338333"/>
                      </a:lnTo>
                      <a:lnTo>
                        <a:pt x="632382" y="338333"/>
                      </a:lnTo>
                      <a:lnTo>
                        <a:pt x="618211" y="357819"/>
                      </a:lnTo>
                      <a:lnTo>
                        <a:pt x="609354" y="361361"/>
                      </a:lnTo>
                      <a:lnTo>
                        <a:pt x="596954" y="363133"/>
                      </a:lnTo>
                      <a:lnTo>
                        <a:pt x="581012" y="379075"/>
                      </a:lnTo>
                      <a:lnTo>
                        <a:pt x="589868" y="393246"/>
                      </a:lnTo>
                      <a:lnTo>
                        <a:pt x="586326" y="409189"/>
                      </a:lnTo>
                      <a:lnTo>
                        <a:pt x="570383" y="398560"/>
                      </a:lnTo>
                      <a:lnTo>
                        <a:pt x="550898" y="405646"/>
                      </a:lnTo>
                      <a:lnTo>
                        <a:pt x="531413" y="425131"/>
                      </a:lnTo>
                      <a:lnTo>
                        <a:pt x="543813" y="444616"/>
                      </a:lnTo>
                      <a:lnTo>
                        <a:pt x="557984" y="462330"/>
                      </a:lnTo>
                      <a:lnTo>
                        <a:pt x="570383" y="478272"/>
                      </a:lnTo>
                      <a:lnTo>
                        <a:pt x="579240" y="485358"/>
                      </a:lnTo>
                      <a:lnTo>
                        <a:pt x="602268" y="483586"/>
                      </a:lnTo>
                      <a:lnTo>
                        <a:pt x="623525" y="474730"/>
                      </a:lnTo>
                      <a:lnTo>
                        <a:pt x="639467" y="464101"/>
                      </a:lnTo>
                      <a:lnTo>
                        <a:pt x="662495" y="464101"/>
                      </a:lnTo>
                      <a:lnTo>
                        <a:pt x="673123" y="464101"/>
                      </a:lnTo>
                      <a:lnTo>
                        <a:pt x="681980" y="467644"/>
                      </a:lnTo>
                      <a:lnTo>
                        <a:pt x="703237" y="471187"/>
                      </a:lnTo>
                      <a:lnTo>
                        <a:pt x="708551" y="474730"/>
                      </a:lnTo>
                      <a:lnTo>
                        <a:pt x="722722" y="501300"/>
                      </a:lnTo>
                      <a:lnTo>
                        <a:pt x="724493" y="522557"/>
                      </a:lnTo>
                      <a:lnTo>
                        <a:pt x="722722" y="540271"/>
                      </a:lnTo>
                      <a:lnTo>
                        <a:pt x="735121" y="552670"/>
                      </a:lnTo>
                      <a:lnTo>
                        <a:pt x="735121" y="570384"/>
                      </a:lnTo>
                      <a:lnTo>
                        <a:pt x="751064" y="581012"/>
                      </a:lnTo>
                      <a:lnTo>
                        <a:pt x="761692" y="604040"/>
                      </a:lnTo>
                      <a:lnTo>
                        <a:pt x="747521" y="616440"/>
                      </a:lnTo>
                      <a:lnTo>
                        <a:pt x="728036" y="627068"/>
                      </a:lnTo>
                      <a:lnTo>
                        <a:pt x="726264" y="650096"/>
                      </a:lnTo>
                      <a:lnTo>
                        <a:pt x="728036" y="673124"/>
                      </a:lnTo>
                      <a:lnTo>
                        <a:pt x="742207" y="689066"/>
                      </a:lnTo>
                      <a:lnTo>
                        <a:pt x="742207" y="712094"/>
                      </a:lnTo>
                      <a:lnTo>
                        <a:pt x="740435" y="735122"/>
                      </a:lnTo>
                      <a:lnTo>
                        <a:pt x="742207" y="751065"/>
                      </a:lnTo>
                      <a:lnTo>
                        <a:pt x="747521" y="768778"/>
                      </a:lnTo>
                      <a:lnTo>
                        <a:pt x="759921" y="777635"/>
                      </a:lnTo>
                      <a:lnTo>
                        <a:pt x="758149" y="802434"/>
                      </a:lnTo>
                      <a:lnTo>
                        <a:pt x="752835" y="814834"/>
                      </a:lnTo>
                      <a:lnTo>
                        <a:pt x="743978" y="827234"/>
                      </a:lnTo>
                      <a:lnTo>
                        <a:pt x="743978" y="837862"/>
                      </a:lnTo>
                      <a:lnTo>
                        <a:pt x="747521" y="853804"/>
                      </a:lnTo>
                      <a:lnTo>
                        <a:pt x="733350" y="867975"/>
                      </a:lnTo>
                      <a:lnTo>
                        <a:pt x="724493" y="880375"/>
                      </a:lnTo>
                      <a:lnTo>
                        <a:pt x="722722" y="899860"/>
                      </a:lnTo>
                      <a:lnTo>
                        <a:pt x="722722" y="919345"/>
                      </a:lnTo>
                      <a:lnTo>
                        <a:pt x="715636" y="940602"/>
                      </a:lnTo>
                      <a:lnTo>
                        <a:pt x="708551" y="954773"/>
                      </a:lnTo>
                      <a:lnTo>
                        <a:pt x="699694" y="965401"/>
                      </a:lnTo>
                      <a:lnTo>
                        <a:pt x="692608" y="984886"/>
                      </a:lnTo>
                      <a:lnTo>
                        <a:pt x="683751" y="997286"/>
                      </a:lnTo>
                      <a:lnTo>
                        <a:pt x="673123" y="1002600"/>
                      </a:lnTo>
                      <a:lnTo>
                        <a:pt x="662495" y="1013228"/>
                      </a:lnTo>
                      <a:lnTo>
                        <a:pt x="644781" y="1016771"/>
                      </a:lnTo>
                      <a:lnTo>
                        <a:pt x="635924" y="1004372"/>
                      </a:lnTo>
                      <a:lnTo>
                        <a:pt x="623525" y="997286"/>
                      </a:lnTo>
                      <a:lnTo>
                        <a:pt x="614668" y="986658"/>
                      </a:lnTo>
                      <a:lnTo>
                        <a:pt x="593411" y="970715"/>
                      </a:lnTo>
                      <a:lnTo>
                        <a:pt x="582783" y="965401"/>
                      </a:lnTo>
                      <a:lnTo>
                        <a:pt x="531413" y="965401"/>
                      </a:lnTo>
                      <a:lnTo>
                        <a:pt x="511928" y="965401"/>
                      </a:lnTo>
                      <a:lnTo>
                        <a:pt x="492443" y="963630"/>
                      </a:lnTo>
                      <a:lnTo>
                        <a:pt x="483586" y="958316"/>
                      </a:lnTo>
                      <a:lnTo>
                        <a:pt x="469415" y="954773"/>
                      </a:lnTo>
                      <a:lnTo>
                        <a:pt x="460558" y="942373"/>
                      </a:lnTo>
                      <a:lnTo>
                        <a:pt x="446387" y="935288"/>
                      </a:lnTo>
                      <a:lnTo>
                        <a:pt x="428673" y="928202"/>
                      </a:lnTo>
                      <a:lnTo>
                        <a:pt x="418045" y="917574"/>
                      </a:lnTo>
                      <a:lnTo>
                        <a:pt x="421588" y="903403"/>
                      </a:lnTo>
                      <a:lnTo>
                        <a:pt x="418045" y="898089"/>
                      </a:lnTo>
                      <a:lnTo>
                        <a:pt x="396788" y="898089"/>
                      </a:lnTo>
                      <a:lnTo>
                        <a:pt x="382617" y="896318"/>
                      </a:lnTo>
                      <a:lnTo>
                        <a:pt x="387164" y="896527"/>
                      </a:lnTo>
                      <a:lnTo>
                        <a:pt x="383773" y="886355"/>
                      </a:lnTo>
                      <a:lnTo>
                        <a:pt x="387164" y="876183"/>
                      </a:lnTo>
                      <a:lnTo>
                        <a:pt x="388859" y="867707"/>
                      </a:lnTo>
                      <a:lnTo>
                        <a:pt x="380382" y="859230"/>
                      </a:lnTo>
                      <a:lnTo>
                        <a:pt x="373601" y="849058"/>
                      </a:lnTo>
                      <a:lnTo>
                        <a:pt x="380382" y="838886"/>
                      </a:lnTo>
                      <a:lnTo>
                        <a:pt x="383773" y="833800"/>
                      </a:lnTo>
                      <a:lnTo>
                        <a:pt x="388859" y="825324"/>
                      </a:lnTo>
                      <a:lnTo>
                        <a:pt x="387164" y="810066"/>
                      </a:lnTo>
                      <a:lnTo>
                        <a:pt x="387164" y="796503"/>
                      </a:lnTo>
                      <a:lnTo>
                        <a:pt x="378687" y="789722"/>
                      </a:lnTo>
                      <a:lnTo>
                        <a:pt x="366820" y="782940"/>
                      </a:lnTo>
                      <a:lnTo>
                        <a:pt x="356648" y="781245"/>
                      </a:lnTo>
                      <a:lnTo>
                        <a:pt x="349866" y="771073"/>
                      </a:lnTo>
                      <a:lnTo>
                        <a:pt x="349866" y="752425"/>
                      </a:lnTo>
                      <a:lnTo>
                        <a:pt x="353257" y="743948"/>
                      </a:lnTo>
                      <a:lnTo>
                        <a:pt x="354952" y="730385"/>
                      </a:lnTo>
                      <a:lnTo>
                        <a:pt x="353257" y="713432"/>
                      </a:lnTo>
                      <a:lnTo>
                        <a:pt x="346476" y="701565"/>
                      </a:lnTo>
                      <a:lnTo>
                        <a:pt x="332913" y="689697"/>
                      </a:lnTo>
                      <a:lnTo>
                        <a:pt x="324436" y="681221"/>
                      </a:lnTo>
                      <a:lnTo>
                        <a:pt x="314264" y="676135"/>
                      </a:lnTo>
                      <a:lnTo>
                        <a:pt x="293920" y="669354"/>
                      </a:lnTo>
                      <a:lnTo>
                        <a:pt x="282053" y="667658"/>
                      </a:lnTo>
                      <a:lnTo>
                        <a:pt x="266795" y="672744"/>
                      </a:lnTo>
                      <a:lnTo>
                        <a:pt x="265100" y="672744"/>
                      </a:lnTo>
                      <a:lnTo>
                        <a:pt x="263404" y="671049"/>
                      </a:lnTo>
                      <a:lnTo>
                        <a:pt x="260014" y="671049"/>
                      </a:lnTo>
                      <a:lnTo>
                        <a:pt x="258318" y="671049"/>
                      </a:lnTo>
                      <a:lnTo>
                        <a:pt x="253232" y="671049"/>
                      </a:lnTo>
                      <a:lnTo>
                        <a:pt x="248146" y="672744"/>
                      </a:lnTo>
                      <a:lnTo>
                        <a:pt x="248146" y="674440"/>
                      </a:lnTo>
                      <a:lnTo>
                        <a:pt x="246451" y="674440"/>
                      </a:lnTo>
                      <a:lnTo>
                        <a:pt x="236279" y="679526"/>
                      </a:lnTo>
                      <a:lnTo>
                        <a:pt x="226107" y="684612"/>
                      </a:lnTo>
                      <a:lnTo>
                        <a:pt x="217630" y="684612"/>
                      </a:lnTo>
                      <a:lnTo>
                        <a:pt x="207458" y="693088"/>
                      </a:lnTo>
                      <a:lnTo>
                        <a:pt x="198982" y="694783"/>
                      </a:lnTo>
                      <a:lnTo>
                        <a:pt x="192200" y="699869"/>
                      </a:lnTo>
                      <a:lnTo>
                        <a:pt x="178638" y="706651"/>
                      </a:lnTo>
                      <a:lnTo>
                        <a:pt x="163380" y="710041"/>
                      </a:lnTo>
                      <a:lnTo>
                        <a:pt x="141340" y="710041"/>
                      </a:lnTo>
                      <a:lnTo>
                        <a:pt x="134559" y="716823"/>
                      </a:lnTo>
                      <a:lnTo>
                        <a:pt x="127778" y="718518"/>
                      </a:lnTo>
                      <a:lnTo>
                        <a:pt x="120996" y="725299"/>
                      </a:lnTo>
                      <a:lnTo>
                        <a:pt x="111172" y="733720"/>
                      </a:lnTo>
                      <a:lnTo>
                        <a:pt x="106283" y="729808"/>
                      </a:lnTo>
                      <a:lnTo>
                        <a:pt x="92112" y="724494"/>
                      </a:lnTo>
                      <a:lnTo>
                        <a:pt x="77941" y="726265"/>
                      </a:lnTo>
                      <a:lnTo>
                        <a:pt x="70855" y="719180"/>
                      </a:lnTo>
                      <a:lnTo>
                        <a:pt x="70855" y="699695"/>
                      </a:lnTo>
                      <a:lnTo>
                        <a:pt x="81483" y="685524"/>
                      </a:lnTo>
                      <a:lnTo>
                        <a:pt x="85026" y="673124"/>
                      </a:lnTo>
                      <a:lnTo>
                        <a:pt x="86797" y="660724"/>
                      </a:lnTo>
                      <a:lnTo>
                        <a:pt x="97426" y="650096"/>
                      </a:lnTo>
                      <a:lnTo>
                        <a:pt x="102740" y="635925"/>
                      </a:lnTo>
                      <a:lnTo>
                        <a:pt x="113368" y="625297"/>
                      </a:lnTo>
                      <a:lnTo>
                        <a:pt x="115139" y="612897"/>
                      </a:lnTo>
                      <a:lnTo>
                        <a:pt x="127539" y="609354"/>
                      </a:lnTo>
                      <a:lnTo>
                        <a:pt x="136396" y="604040"/>
                      </a:lnTo>
                      <a:lnTo>
                        <a:pt x="132853" y="593412"/>
                      </a:lnTo>
                      <a:lnTo>
                        <a:pt x="134625" y="584555"/>
                      </a:lnTo>
                      <a:lnTo>
                        <a:pt x="131082" y="575698"/>
                      </a:lnTo>
                      <a:lnTo>
                        <a:pt x="120454" y="568613"/>
                      </a:lnTo>
                      <a:lnTo>
                        <a:pt x="125768" y="552670"/>
                      </a:lnTo>
                      <a:lnTo>
                        <a:pt x="118682" y="543813"/>
                      </a:lnTo>
                      <a:lnTo>
                        <a:pt x="90340" y="543813"/>
                      </a:lnTo>
                      <a:lnTo>
                        <a:pt x="86797" y="542042"/>
                      </a:lnTo>
                      <a:lnTo>
                        <a:pt x="83255" y="542042"/>
                      </a:lnTo>
                      <a:lnTo>
                        <a:pt x="81483" y="540271"/>
                      </a:lnTo>
                      <a:lnTo>
                        <a:pt x="81483" y="536728"/>
                      </a:lnTo>
                      <a:lnTo>
                        <a:pt x="79712" y="531414"/>
                      </a:lnTo>
                      <a:lnTo>
                        <a:pt x="77941" y="529642"/>
                      </a:lnTo>
                      <a:lnTo>
                        <a:pt x="70855" y="527871"/>
                      </a:lnTo>
                      <a:lnTo>
                        <a:pt x="60227" y="536728"/>
                      </a:lnTo>
                      <a:lnTo>
                        <a:pt x="47827" y="526100"/>
                      </a:lnTo>
                      <a:lnTo>
                        <a:pt x="42513" y="515471"/>
                      </a:lnTo>
                      <a:lnTo>
                        <a:pt x="33656" y="506614"/>
                      </a:lnTo>
                      <a:lnTo>
                        <a:pt x="31885" y="490672"/>
                      </a:lnTo>
                      <a:lnTo>
                        <a:pt x="26571" y="476501"/>
                      </a:lnTo>
                      <a:lnTo>
                        <a:pt x="24799" y="471187"/>
                      </a:lnTo>
                      <a:lnTo>
                        <a:pt x="12400" y="472958"/>
                      </a:lnTo>
                      <a:lnTo>
                        <a:pt x="7086" y="464101"/>
                      </a:lnTo>
                      <a:lnTo>
                        <a:pt x="8857" y="446388"/>
                      </a:lnTo>
                      <a:lnTo>
                        <a:pt x="3543" y="435759"/>
                      </a:lnTo>
                      <a:lnTo>
                        <a:pt x="5314" y="412731"/>
                      </a:lnTo>
                      <a:lnTo>
                        <a:pt x="0" y="396789"/>
                      </a:lnTo>
                      <a:lnTo>
                        <a:pt x="3543" y="384389"/>
                      </a:lnTo>
                      <a:lnTo>
                        <a:pt x="14171" y="380846"/>
                      </a:lnTo>
                      <a:lnTo>
                        <a:pt x="24799" y="364904"/>
                      </a:lnTo>
                      <a:lnTo>
                        <a:pt x="30113" y="350733"/>
                      </a:lnTo>
                      <a:lnTo>
                        <a:pt x="35428" y="341876"/>
                      </a:lnTo>
                      <a:lnTo>
                        <a:pt x="42513" y="327705"/>
                      </a:lnTo>
                      <a:lnTo>
                        <a:pt x="42513" y="315305"/>
                      </a:lnTo>
                      <a:lnTo>
                        <a:pt x="56684" y="309991"/>
                      </a:lnTo>
                      <a:lnTo>
                        <a:pt x="60227" y="309991"/>
                      </a:lnTo>
                      <a:lnTo>
                        <a:pt x="61998" y="311763"/>
                      </a:lnTo>
                      <a:lnTo>
                        <a:pt x="67312" y="311763"/>
                      </a:lnTo>
                      <a:lnTo>
                        <a:pt x="67312" y="309991"/>
                      </a:lnTo>
                      <a:lnTo>
                        <a:pt x="67312" y="308220"/>
                      </a:lnTo>
                      <a:lnTo>
                        <a:pt x="69084" y="302906"/>
                      </a:lnTo>
                      <a:lnTo>
                        <a:pt x="70855" y="301134"/>
                      </a:lnTo>
                      <a:lnTo>
                        <a:pt x="70855" y="299363"/>
                      </a:lnTo>
                      <a:lnTo>
                        <a:pt x="77941" y="295820"/>
                      </a:lnTo>
                      <a:lnTo>
                        <a:pt x="85026" y="295820"/>
                      </a:lnTo>
                      <a:lnTo>
                        <a:pt x="93883" y="297592"/>
                      </a:lnTo>
                      <a:lnTo>
                        <a:pt x="100968" y="288735"/>
                      </a:lnTo>
                      <a:lnTo>
                        <a:pt x="97426" y="279878"/>
                      </a:lnTo>
                      <a:lnTo>
                        <a:pt x="85026" y="276335"/>
                      </a:lnTo>
                      <a:lnTo>
                        <a:pt x="76169" y="271021"/>
                      </a:lnTo>
                      <a:lnTo>
                        <a:pt x="76169" y="262164"/>
                      </a:lnTo>
                      <a:lnTo>
                        <a:pt x="81483" y="251536"/>
                      </a:lnTo>
                      <a:lnTo>
                        <a:pt x="86797" y="255079"/>
                      </a:lnTo>
                      <a:lnTo>
                        <a:pt x="104511" y="262164"/>
                      </a:lnTo>
                      <a:lnTo>
                        <a:pt x="116911" y="265707"/>
                      </a:lnTo>
                      <a:lnTo>
                        <a:pt x="132853" y="269250"/>
                      </a:lnTo>
                      <a:lnTo>
                        <a:pt x="138167" y="265707"/>
                      </a:lnTo>
                      <a:lnTo>
                        <a:pt x="150567" y="255079"/>
                      </a:lnTo>
                      <a:lnTo>
                        <a:pt x="166509" y="255079"/>
                      </a:lnTo>
                      <a:lnTo>
                        <a:pt x="166509" y="265707"/>
                      </a:lnTo>
                      <a:lnTo>
                        <a:pt x="177138" y="272792"/>
                      </a:lnTo>
                      <a:lnTo>
                        <a:pt x="194851" y="276335"/>
                      </a:lnTo>
                      <a:lnTo>
                        <a:pt x="209022" y="279878"/>
                      </a:lnTo>
                      <a:lnTo>
                        <a:pt x="221422" y="276335"/>
                      </a:lnTo>
                      <a:lnTo>
                        <a:pt x="226736" y="269250"/>
                      </a:lnTo>
                      <a:lnTo>
                        <a:pt x="226736" y="251536"/>
                      </a:lnTo>
                      <a:lnTo>
                        <a:pt x="224965" y="239136"/>
                      </a:lnTo>
                      <a:lnTo>
                        <a:pt x="214337" y="230279"/>
                      </a:lnTo>
                      <a:lnTo>
                        <a:pt x="210794" y="217880"/>
                      </a:lnTo>
                      <a:lnTo>
                        <a:pt x="221422" y="207251"/>
                      </a:lnTo>
                      <a:lnTo>
                        <a:pt x="235593" y="214337"/>
                      </a:lnTo>
                      <a:lnTo>
                        <a:pt x="246221" y="219651"/>
                      </a:lnTo>
                      <a:lnTo>
                        <a:pt x="253307" y="221422"/>
                      </a:lnTo>
                      <a:lnTo>
                        <a:pt x="262164" y="210794"/>
                      </a:lnTo>
                      <a:lnTo>
                        <a:pt x="263935" y="201937"/>
                      </a:lnTo>
                      <a:lnTo>
                        <a:pt x="274563" y="189538"/>
                      </a:lnTo>
                      <a:lnTo>
                        <a:pt x="283420" y="178909"/>
                      </a:lnTo>
                      <a:lnTo>
                        <a:pt x="286963" y="173595"/>
                      </a:lnTo>
                      <a:lnTo>
                        <a:pt x="311762" y="168281"/>
                      </a:lnTo>
                      <a:lnTo>
                        <a:pt x="325933" y="164738"/>
                      </a:lnTo>
                      <a:lnTo>
                        <a:pt x="336562" y="159424"/>
                      </a:lnTo>
                      <a:lnTo>
                        <a:pt x="348961" y="145253"/>
                      </a:lnTo>
                      <a:lnTo>
                        <a:pt x="359589" y="143482"/>
                      </a:lnTo>
                      <a:lnTo>
                        <a:pt x="371989" y="143482"/>
                      </a:lnTo>
                      <a:lnTo>
                        <a:pt x="391474" y="143482"/>
                      </a:lnTo>
                      <a:lnTo>
                        <a:pt x="396788" y="141710"/>
                      </a:lnTo>
                      <a:lnTo>
                        <a:pt x="403874" y="134625"/>
                      </a:lnTo>
                      <a:lnTo>
                        <a:pt x="409188" y="129311"/>
                      </a:lnTo>
                      <a:lnTo>
                        <a:pt x="409188" y="123997"/>
                      </a:lnTo>
                      <a:lnTo>
                        <a:pt x="414502" y="115140"/>
                      </a:lnTo>
                      <a:lnTo>
                        <a:pt x="428673" y="115140"/>
                      </a:lnTo>
                      <a:lnTo>
                        <a:pt x="432216" y="109826"/>
                      </a:lnTo>
                      <a:lnTo>
                        <a:pt x="437530" y="100969"/>
                      </a:lnTo>
                      <a:lnTo>
                        <a:pt x="448158" y="99197"/>
                      </a:lnTo>
                      <a:lnTo>
                        <a:pt x="460558" y="97426"/>
                      </a:lnTo>
                      <a:lnTo>
                        <a:pt x="472958" y="93883"/>
                      </a:lnTo>
                      <a:lnTo>
                        <a:pt x="492443" y="93883"/>
                      </a:lnTo>
                      <a:lnTo>
                        <a:pt x="501300" y="83255"/>
                      </a:lnTo>
                      <a:lnTo>
                        <a:pt x="517242" y="81484"/>
                      </a:lnTo>
                      <a:lnTo>
                        <a:pt x="522556" y="81484"/>
                      </a:lnTo>
                      <a:lnTo>
                        <a:pt x="522556" y="60227"/>
                      </a:lnTo>
                      <a:lnTo>
                        <a:pt x="526099" y="54913"/>
                      </a:lnTo>
                      <a:lnTo>
                        <a:pt x="529642" y="46056"/>
                      </a:lnTo>
                      <a:lnTo>
                        <a:pt x="538499" y="40742"/>
                      </a:lnTo>
                      <a:lnTo>
                        <a:pt x="540270" y="30114"/>
                      </a:lnTo>
                      <a:lnTo>
                        <a:pt x="536727" y="19485"/>
                      </a:lnTo>
                      <a:lnTo>
                        <a:pt x="543813" y="5314"/>
                      </a:lnTo>
                      <a:lnTo>
                        <a:pt x="554441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62" name="Saarland">
                  <a:extLst>
                    <a:ext uri="{FF2B5EF4-FFF2-40B4-BE49-F238E27FC236}">
                      <a16:creationId xmlns:a16="http://schemas.microsoft.com/office/drawing/2014/main" id="{51696D2D-0CA5-454F-830F-103876BE70B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4913" y="4819649"/>
                  <a:ext cx="279730" cy="249213"/>
                </a:xfrm>
                <a:custGeom>
                  <a:avLst/>
                  <a:gdLst/>
                  <a:ahLst/>
                  <a:cxnLst>
                    <a:cxn ang="0">
                      <a:pos x="109" y="1"/>
                    </a:cxn>
                    <a:cxn ang="0">
                      <a:pos x="127" y="8"/>
                    </a:cxn>
                    <a:cxn ang="0">
                      <a:pos x="140" y="20"/>
                    </a:cxn>
                    <a:cxn ang="0">
                      <a:pos x="145" y="37"/>
                    </a:cxn>
                    <a:cxn ang="0">
                      <a:pos x="142" y="50"/>
                    </a:cxn>
                    <a:cxn ang="0">
                      <a:pos x="146" y="67"/>
                    </a:cxn>
                    <a:cxn ang="0">
                      <a:pos x="159" y="72"/>
                    </a:cxn>
                    <a:cxn ang="0">
                      <a:pos x="164" y="84"/>
                    </a:cxn>
                    <a:cxn ang="0">
                      <a:pos x="162" y="98"/>
                    </a:cxn>
                    <a:cxn ang="0">
                      <a:pos x="156" y="107"/>
                    </a:cxn>
                    <a:cxn ang="0">
                      <a:pos x="165" y="118"/>
                    </a:cxn>
                    <a:cxn ang="0">
                      <a:pos x="162" y="129"/>
                    </a:cxn>
                    <a:cxn ang="0">
                      <a:pos x="156" y="134"/>
                    </a:cxn>
                    <a:cxn ang="0">
                      <a:pos x="151" y="145"/>
                    </a:cxn>
                    <a:cxn ang="0">
                      <a:pos x="136" y="145"/>
                    </a:cxn>
                    <a:cxn ang="0">
                      <a:pos x="109" y="137"/>
                    </a:cxn>
                    <a:cxn ang="0">
                      <a:pos x="102" y="142"/>
                    </a:cxn>
                    <a:cxn ang="0">
                      <a:pos x="93" y="143"/>
                    </a:cxn>
                    <a:cxn ang="0">
                      <a:pos x="87" y="132"/>
                    </a:cxn>
                    <a:cxn ang="0">
                      <a:pos x="67" y="125"/>
                    </a:cxn>
                    <a:cxn ang="0">
                      <a:pos x="54" y="124"/>
                    </a:cxn>
                    <a:cxn ang="0">
                      <a:pos x="51" y="133"/>
                    </a:cxn>
                    <a:cxn ang="0">
                      <a:pos x="39" y="131"/>
                    </a:cxn>
                    <a:cxn ang="0">
                      <a:pos x="23" y="118"/>
                    </a:cxn>
                    <a:cxn ang="0">
                      <a:pos x="18" y="109"/>
                    </a:cxn>
                    <a:cxn ang="0">
                      <a:pos x="19" y="107"/>
                    </a:cxn>
                    <a:cxn ang="0">
                      <a:pos x="23" y="103"/>
                    </a:cxn>
                    <a:cxn ang="0">
                      <a:pos x="25" y="101"/>
                    </a:cxn>
                    <a:cxn ang="0">
                      <a:pos x="27" y="91"/>
                    </a:cxn>
                    <a:cxn ang="0">
                      <a:pos x="16" y="84"/>
                    </a:cxn>
                    <a:cxn ang="0">
                      <a:pos x="12" y="68"/>
                    </a:cxn>
                    <a:cxn ang="0">
                      <a:pos x="8" y="54"/>
                    </a:cxn>
                    <a:cxn ang="0">
                      <a:pos x="0" y="40"/>
                    </a:cxn>
                    <a:cxn ang="0">
                      <a:pos x="11" y="30"/>
                    </a:cxn>
                    <a:cxn ang="0">
                      <a:pos x="19" y="25"/>
                    </a:cxn>
                    <a:cxn ang="0">
                      <a:pos x="41" y="23"/>
                    </a:cxn>
                    <a:cxn ang="0">
                      <a:pos x="53" y="16"/>
                    </a:cxn>
                    <a:cxn ang="0">
                      <a:pos x="64" y="10"/>
                    </a:cxn>
                    <a:cxn ang="0">
                      <a:pos x="75" y="7"/>
                    </a:cxn>
                    <a:cxn ang="0">
                      <a:pos x="82" y="4"/>
                    </a:cxn>
                    <a:cxn ang="0">
                      <a:pos x="85" y="2"/>
                    </a:cxn>
                    <a:cxn ang="0">
                      <a:pos x="89" y="2"/>
                    </a:cxn>
                    <a:cxn ang="0">
                      <a:pos x="92" y="3"/>
                    </a:cxn>
                    <a:cxn ang="0">
                      <a:pos x="102" y="0"/>
                    </a:cxn>
                  </a:cxnLst>
                  <a:rect l="0" t="0" r="r" b="b"/>
                  <a:pathLst>
                    <a:path w="165" h="147">
                      <a:moveTo>
                        <a:pt x="102" y="0"/>
                      </a:moveTo>
                      <a:lnTo>
                        <a:pt x="109" y="1"/>
                      </a:lnTo>
                      <a:lnTo>
                        <a:pt x="121" y="5"/>
                      </a:lnTo>
                      <a:lnTo>
                        <a:pt x="127" y="8"/>
                      </a:lnTo>
                      <a:lnTo>
                        <a:pt x="132" y="13"/>
                      </a:lnTo>
                      <a:lnTo>
                        <a:pt x="140" y="20"/>
                      </a:lnTo>
                      <a:lnTo>
                        <a:pt x="144" y="27"/>
                      </a:lnTo>
                      <a:lnTo>
                        <a:pt x="145" y="37"/>
                      </a:lnTo>
                      <a:lnTo>
                        <a:pt x="144" y="45"/>
                      </a:lnTo>
                      <a:lnTo>
                        <a:pt x="142" y="50"/>
                      </a:lnTo>
                      <a:lnTo>
                        <a:pt x="142" y="61"/>
                      </a:lnTo>
                      <a:lnTo>
                        <a:pt x="146" y="67"/>
                      </a:lnTo>
                      <a:lnTo>
                        <a:pt x="152" y="68"/>
                      </a:lnTo>
                      <a:lnTo>
                        <a:pt x="159" y="72"/>
                      </a:lnTo>
                      <a:lnTo>
                        <a:pt x="164" y="76"/>
                      </a:lnTo>
                      <a:lnTo>
                        <a:pt x="164" y="84"/>
                      </a:lnTo>
                      <a:lnTo>
                        <a:pt x="165" y="93"/>
                      </a:lnTo>
                      <a:lnTo>
                        <a:pt x="162" y="98"/>
                      </a:lnTo>
                      <a:lnTo>
                        <a:pt x="160" y="101"/>
                      </a:lnTo>
                      <a:lnTo>
                        <a:pt x="156" y="107"/>
                      </a:lnTo>
                      <a:lnTo>
                        <a:pt x="160" y="113"/>
                      </a:lnTo>
                      <a:lnTo>
                        <a:pt x="165" y="118"/>
                      </a:lnTo>
                      <a:lnTo>
                        <a:pt x="164" y="123"/>
                      </a:lnTo>
                      <a:lnTo>
                        <a:pt x="162" y="129"/>
                      </a:lnTo>
                      <a:lnTo>
                        <a:pt x="164" y="135"/>
                      </a:lnTo>
                      <a:lnTo>
                        <a:pt x="156" y="134"/>
                      </a:lnTo>
                      <a:lnTo>
                        <a:pt x="155" y="140"/>
                      </a:lnTo>
                      <a:lnTo>
                        <a:pt x="151" y="145"/>
                      </a:lnTo>
                      <a:lnTo>
                        <a:pt x="145" y="147"/>
                      </a:lnTo>
                      <a:lnTo>
                        <a:pt x="136" y="145"/>
                      </a:lnTo>
                      <a:lnTo>
                        <a:pt x="117" y="138"/>
                      </a:lnTo>
                      <a:lnTo>
                        <a:pt x="109" y="137"/>
                      </a:lnTo>
                      <a:lnTo>
                        <a:pt x="103" y="138"/>
                      </a:lnTo>
                      <a:lnTo>
                        <a:pt x="102" y="142"/>
                      </a:lnTo>
                      <a:lnTo>
                        <a:pt x="100" y="145"/>
                      </a:lnTo>
                      <a:lnTo>
                        <a:pt x="93" y="143"/>
                      </a:lnTo>
                      <a:lnTo>
                        <a:pt x="91" y="137"/>
                      </a:lnTo>
                      <a:lnTo>
                        <a:pt x="87" y="132"/>
                      </a:lnTo>
                      <a:lnTo>
                        <a:pt x="79" y="127"/>
                      </a:lnTo>
                      <a:lnTo>
                        <a:pt x="67" y="125"/>
                      </a:lnTo>
                      <a:lnTo>
                        <a:pt x="59" y="122"/>
                      </a:lnTo>
                      <a:lnTo>
                        <a:pt x="54" y="124"/>
                      </a:lnTo>
                      <a:lnTo>
                        <a:pt x="55" y="129"/>
                      </a:lnTo>
                      <a:lnTo>
                        <a:pt x="51" y="133"/>
                      </a:lnTo>
                      <a:lnTo>
                        <a:pt x="47" y="133"/>
                      </a:lnTo>
                      <a:lnTo>
                        <a:pt x="39" y="131"/>
                      </a:lnTo>
                      <a:lnTo>
                        <a:pt x="29" y="125"/>
                      </a:lnTo>
                      <a:lnTo>
                        <a:pt x="23" y="118"/>
                      </a:lnTo>
                      <a:lnTo>
                        <a:pt x="18" y="114"/>
                      </a:lnTo>
                      <a:lnTo>
                        <a:pt x="18" y="109"/>
                      </a:lnTo>
                      <a:lnTo>
                        <a:pt x="19" y="108"/>
                      </a:lnTo>
                      <a:lnTo>
                        <a:pt x="19" y="107"/>
                      </a:lnTo>
                      <a:lnTo>
                        <a:pt x="22" y="104"/>
                      </a:lnTo>
                      <a:lnTo>
                        <a:pt x="23" y="103"/>
                      </a:lnTo>
                      <a:lnTo>
                        <a:pt x="24" y="102"/>
                      </a:lnTo>
                      <a:lnTo>
                        <a:pt x="25" y="101"/>
                      </a:lnTo>
                      <a:lnTo>
                        <a:pt x="30" y="96"/>
                      </a:lnTo>
                      <a:lnTo>
                        <a:pt x="27" y="91"/>
                      </a:lnTo>
                      <a:lnTo>
                        <a:pt x="18" y="90"/>
                      </a:lnTo>
                      <a:lnTo>
                        <a:pt x="16" y="84"/>
                      </a:lnTo>
                      <a:lnTo>
                        <a:pt x="14" y="74"/>
                      </a:lnTo>
                      <a:lnTo>
                        <a:pt x="12" y="68"/>
                      </a:lnTo>
                      <a:lnTo>
                        <a:pt x="10" y="61"/>
                      </a:lnTo>
                      <a:lnTo>
                        <a:pt x="8" y="54"/>
                      </a:lnTo>
                      <a:lnTo>
                        <a:pt x="5" y="44"/>
                      </a:lnTo>
                      <a:lnTo>
                        <a:pt x="0" y="40"/>
                      </a:lnTo>
                      <a:lnTo>
                        <a:pt x="7" y="34"/>
                      </a:lnTo>
                      <a:lnTo>
                        <a:pt x="11" y="30"/>
                      </a:lnTo>
                      <a:lnTo>
                        <a:pt x="15" y="29"/>
                      </a:lnTo>
                      <a:lnTo>
                        <a:pt x="19" y="25"/>
                      </a:lnTo>
                      <a:lnTo>
                        <a:pt x="32" y="25"/>
                      </a:lnTo>
                      <a:lnTo>
                        <a:pt x="41" y="23"/>
                      </a:lnTo>
                      <a:lnTo>
                        <a:pt x="49" y="19"/>
                      </a:lnTo>
                      <a:lnTo>
                        <a:pt x="53" y="16"/>
                      </a:lnTo>
                      <a:lnTo>
                        <a:pt x="58" y="15"/>
                      </a:lnTo>
                      <a:lnTo>
                        <a:pt x="64" y="10"/>
                      </a:lnTo>
                      <a:lnTo>
                        <a:pt x="69" y="10"/>
                      </a:lnTo>
                      <a:lnTo>
                        <a:pt x="75" y="7"/>
                      </a:lnTo>
                      <a:lnTo>
                        <a:pt x="81" y="4"/>
                      </a:lnTo>
                      <a:lnTo>
                        <a:pt x="82" y="4"/>
                      </a:lnTo>
                      <a:lnTo>
                        <a:pt x="82" y="3"/>
                      </a:lnTo>
                      <a:lnTo>
                        <a:pt x="85" y="2"/>
                      </a:lnTo>
                      <a:lnTo>
                        <a:pt x="88" y="2"/>
                      </a:lnTo>
                      <a:lnTo>
                        <a:pt x="89" y="2"/>
                      </a:lnTo>
                      <a:lnTo>
                        <a:pt x="91" y="2"/>
                      </a:lnTo>
                      <a:lnTo>
                        <a:pt x="92" y="3"/>
                      </a:lnTo>
                      <a:lnTo>
                        <a:pt x="93" y="3"/>
                      </a:lnTo>
                      <a:lnTo>
                        <a:pt x="102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</p:grp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C6287D39-F87A-406D-8764-CC132DC9C5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28783" y="3194050"/>
                <a:ext cx="901700" cy="676275"/>
              </a:xfrm>
              <a:custGeom>
                <a:avLst/>
                <a:gdLst/>
                <a:ahLst/>
                <a:cxnLst>
                  <a:cxn ang="0">
                    <a:pos x="504" y="24"/>
                  </a:cxn>
                  <a:cxn ang="0">
                    <a:pos x="521" y="35"/>
                  </a:cxn>
                  <a:cxn ang="0">
                    <a:pos x="542" y="45"/>
                  </a:cxn>
                  <a:cxn ang="0">
                    <a:pos x="546" y="65"/>
                  </a:cxn>
                  <a:cxn ang="0">
                    <a:pos x="564" y="105"/>
                  </a:cxn>
                  <a:cxn ang="0">
                    <a:pos x="561" y="148"/>
                  </a:cxn>
                  <a:cxn ang="0">
                    <a:pos x="565" y="179"/>
                  </a:cxn>
                  <a:cxn ang="0">
                    <a:pos x="567" y="210"/>
                  </a:cxn>
                  <a:cxn ang="0">
                    <a:pos x="536" y="222"/>
                  </a:cxn>
                  <a:cxn ang="0">
                    <a:pos x="522" y="243"/>
                  </a:cxn>
                  <a:cxn ang="0">
                    <a:pos x="500" y="222"/>
                  </a:cxn>
                  <a:cxn ang="0">
                    <a:pos x="488" y="207"/>
                  </a:cxn>
                  <a:cxn ang="0">
                    <a:pos x="462" y="179"/>
                  </a:cxn>
                  <a:cxn ang="0">
                    <a:pos x="440" y="192"/>
                  </a:cxn>
                  <a:cxn ang="0">
                    <a:pos x="440" y="215"/>
                  </a:cxn>
                  <a:cxn ang="0">
                    <a:pos x="414" y="233"/>
                  </a:cxn>
                  <a:cxn ang="0">
                    <a:pos x="368" y="248"/>
                  </a:cxn>
                  <a:cxn ang="0">
                    <a:pos x="310" y="277"/>
                  </a:cxn>
                  <a:cxn ang="0">
                    <a:pos x="278" y="286"/>
                  </a:cxn>
                  <a:cxn ang="0">
                    <a:pos x="270" y="315"/>
                  </a:cxn>
                  <a:cxn ang="0">
                    <a:pos x="247" y="325"/>
                  </a:cxn>
                  <a:cxn ang="0">
                    <a:pos x="211" y="341"/>
                  </a:cxn>
                  <a:cxn ang="0">
                    <a:pos x="196" y="361"/>
                  </a:cxn>
                  <a:cxn ang="0">
                    <a:pos x="167" y="359"/>
                  </a:cxn>
                  <a:cxn ang="0">
                    <a:pos x="118" y="382"/>
                  </a:cxn>
                  <a:cxn ang="0">
                    <a:pos x="90" y="420"/>
                  </a:cxn>
                  <a:cxn ang="0">
                    <a:pos x="68" y="411"/>
                  </a:cxn>
                  <a:cxn ang="0">
                    <a:pos x="48" y="391"/>
                  </a:cxn>
                  <a:cxn ang="0">
                    <a:pos x="14" y="384"/>
                  </a:cxn>
                  <a:cxn ang="0">
                    <a:pos x="9" y="349"/>
                  </a:cxn>
                  <a:cxn ang="0">
                    <a:pos x="20" y="306"/>
                  </a:cxn>
                  <a:cxn ang="0">
                    <a:pos x="38" y="320"/>
                  </a:cxn>
                  <a:cxn ang="0">
                    <a:pos x="67" y="294"/>
                  </a:cxn>
                  <a:cxn ang="0">
                    <a:pos x="58" y="263"/>
                  </a:cxn>
                  <a:cxn ang="0">
                    <a:pos x="82" y="244"/>
                  </a:cxn>
                  <a:cxn ang="0">
                    <a:pos x="121" y="225"/>
                  </a:cxn>
                  <a:cxn ang="0">
                    <a:pos x="114" y="191"/>
                  </a:cxn>
                  <a:cxn ang="0">
                    <a:pos x="81" y="170"/>
                  </a:cxn>
                  <a:cxn ang="0">
                    <a:pos x="53" y="156"/>
                  </a:cxn>
                  <a:cxn ang="0">
                    <a:pos x="52" y="58"/>
                  </a:cxn>
                  <a:cxn ang="0">
                    <a:pos x="97" y="34"/>
                  </a:cxn>
                  <a:cxn ang="0">
                    <a:pos x="138" y="15"/>
                  </a:cxn>
                  <a:cxn ang="0">
                    <a:pos x="178" y="5"/>
                  </a:cxn>
                  <a:cxn ang="0">
                    <a:pos x="206" y="11"/>
                  </a:cxn>
                  <a:cxn ang="0">
                    <a:pos x="232" y="42"/>
                  </a:cxn>
                  <a:cxn ang="0">
                    <a:pos x="245" y="77"/>
                  </a:cxn>
                  <a:cxn ang="0">
                    <a:pos x="268" y="57"/>
                  </a:cxn>
                  <a:cxn ang="0">
                    <a:pos x="305" y="77"/>
                  </a:cxn>
                  <a:cxn ang="0">
                    <a:pos x="371" y="75"/>
                  </a:cxn>
                  <a:cxn ang="0">
                    <a:pos x="381" y="40"/>
                  </a:cxn>
                  <a:cxn ang="0">
                    <a:pos x="420" y="24"/>
                  </a:cxn>
                  <a:cxn ang="0">
                    <a:pos x="467" y="18"/>
                  </a:cxn>
                  <a:cxn ang="0">
                    <a:pos x="501" y="7"/>
                  </a:cxn>
                </a:cxnLst>
                <a:rect l="0" t="0" r="r" b="b"/>
                <a:pathLst>
                  <a:path w="568" h="426">
                    <a:moveTo>
                      <a:pt x="509" y="0"/>
                    </a:moveTo>
                    <a:lnTo>
                      <a:pt x="509" y="7"/>
                    </a:lnTo>
                    <a:lnTo>
                      <a:pt x="509" y="14"/>
                    </a:lnTo>
                    <a:lnTo>
                      <a:pt x="507" y="18"/>
                    </a:lnTo>
                    <a:lnTo>
                      <a:pt x="505" y="21"/>
                    </a:lnTo>
                    <a:lnTo>
                      <a:pt x="504" y="24"/>
                    </a:lnTo>
                    <a:lnTo>
                      <a:pt x="504" y="26"/>
                    </a:lnTo>
                    <a:lnTo>
                      <a:pt x="507" y="28"/>
                    </a:lnTo>
                    <a:lnTo>
                      <a:pt x="511" y="31"/>
                    </a:lnTo>
                    <a:lnTo>
                      <a:pt x="515" y="32"/>
                    </a:lnTo>
                    <a:lnTo>
                      <a:pt x="518" y="33"/>
                    </a:lnTo>
                    <a:lnTo>
                      <a:pt x="521" y="35"/>
                    </a:lnTo>
                    <a:lnTo>
                      <a:pt x="523" y="36"/>
                    </a:lnTo>
                    <a:lnTo>
                      <a:pt x="527" y="38"/>
                    </a:lnTo>
                    <a:lnTo>
                      <a:pt x="531" y="40"/>
                    </a:lnTo>
                    <a:lnTo>
                      <a:pt x="534" y="42"/>
                    </a:lnTo>
                    <a:lnTo>
                      <a:pt x="538" y="43"/>
                    </a:lnTo>
                    <a:lnTo>
                      <a:pt x="542" y="45"/>
                    </a:lnTo>
                    <a:lnTo>
                      <a:pt x="546" y="47"/>
                    </a:lnTo>
                    <a:lnTo>
                      <a:pt x="548" y="52"/>
                    </a:lnTo>
                    <a:lnTo>
                      <a:pt x="549" y="55"/>
                    </a:lnTo>
                    <a:lnTo>
                      <a:pt x="548" y="57"/>
                    </a:lnTo>
                    <a:lnTo>
                      <a:pt x="546" y="62"/>
                    </a:lnTo>
                    <a:lnTo>
                      <a:pt x="546" y="65"/>
                    </a:lnTo>
                    <a:lnTo>
                      <a:pt x="547" y="69"/>
                    </a:lnTo>
                    <a:lnTo>
                      <a:pt x="551" y="78"/>
                    </a:lnTo>
                    <a:lnTo>
                      <a:pt x="555" y="82"/>
                    </a:lnTo>
                    <a:lnTo>
                      <a:pt x="559" y="89"/>
                    </a:lnTo>
                    <a:lnTo>
                      <a:pt x="562" y="92"/>
                    </a:lnTo>
                    <a:lnTo>
                      <a:pt x="564" y="105"/>
                    </a:lnTo>
                    <a:lnTo>
                      <a:pt x="565" y="109"/>
                    </a:lnTo>
                    <a:lnTo>
                      <a:pt x="565" y="119"/>
                    </a:lnTo>
                    <a:lnTo>
                      <a:pt x="564" y="131"/>
                    </a:lnTo>
                    <a:lnTo>
                      <a:pt x="563" y="136"/>
                    </a:lnTo>
                    <a:lnTo>
                      <a:pt x="562" y="139"/>
                    </a:lnTo>
                    <a:lnTo>
                      <a:pt x="561" y="148"/>
                    </a:lnTo>
                    <a:lnTo>
                      <a:pt x="561" y="154"/>
                    </a:lnTo>
                    <a:lnTo>
                      <a:pt x="563" y="158"/>
                    </a:lnTo>
                    <a:lnTo>
                      <a:pt x="562" y="162"/>
                    </a:lnTo>
                    <a:lnTo>
                      <a:pt x="558" y="169"/>
                    </a:lnTo>
                    <a:lnTo>
                      <a:pt x="558" y="178"/>
                    </a:lnTo>
                    <a:lnTo>
                      <a:pt x="565" y="179"/>
                    </a:lnTo>
                    <a:lnTo>
                      <a:pt x="565" y="182"/>
                    </a:lnTo>
                    <a:lnTo>
                      <a:pt x="562" y="186"/>
                    </a:lnTo>
                    <a:lnTo>
                      <a:pt x="565" y="192"/>
                    </a:lnTo>
                    <a:lnTo>
                      <a:pt x="568" y="194"/>
                    </a:lnTo>
                    <a:lnTo>
                      <a:pt x="568" y="203"/>
                    </a:lnTo>
                    <a:lnTo>
                      <a:pt x="567" y="210"/>
                    </a:lnTo>
                    <a:lnTo>
                      <a:pt x="561" y="211"/>
                    </a:lnTo>
                    <a:lnTo>
                      <a:pt x="556" y="211"/>
                    </a:lnTo>
                    <a:lnTo>
                      <a:pt x="544" y="212"/>
                    </a:lnTo>
                    <a:lnTo>
                      <a:pt x="539" y="212"/>
                    </a:lnTo>
                    <a:lnTo>
                      <a:pt x="536" y="214"/>
                    </a:lnTo>
                    <a:lnTo>
                      <a:pt x="536" y="222"/>
                    </a:lnTo>
                    <a:lnTo>
                      <a:pt x="538" y="226"/>
                    </a:lnTo>
                    <a:lnTo>
                      <a:pt x="539" y="233"/>
                    </a:lnTo>
                    <a:lnTo>
                      <a:pt x="538" y="240"/>
                    </a:lnTo>
                    <a:lnTo>
                      <a:pt x="534" y="244"/>
                    </a:lnTo>
                    <a:lnTo>
                      <a:pt x="528" y="244"/>
                    </a:lnTo>
                    <a:lnTo>
                      <a:pt x="522" y="243"/>
                    </a:lnTo>
                    <a:lnTo>
                      <a:pt x="518" y="238"/>
                    </a:lnTo>
                    <a:lnTo>
                      <a:pt x="511" y="233"/>
                    </a:lnTo>
                    <a:lnTo>
                      <a:pt x="505" y="230"/>
                    </a:lnTo>
                    <a:lnTo>
                      <a:pt x="498" y="228"/>
                    </a:lnTo>
                    <a:lnTo>
                      <a:pt x="496" y="226"/>
                    </a:lnTo>
                    <a:lnTo>
                      <a:pt x="500" y="222"/>
                    </a:lnTo>
                    <a:lnTo>
                      <a:pt x="500" y="216"/>
                    </a:lnTo>
                    <a:lnTo>
                      <a:pt x="500" y="212"/>
                    </a:lnTo>
                    <a:lnTo>
                      <a:pt x="496" y="210"/>
                    </a:lnTo>
                    <a:lnTo>
                      <a:pt x="491" y="211"/>
                    </a:lnTo>
                    <a:lnTo>
                      <a:pt x="486" y="211"/>
                    </a:lnTo>
                    <a:lnTo>
                      <a:pt x="488" y="207"/>
                    </a:lnTo>
                    <a:lnTo>
                      <a:pt x="489" y="200"/>
                    </a:lnTo>
                    <a:lnTo>
                      <a:pt x="488" y="193"/>
                    </a:lnTo>
                    <a:lnTo>
                      <a:pt x="485" y="185"/>
                    </a:lnTo>
                    <a:lnTo>
                      <a:pt x="480" y="181"/>
                    </a:lnTo>
                    <a:lnTo>
                      <a:pt x="473" y="179"/>
                    </a:lnTo>
                    <a:lnTo>
                      <a:pt x="462" y="179"/>
                    </a:lnTo>
                    <a:lnTo>
                      <a:pt x="455" y="177"/>
                    </a:lnTo>
                    <a:lnTo>
                      <a:pt x="445" y="177"/>
                    </a:lnTo>
                    <a:lnTo>
                      <a:pt x="440" y="178"/>
                    </a:lnTo>
                    <a:lnTo>
                      <a:pt x="438" y="184"/>
                    </a:lnTo>
                    <a:lnTo>
                      <a:pt x="438" y="188"/>
                    </a:lnTo>
                    <a:lnTo>
                      <a:pt x="440" y="192"/>
                    </a:lnTo>
                    <a:lnTo>
                      <a:pt x="445" y="195"/>
                    </a:lnTo>
                    <a:lnTo>
                      <a:pt x="449" y="200"/>
                    </a:lnTo>
                    <a:lnTo>
                      <a:pt x="453" y="208"/>
                    </a:lnTo>
                    <a:lnTo>
                      <a:pt x="453" y="212"/>
                    </a:lnTo>
                    <a:lnTo>
                      <a:pt x="452" y="215"/>
                    </a:lnTo>
                    <a:lnTo>
                      <a:pt x="440" y="215"/>
                    </a:lnTo>
                    <a:lnTo>
                      <a:pt x="438" y="217"/>
                    </a:lnTo>
                    <a:lnTo>
                      <a:pt x="435" y="222"/>
                    </a:lnTo>
                    <a:lnTo>
                      <a:pt x="434" y="224"/>
                    </a:lnTo>
                    <a:lnTo>
                      <a:pt x="427" y="227"/>
                    </a:lnTo>
                    <a:lnTo>
                      <a:pt x="420" y="228"/>
                    </a:lnTo>
                    <a:lnTo>
                      <a:pt x="414" y="233"/>
                    </a:lnTo>
                    <a:lnTo>
                      <a:pt x="410" y="241"/>
                    </a:lnTo>
                    <a:lnTo>
                      <a:pt x="400" y="244"/>
                    </a:lnTo>
                    <a:lnTo>
                      <a:pt x="391" y="244"/>
                    </a:lnTo>
                    <a:lnTo>
                      <a:pt x="383" y="244"/>
                    </a:lnTo>
                    <a:lnTo>
                      <a:pt x="374" y="244"/>
                    </a:lnTo>
                    <a:lnTo>
                      <a:pt x="368" y="248"/>
                    </a:lnTo>
                    <a:lnTo>
                      <a:pt x="360" y="251"/>
                    </a:lnTo>
                    <a:lnTo>
                      <a:pt x="347" y="259"/>
                    </a:lnTo>
                    <a:lnTo>
                      <a:pt x="338" y="264"/>
                    </a:lnTo>
                    <a:lnTo>
                      <a:pt x="326" y="267"/>
                    </a:lnTo>
                    <a:lnTo>
                      <a:pt x="315" y="273"/>
                    </a:lnTo>
                    <a:lnTo>
                      <a:pt x="310" y="277"/>
                    </a:lnTo>
                    <a:lnTo>
                      <a:pt x="306" y="280"/>
                    </a:lnTo>
                    <a:lnTo>
                      <a:pt x="299" y="281"/>
                    </a:lnTo>
                    <a:lnTo>
                      <a:pt x="292" y="281"/>
                    </a:lnTo>
                    <a:lnTo>
                      <a:pt x="283" y="283"/>
                    </a:lnTo>
                    <a:lnTo>
                      <a:pt x="277" y="283"/>
                    </a:lnTo>
                    <a:lnTo>
                      <a:pt x="278" y="286"/>
                    </a:lnTo>
                    <a:lnTo>
                      <a:pt x="279" y="291"/>
                    </a:lnTo>
                    <a:lnTo>
                      <a:pt x="283" y="295"/>
                    </a:lnTo>
                    <a:lnTo>
                      <a:pt x="279" y="299"/>
                    </a:lnTo>
                    <a:lnTo>
                      <a:pt x="278" y="302"/>
                    </a:lnTo>
                    <a:lnTo>
                      <a:pt x="275" y="311"/>
                    </a:lnTo>
                    <a:lnTo>
                      <a:pt x="270" y="315"/>
                    </a:lnTo>
                    <a:lnTo>
                      <a:pt x="267" y="319"/>
                    </a:lnTo>
                    <a:lnTo>
                      <a:pt x="259" y="317"/>
                    </a:lnTo>
                    <a:lnTo>
                      <a:pt x="256" y="314"/>
                    </a:lnTo>
                    <a:lnTo>
                      <a:pt x="252" y="315"/>
                    </a:lnTo>
                    <a:lnTo>
                      <a:pt x="247" y="320"/>
                    </a:lnTo>
                    <a:lnTo>
                      <a:pt x="247" y="325"/>
                    </a:lnTo>
                    <a:lnTo>
                      <a:pt x="243" y="331"/>
                    </a:lnTo>
                    <a:lnTo>
                      <a:pt x="238" y="338"/>
                    </a:lnTo>
                    <a:lnTo>
                      <a:pt x="235" y="341"/>
                    </a:lnTo>
                    <a:lnTo>
                      <a:pt x="226" y="341"/>
                    </a:lnTo>
                    <a:lnTo>
                      <a:pt x="216" y="341"/>
                    </a:lnTo>
                    <a:lnTo>
                      <a:pt x="211" y="341"/>
                    </a:lnTo>
                    <a:lnTo>
                      <a:pt x="204" y="344"/>
                    </a:lnTo>
                    <a:lnTo>
                      <a:pt x="203" y="348"/>
                    </a:lnTo>
                    <a:lnTo>
                      <a:pt x="204" y="352"/>
                    </a:lnTo>
                    <a:lnTo>
                      <a:pt x="205" y="358"/>
                    </a:lnTo>
                    <a:lnTo>
                      <a:pt x="201" y="361"/>
                    </a:lnTo>
                    <a:lnTo>
                      <a:pt x="196" y="361"/>
                    </a:lnTo>
                    <a:lnTo>
                      <a:pt x="192" y="360"/>
                    </a:lnTo>
                    <a:lnTo>
                      <a:pt x="185" y="358"/>
                    </a:lnTo>
                    <a:lnTo>
                      <a:pt x="182" y="356"/>
                    </a:lnTo>
                    <a:lnTo>
                      <a:pt x="174" y="356"/>
                    </a:lnTo>
                    <a:lnTo>
                      <a:pt x="170" y="358"/>
                    </a:lnTo>
                    <a:lnTo>
                      <a:pt x="167" y="359"/>
                    </a:lnTo>
                    <a:lnTo>
                      <a:pt x="160" y="365"/>
                    </a:lnTo>
                    <a:lnTo>
                      <a:pt x="149" y="369"/>
                    </a:lnTo>
                    <a:lnTo>
                      <a:pt x="139" y="369"/>
                    </a:lnTo>
                    <a:lnTo>
                      <a:pt x="130" y="373"/>
                    </a:lnTo>
                    <a:lnTo>
                      <a:pt x="123" y="379"/>
                    </a:lnTo>
                    <a:lnTo>
                      <a:pt x="118" y="382"/>
                    </a:lnTo>
                    <a:lnTo>
                      <a:pt x="112" y="387"/>
                    </a:lnTo>
                    <a:lnTo>
                      <a:pt x="106" y="392"/>
                    </a:lnTo>
                    <a:lnTo>
                      <a:pt x="101" y="396"/>
                    </a:lnTo>
                    <a:lnTo>
                      <a:pt x="92" y="402"/>
                    </a:lnTo>
                    <a:lnTo>
                      <a:pt x="91" y="410"/>
                    </a:lnTo>
                    <a:lnTo>
                      <a:pt x="90" y="420"/>
                    </a:lnTo>
                    <a:lnTo>
                      <a:pt x="86" y="425"/>
                    </a:lnTo>
                    <a:lnTo>
                      <a:pt x="79" y="426"/>
                    </a:lnTo>
                    <a:lnTo>
                      <a:pt x="72" y="425"/>
                    </a:lnTo>
                    <a:lnTo>
                      <a:pt x="68" y="420"/>
                    </a:lnTo>
                    <a:lnTo>
                      <a:pt x="69" y="415"/>
                    </a:lnTo>
                    <a:lnTo>
                      <a:pt x="68" y="411"/>
                    </a:lnTo>
                    <a:lnTo>
                      <a:pt x="64" y="408"/>
                    </a:lnTo>
                    <a:lnTo>
                      <a:pt x="60" y="407"/>
                    </a:lnTo>
                    <a:lnTo>
                      <a:pt x="58" y="403"/>
                    </a:lnTo>
                    <a:lnTo>
                      <a:pt x="58" y="398"/>
                    </a:lnTo>
                    <a:lnTo>
                      <a:pt x="55" y="393"/>
                    </a:lnTo>
                    <a:lnTo>
                      <a:pt x="48" y="391"/>
                    </a:lnTo>
                    <a:lnTo>
                      <a:pt x="44" y="392"/>
                    </a:lnTo>
                    <a:lnTo>
                      <a:pt x="38" y="392"/>
                    </a:lnTo>
                    <a:lnTo>
                      <a:pt x="30" y="395"/>
                    </a:lnTo>
                    <a:lnTo>
                      <a:pt x="22" y="394"/>
                    </a:lnTo>
                    <a:lnTo>
                      <a:pt x="19" y="390"/>
                    </a:lnTo>
                    <a:lnTo>
                      <a:pt x="14" y="384"/>
                    </a:lnTo>
                    <a:lnTo>
                      <a:pt x="16" y="378"/>
                    </a:lnTo>
                    <a:lnTo>
                      <a:pt x="10" y="371"/>
                    </a:lnTo>
                    <a:lnTo>
                      <a:pt x="5" y="366"/>
                    </a:lnTo>
                    <a:lnTo>
                      <a:pt x="3" y="363"/>
                    </a:lnTo>
                    <a:lnTo>
                      <a:pt x="8" y="358"/>
                    </a:lnTo>
                    <a:lnTo>
                      <a:pt x="9" y="349"/>
                    </a:lnTo>
                    <a:lnTo>
                      <a:pt x="5" y="341"/>
                    </a:lnTo>
                    <a:lnTo>
                      <a:pt x="0" y="332"/>
                    </a:lnTo>
                    <a:lnTo>
                      <a:pt x="5" y="327"/>
                    </a:lnTo>
                    <a:lnTo>
                      <a:pt x="16" y="320"/>
                    </a:lnTo>
                    <a:lnTo>
                      <a:pt x="16" y="312"/>
                    </a:lnTo>
                    <a:lnTo>
                      <a:pt x="20" y="306"/>
                    </a:lnTo>
                    <a:lnTo>
                      <a:pt x="25" y="305"/>
                    </a:lnTo>
                    <a:lnTo>
                      <a:pt x="31" y="310"/>
                    </a:lnTo>
                    <a:lnTo>
                      <a:pt x="27" y="316"/>
                    </a:lnTo>
                    <a:lnTo>
                      <a:pt x="28" y="323"/>
                    </a:lnTo>
                    <a:lnTo>
                      <a:pt x="33" y="324"/>
                    </a:lnTo>
                    <a:lnTo>
                      <a:pt x="38" y="320"/>
                    </a:lnTo>
                    <a:lnTo>
                      <a:pt x="45" y="313"/>
                    </a:lnTo>
                    <a:lnTo>
                      <a:pt x="50" y="310"/>
                    </a:lnTo>
                    <a:lnTo>
                      <a:pt x="59" y="308"/>
                    </a:lnTo>
                    <a:lnTo>
                      <a:pt x="69" y="301"/>
                    </a:lnTo>
                    <a:lnTo>
                      <a:pt x="73" y="297"/>
                    </a:lnTo>
                    <a:lnTo>
                      <a:pt x="67" y="294"/>
                    </a:lnTo>
                    <a:lnTo>
                      <a:pt x="66" y="288"/>
                    </a:lnTo>
                    <a:lnTo>
                      <a:pt x="60" y="280"/>
                    </a:lnTo>
                    <a:lnTo>
                      <a:pt x="56" y="277"/>
                    </a:lnTo>
                    <a:lnTo>
                      <a:pt x="52" y="271"/>
                    </a:lnTo>
                    <a:lnTo>
                      <a:pt x="58" y="268"/>
                    </a:lnTo>
                    <a:lnTo>
                      <a:pt x="58" y="263"/>
                    </a:lnTo>
                    <a:lnTo>
                      <a:pt x="54" y="259"/>
                    </a:lnTo>
                    <a:lnTo>
                      <a:pt x="58" y="253"/>
                    </a:lnTo>
                    <a:lnTo>
                      <a:pt x="65" y="252"/>
                    </a:lnTo>
                    <a:lnTo>
                      <a:pt x="74" y="252"/>
                    </a:lnTo>
                    <a:lnTo>
                      <a:pt x="80" y="249"/>
                    </a:lnTo>
                    <a:lnTo>
                      <a:pt x="82" y="244"/>
                    </a:lnTo>
                    <a:lnTo>
                      <a:pt x="90" y="239"/>
                    </a:lnTo>
                    <a:lnTo>
                      <a:pt x="101" y="235"/>
                    </a:lnTo>
                    <a:lnTo>
                      <a:pt x="106" y="234"/>
                    </a:lnTo>
                    <a:lnTo>
                      <a:pt x="112" y="234"/>
                    </a:lnTo>
                    <a:lnTo>
                      <a:pt x="113" y="228"/>
                    </a:lnTo>
                    <a:lnTo>
                      <a:pt x="121" y="225"/>
                    </a:lnTo>
                    <a:lnTo>
                      <a:pt x="129" y="222"/>
                    </a:lnTo>
                    <a:lnTo>
                      <a:pt x="134" y="217"/>
                    </a:lnTo>
                    <a:lnTo>
                      <a:pt x="129" y="209"/>
                    </a:lnTo>
                    <a:lnTo>
                      <a:pt x="126" y="202"/>
                    </a:lnTo>
                    <a:lnTo>
                      <a:pt x="116" y="198"/>
                    </a:lnTo>
                    <a:lnTo>
                      <a:pt x="114" y="191"/>
                    </a:lnTo>
                    <a:lnTo>
                      <a:pt x="108" y="191"/>
                    </a:lnTo>
                    <a:lnTo>
                      <a:pt x="107" y="184"/>
                    </a:lnTo>
                    <a:lnTo>
                      <a:pt x="102" y="179"/>
                    </a:lnTo>
                    <a:lnTo>
                      <a:pt x="90" y="179"/>
                    </a:lnTo>
                    <a:lnTo>
                      <a:pt x="86" y="175"/>
                    </a:lnTo>
                    <a:lnTo>
                      <a:pt x="81" y="170"/>
                    </a:lnTo>
                    <a:lnTo>
                      <a:pt x="76" y="168"/>
                    </a:lnTo>
                    <a:lnTo>
                      <a:pt x="74" y="172"/>
                    </a:lnTo>
                    <a:lnTo>
                      <a:pt x="67" y="172"/>
                    </a:lnTo>
                    <a:lnTo>
                      <a:pt x="63" y="167"/>
                    </a:lnTo>
                    <a:lnTo>
                      <a:pt x="58" y="160"/>
                    </a:lnTo>
                    <a:lnTo>
                      <a:pt x="53" y="156"/>
                    </a:lnTo>
                    <a:lnTo>
                      <a:pt x="50" y="149"/>
                    </a:lnTo>
                    <a:lnTo>
                      <a:pt x="49" y="133"/>
                    </a:lnTo>
                    <a:lnTo>
                      <a:pt x="49" y="110"/>
                    </a:lnTo>
                    <a:lnTo>
                      <a:pt x="46" y="99"/>
                    </a:lnTo>
                    <a:lnTo>
                      <a:pt x="46" y="77"/>
                    </a:lnTo>
                    <a:lnTo>
                      <a:pt x="52" y="58"/>
                    </a:lnTo>
                    <a:lnTo>
                      <a:pt x="61" y="47"/>
                    </a:lnTo>
                    <a:lnTo>
                      <a:pt x="65" y="45"/>
                    </a:lnTo>
                    <a:lnTo>
                      <a:pt x="77" y="43"/>
                    </a:lnTo>
                    <a:lnTo>
                      <a:pt x="87" y="38"/>
                    </a:lnTo>
                    <a:lnTo>
                      <a:pt x="92" y="34"/>
                    </a:lnTo>
                    <a:lnTo>
                      <a:pt x="97" y="34"/>
                    </a:lnTo>
                    <a:lnTo>
                      <a:pt x="104" y="35"/>
                    </a:lnTo>
                    <a:lnTo>
                      <a:pt x="109" y="34"/>
                    </a:lnTo>
                    <a:lnTo>
                      <a:pt x="116" y="24"/>
                    </a:lnTo>
                    <a:lnTo>
                      <a:pt x="126" y="28"/>
                    </a:lnTo>
                    <a:lnTo>
                      <a:pt x="134" y="24"/>
                    </a:lnTo>
                    <a:lnTo>
                      <a:pt x="138" y="15"/>
                    </a:lnTo>
                    <a:lnTo>
                      <a:pt x="143" y="13"/>
                    </a:lnTo>
                    <a:lnTo>
                      <a:pt x="149" y="9"/>
                    </a:lnTo>
                    <a:lnTo>
                      <a:pt x="155" y="4"/>
                    </a:lnTo>
                    <a:lnTo>
                      <a:pt x="166" y="2"/>
                    </a:lnTo>
                    <a:lnTo>
                      <a:pt x="174" y="0"/>
                    </a:lnTo>
                    <a:lnTo>
                      <a:pt x="178" y="5"/>
                    </a:lnTo>
                    <a:lnTo>
                      <a:pt x="181" y="12"/>
                    </a:lnTo>
                    <a:lnTo>
                      <a:pt x="185" y="14"/>
                    </a:lnTo>
                    <a:lnTo>
                      <a:pt x="192" y="17"/>
                    </a:lnTo>
                    <a:lnTo>
                      <a:pt x="196" y="19"/>
                    </a:lnTo>
                    <a:lnTo>
                      <a:pt x="203" y="18"/>
                    </a:lnTo>
                    <a:lnTo>
                      <a:pt x="206" y="11"/>
                    </a:lnTo>
                    <a:lnTo>
                      <a:pt x="212" y="11"/>
                    </a:lnTo>
                    <a:lnTo>
                      <a:pt x="220" y="15"/>
                    </a:lnTo>
                    <a:lnTo>
                      <a:pt x="225" y="18"/>
                    </a:lnTo>
                    <a:lnTo>
                      <a:pt x="229" y="26"/>
                    </a:lnTo>
                    <a:lnTo>
                      <a:pt x="235" y="32"/>
                    </a:lnTo>
                    <a:lnTo>
                      <a:pt x="232" y="42"/>
                    </a:lnTo>
                    <a:lnTo>
                      <a:pt x="233" y="50"/>
                    </a:lnTo>
                    <a:lnTo>
                      <a:pt x="233" y="57"/>
                    </a:lnTo>
                    <a:lnTo>
                      <a:pt x="232" y="68"/>
                    </a:lnTo>
                    <a:lnTo>
                      <a:pt x="236" y="72"/>
                    </a:lnTo>
                    <a:lnTo>
                      <a:pt x="238" y="77"/>
                    </a:lnTo>
                    <a:lnTo>
                      <a:pt x="245" y="77"/>
                    </a:lnTo>
                    <a:lnTo>
                      <a:pt x="252" y="73"/>
                    </a:lnTo>
                    <a:lnTo>
                      <a:pt x="254" y="69"/>
                    </a:lnTo>
                    <a:lnTo>
                      <a:pt x="256" y="66"/>
                    </a:lnTo>
                    <a:lnTo>
                      <a:pt x="263" y="66"/>
                    </a:lnTo>
                    <a:lnTo>
                      <a:pt x="266" y="62"/>
                    </a:lnTo>
                    <a:lnTo>
                      <a:pt x="268" y="57"/>
                    </a:lnTo>
                    <a:lnTo>
                      <a:pt x="274" y="58"/>
                    </a:lnTo>
                    <a:lnTo>
                      <a:pt x="278" y="62"/>
                    </a:lnTo>
                    <a:lnTo>
                      <a:pt x="287" y="68"/>
                    </a:lnTo>
                    <a:lnTo>
                      <a:pt x="295" y="68"/>
                    </a:lnTo>
                    <a:lnTo>
                      <a:pt x="299" y="73"/>
                    </a:lnTo>
                    <a:lnTo>
                      <a:pt x="305" y="77"/>
                    </a:lnTo>
                    <a:lnTo>
                      <a:pt x="314" y="79"/>
                    </a:lnTo>
                    <a:lnTo>
                      <a:pt x="326" y="80"/>
                    </a:lnTo>
                    <a:lnTo>
                      <a:pt x="338" y="79"/>
                    </a:lnTo>
                    <a:lnTo>
                      <a:pt x="349" y="77"/>
                    </a:lnTo>
                    <a:lnTo>
                      <a:pt x="356" y="75"/>
                    </a:lnTo>
                    <a:lnTo>
                      <a:pt x="371" y="75"/>
                    </a:lnTo>
                    <a:lnTo>
                      <a:pt x="382" y="73"/>
                    </a:lnTo>
                    <a:lnTo>
                      <a:pt x="383" y="68"/>
                    </a:lnTo>
                    <a:lnTo>
                      <a:pt x="379" y="62"/>
                    </a:lnTo>
                    <a:lnTo>
                      <a:pt x="378" y="55"/>
                    </a:lnTo>
                    <a:lnTo>
                      <a:pt x="380" y="48"/>
                    </a:lnTo>
                    <a:lnTo>
                      <a:pt x="381" y="40"/>
                    </a:lnTo>
                    <a:lnTo>
                      <a:pt x="389" y="41"/>
                    </a:lnTo>
                    <a:lnTo>
                      <a:pt x="394" y="37"/>
                    </a:lnTo>
                    <a:lnTo>
                      <a:pt x="401" y="31"/>
                    </a:lnTo>
                    <a:lnTo>
                      <a:pt x="406" y="25"/>
                    </a:lnTo>
                    <a:lnTo>
                      <a:pt x="414" y="21"/>
                    </a:lnTo>
                    <a:lnTo>
                      <a:pt x="420" y="24"/>
                    </a:lnTo>
                    <a:lnTo>
                      <a:pt x="429" y="28"/>
                    </a:lnTo>
                    <a:lnTo>
                      <a:pt x="439" y="30"/>
                    </a:lnTo>
                    <a:lnTo>
                      <a:pt x="445" y="29"/>
                    </a:lnTo>
                    <a:lnTo>
                      <a:pt x="449" y="22"/>
                    </a:lnTo>
                    <a:lnTo>
                      <a:pt x="457" y="22"/>
                    </a:lnTo>
                    <a:lnTo>
                      <a:pt x="467" y="18"/>
                    </a:lnTo>
                    <a:lnTo>
                      <a:pt x="478" y="17"/>
                    </a:lnTo>
                    <a:lnTo>
                      <a:pt x="480" y="15"/>
                    </a:lnTo>
                    <a:lnTo>
                      <a:pt x="488" y="15"/>
                    </a:lnTo>
                    <a:lnTo>
                      <a:pt x="491" y="18"/>
                    </a:lnTo>
                    <a:lnTo>
                      <a:pt x="497" y="17"/>
                    </a:lnTo>
                    <a:lnTo>
                      <a:pt x="501" y="7"/>
                    </a:lnTo>
                    <a:lnTo>
                      <a:pt x="505" y="2"/>
                    </a:lnTo>
                    <a:lnTo>
                      <a:pt x="50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5" name="Thüringen">
                <a:extLst>
                  <a:ext uri="{FF2B5EF4-FFF2-40B4-BE49-F238E27FC236}">
                    <a16:creationId xmlns:a16="http://schemas.microsoft.com/office/drawing/2014/main" id="{6AC10C3B-89F2-4B35-8E82-3558514263B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50933" y="3214688"/>
                <a:ext cx="790575" cy="658813"/>
              </a:xfrm>
              <a:custGeom>
                <a:avLst/>
                <a:gdLst/>
                <a:ahLst/>
                <a:cxnLst>
                  <a:cxn ang="0">
                    <a:pos x="183" y="3"/>
                  </a:cxn>
                  <a:cxn ang="0">
                    <a:pos x="189" y="23"/>
                  </a:cxn>
                  <a:cxn ang="0">
                    <a:pos x="209" y="58"/>
                  </a:cxn>
                  <a:cxn ang="0">
                    <a:pos x="245" y="67"/>
                  </a:cxn>
                  <a:cxn ang="0">
                    <a:pos x="271" y="79"/>
                  </a:cxn>
                  <a:cxn ang="0">
                    <a:pos x="278" y="106"/>
                  </a:cxn>
                  <a:cxn ang="0">
                    <a:pos x="271" y="125"/>
                  </a:cxn>
                  <a:cxn ang="0">
                    <a:pos x="281" y="144"/>
                  </a:cxn>
                  <a:cxn ang="0">
                    <a:pos x="304" y="156"/>
                  </a:cxn>
                  <a:cxn ang="0">
                    <a:pos x="331" y="168"/>
                  </a:cxn>
                  <a:cxn ang="0">
                    <a:pos x="361" y="178"/>
                  </a:cxn>
                  <a:cxn ang="0">
                    <a:pos x="375" y="189"/>
                  </a:cxn>
                  <a:cxn ang="0">
                    <a:pos x="381" y="198"/>
                  </a:cxn>
                  <a:cxn ang="0">
                    <a:pos x="407" y="195"/>
                  </a:cxn>
                  <a:cxn ang="0">
                    <a:pos x="415" y="197"/>
                  </a:cxn>
                  <a:cxn ang="0">
                    <a:pos x="427" y="174"/>
                  </a:cxn>
                  <a:cxn ang="0">
                    <a:pos x="438" y="159"/>
                  </a:cxn>
                  <a:cxn ang="0">
                    <a:pos x="472" y="178"/>
                  </a:cxn>
                  <a:cxn ang="0">
                    <a:pos x="485" y="212"/>
                  </a:cxn>
                  <a:cxn ang="0">
                    <a:pos x="444" y="236"/>
                  </a:cxn>
                  <a:cxn ang="0">
                    <a:pos x="416" y="258"/>
                  </a:cxn>
                  <a:cxn ang="0">
                    <a:pos x="423" y="295"/>
                  </a:cxn>
                  <a:cxn ang="0">
                    <a:pos x="395" y="297"/>
                  </a:cxn>
                  <a:cxn ang="0">
                    <a:pos x="369" y="328"/>
                  </a:cxn>
                  <a:cxn ang="0">
                    <a:pos x="340" y="355"/>
                  </a:cxn>
                  <a:cxn ang="0">
                    <a:pos x="305" y="364"/>
                  </a:cxn>
                  <a:cxn ang="0">
                    <a:pos x="280" y="338"/>
                  </a:cxn>
                  <a:cxn ang="0">
                    <a:pos x="262" y="321"/>
                  </a:cxn>
                  <a:cxn ang="0">
                    <a:pos x="247" y="351"/>
                  </a:cxn>
                  <a:cxn ang="0">
                    <a:pos x="231" y="387"/>
                  </a:cxn>
                  <a:cxn ang="0">
                    <a:pos x="199" y="371"/>
                  </a:cxn>
                  <a:cxn ang="0">
                    <a:pos x="156" y="370"/>
                  </a:cxn>
                  <a:cxn ang="0">
                    <a:pos x="168" y="404"/>
                  </a:cxn>
                  <a:cxn ang="0">
                    <a:pos x="139" y="411"/>
                  </a:cxn>
                  <a:cxn ang="0">
                    <a:pos x="125" y="380"/>
                  </a:cxn>
                  <a:cxn ang="0">
                    <a:pos x="93" y="360"/>
                  </a:cxn>
                  <a:cxn ang="0">
                    <a:pos x="78" y="336"/>
                  </a:cxn>
                  <a:cxn ang="0">
                    <a:pos x="42" y="321"/>
                  </a:cxn>
                  <a:cxn ang="0">
                    <a:pos x="32" y="292"/>
                  </a:cxn>
                  <a:cxn ang="0">
                    <a:pos x="8" y="297"/>
                  </a:cxn>
                  <a:cxn ang="0">
                    <a:pos x="10" y="265"/>
                  </a:cxn>
                  <a:cxn ang="0">
                    <a:pos x="26" y="235"/>
                  </a:cxn>
                  <a:cxn ang="0">
                    <a:pos x="19" y="218"/>
                  </a:cxn>
                  <a:cxn ang="0">
                    <a:pos x="43" y="193"/>
                  </a:cxn>
                  <a:cxn ang="0">
                    <a:pos x="52" y="156"/>
                  </a:cxn>
                  <a:cxn ang="0">
                    <a:pos x="67" y="152"/>
                  </a:cxn>
                  <a:cxn ang="0">
                    <a:pos x="43" y="126"/>
                  </a:cxn>
                  <a:cxn ang="0">
                    <a:pos x="22" y="100"/>
                  </a:cxn>
                  <a:cxn ang="0">
                    <a:pos x="40" y="62"/>
                  </a:cxn>
                  <a:cxn ang="0">
                    <a:pos x="74" y="49"/>
                  </a:cxn>
                  <a:cxn ang="0">
                    <a:pos x="92" y="43"/>
                  </a:cxn>
                  <a:cxn ang="0">
                    <a:pos x="95" y="33"/>
                  </a:cxn>
                  <a:cxn ang="0">
                    <a:pos x="112" y="21"/>
                  </a:cxn>
                  <a:cxn ang="0">
                    <a:pos x="141" y="27"/>
                  </a:cxn>
                </a:cxnLst>
                <a:rect l="0" t="0" r="r" b="b"/>
                <a:pathLst>
                  <a:path w="498" h="415">
                    <a:moveTo>
                      <a:pt x="147" y="0"/>
                    </a:moveTo>
                    <a:lnTo>
                      <a:pt x="158" y="0"/>
                    </a:lnTo>
                    <a:lnTo>
                      <a:pt x="166" y="1"/>
                    </a:lnTo>
                    <a:lnTo>
                      <a:pt x="169" y="1"/>
                    </a:lnTo>
                    <a:lnTo>
                      <a:pt x="174" y="2"/>
                    </a:lnTo>
                    <a:lnTo>
                      <a:pt x="178" y="2"/>
                    </a:lnTo>
                    <a:lnTo>
                      <a:pt x="183" y="3"/>
                    </a:lnTo>
                    <a:lnTo>
                      <a:pt x="185" y="5"/>
                    </a:lnTo>
                    <a:lnTo>
                      <a:pt x="188" y="6"/>
                    </a:lnTo>
                    <a:lnTo>
                      <a:pt x="190" y="8"/>
                    </a:lnTo>
                    <a:lnTo>
                      <a:pt x="190" y="11"/>
                    </a:lnTo>
                    <a:lnTo>
                      <a:pt x="191" y="15"/>
                    </a:lnTo>
                    <a:lnTo>
                      <a:pt x="189" y="19"/>
                    </a:lnTo>
                    <a:lnTo>
                      <a:pt x="189" y="23"/>
                    </a:lnTo>
                    <a:lnTo>
                      <a:pt x="191" y="29"/>
                    </a:lnTo>
                    <a:lnTo>
                      <a:pt x="194" y="39"/>
                    </a:lnTo>
                    <a:lnTo>
                      <a:pt x="198" y="47"/>
                    </a:lnTo>
                    <a:lnTo>
                      <a:pt x="200" y="53"/>
                    </a:lnTo>
                    <a:lnTo>
                      <a:pt x="202" y="56"/>
                    </a:lnTo>
                    <a:lnTo>
                      <a:pt x="206" y="57"/>
                    </a:lnTo>
                    <a:lnTo>
                      <a:pt x="209" y="58"/>
                    </a:lnTo>
                    <a:lnTo>
                      <a:pt x="218" y="64"/>
                    </a:lnTo>
                    <a:lnTo>
                      <a:pt x="224" y="66"/>
                    </a:lnTo>
                    <a:lnTo>
                      <a:pt x="228" y="66"/>
                    </a:lnTo>
                    <a:lnTo>
                      <a:pt x="233" y="66"/>
                    </a:lnTo>
                    <a:lnTo>
                      <a:pt x="236" y="68"/>
                    </a:lnTo>
                    <a:lnTo>
                      <a:pt x="239" y="68"/>
                    </a:lnTo>
                    <a:lnTo>
                      <a:pt x="245" y="67"/>
                    </a:lnTo>
                    <a:lnTo>
                      <a:pt x="250" y="67"/>
                    </a:lnTo>
                    <a:lnTo>
                      <a:pt x="254" y="69"/>
                    </a:lnTo>
                    <a:lnTo>
                      <a:pt x="258" y="71"/>
                    </a:lnTo>
                    <a:lnTo>
                      <a:pt x="262" y="74"/>
                    </a:lnTo>
                    <a:lnTo>
                      <a:pt x="265" y="75"/>
                    </a:lnTo>
                    <a:lnTo>
                      <a:pt x="269" y="78"/>
                    </a:lnTo>
                    <a:lnTo>
                      <a:pt x="271" y="79"/>
                    </a:lnTo>
                    <a:lnTo>
                      <a:pt x="273" y="84"/>
                    </a:lnTo>
                    <a:lnTo>
                      <a:pt x="273" y="88"/>
                    </a:lnTo>
                    <a:lnTo>
                      <a:pt x="276" y="93"/>
                    </a:lnTo>
                    <a:lnTo>
                      <a:pt x="283" y="99"/>
                    </a:lnTo>
                    <a:lnTo>
                      <a:pt x="283" y="101"/>
                    </a:lnTo>
                    <a:lnTo>
                      <a:pt x="282" y="105"/>
                    </a:lnTo>
                    <a:lnTo>
                      <a:pt x="278" y="106"/>
                    </a:lnTo>
                    <a:lnTo>
                      <a:pt x="275" y="106"/>
                    </a:lnTo>
                    <a:lnTo>
                      <a:pt x="271" y="108"/>
                    </a:lnTo>
                    <a:lnTo>
                      <a:pt x="269" y="111"/>
                    </a:lnTo>
                    <a:lnTo>
                      <a:pt x="269" y="115"/>
                    </a:lnTo>
                    <a:lnTo>
                      <a:pt x="269" y="120"/>
                    </a:lnTo>
                    <a:lnTo>
                      <a:pt x="270" y="123"/>
                    </a:lnTo>
                    <a:lnTo>
                      <a:pt x="271" y="125"/>
                    </a:lnTo>
                    <a:lnTo>
                      <a:pt x="273" y="126"/>
                    </a:lnTo>
                    <a:lnTo>
                      <a:pt x="278" y="129"/>
                    </a:lnTo>
                    <a:lnTo>
                      <a:pt x="281" y="130"/>
                    </a:lnTo>
                    <a:lnTo>
                      <a:pt x="283" y="134"/>
                    </a:lnTo>
                    <a:lnTo>
                      <a:pt x="284" y="136"/>
                    </a:lnTo>
                    <a:lnTo>
                      <a:pt x="283" y="141"/>
                    </a:lnTo>
                    <a:lnTo>
                      <a:pt x="281" y="144"/>
                    </a:lnTo>
                    <a:lnTo>
                      <a:pt x="281" y="149"/>
                    </a:lnTo>
                    <a:lnTo>
                      <a:pt x="283" y="153"/>
                    </a:lnTo>
                    <a:lnTo>
                      <a:pt x="284" y="156"/>
                    </a:lnTo>
                    <a:lnTo>
                      <a:pt x="291" y="156"/>
                    </a:lnTo>
                    <a:lnTo>
                      <a:pt x="295" y="156"/>
                    </a:lnTo>
                    <a:lnTo>
                      <a:pt x="300" y="158"/>
                    </a:lnTo>
                    <a:lnTo>
                      <a:pt x="304" y="156"/>
                    </a:lnTo>
                    <a:lnTo>
                      <a:pt x="311" y="157"/>
                    </a:lnTo>
                    <a:lnTo>
                      <a:pt x="315" y="160"/>
                    </a:lnTo>
                    <a:lnTo>
                      <a:pt x="321" y="159"/>
                    </a:lnTo>
                    <a:lnTo>
                      <a:pt x="325" y="160"/>
                    </a:lnTo>
                    <a:lnTo>
                      <a:pt x="329" y="165"/>
                    </a:lnTo>
                    <a:lnTo>
                      <a:pt x="330" y="166"/>
                    </a:lnTo>
                    <a:lnTo>
                      <a:pt x="331" y="168"/>
                    </a:lnTo>
                    <a:lnTo>
                      <a:pt x="335" y="169"/>
                    </a:lnTo>
                    <a:lnTo>
                      <a:pt x="339" y="169"/>
                    </a:lnTo>
                    <a:lnTo>
                      <a:pt x="345" y="171"/>
                    </a:lnTo>
                    <a:lnTo>
                      <a:pt x="354" y="171"/>
                    </a:lnTo>
                    <a:lnTo>
                      <a:pt x="356" y="174"/>
                    </a:lnTo>
                    <a:lnTo>
                      <a:pt x="358" y="178"/>
                    </a:lnTo>
                    <a:lnTo>
                      <a:pt x="361" y="178"/>
                    </a:lnTo>
                    <a:lnTo>
                      <a:pt x="364" y="178"/>
                    </a:lnTo>
                    <a:lnTo>
                      <a:pt x="365" y="179"/>
                    </a:lnTo>
                    <a:lnTo>
                      <a:pt x="366" y="180"/>
                    </a:lnTo>
                    <a:lnTo>
                      <a:pt x="366" y="183"/>
                    </a:lnTo>
                    <a:lnTo>
                      <a:pt x="369" y="187"/>
                    </a:lnTo>
                    <a:lnTo>
                      <a:pt x="375" y="188"/>
                    </a:lnTo>
                    <a:lnTo>
                      <a:pt x="375" y="189"/>
                    </a:lnTo>
                    <a:lnTo>
                      <a:pt x="376" y="190"/>
                    </a:lnTo>
                    <a:lnTo>
                      <a:pt x="376" y="193"/>
                    </a:lnTo>
                    <a:lnTo>
                      <a:pt x="376" y="193"/>
                    </a:lnTo>
                    <a:lnTo>
                      <a:pt x="376" y="194"/>
                    </a:lnTo>
                    <a:lnTo>
                      <a:pt x="377" y="195"/>
                    </a:lnTo>
                    <a:lnTo>
                      <a:pt x="377" y="196"/>
                    </a:lnTo>
                    <a:lnTo>
                      <a:pt x="381" y="198"/>
                    </a:lnTo>
                    <a:lnTo>
                      <a:pt x="385" y="196"/>
                    </a:lnTo>
                    <a:lnTo>
                      <a:pt x="393" y="197"/>
                    </a:lnTo>
                    <a:lnTo>
                      <a:pt x="396" y="196"/>
                    </a:lnTo>
                    <a:lnTo>
                      <a:pt x="400" y="193"/>
                    </a:lnTo>
                    <a:lnTo>
                      <a:pt x="403" y="192"/>
                    </a:lnTo>
                    <a:lnTo>
                      <a:pt x="406" y="193"/>
                    </a:lnTo>
                    <a:lnTo>
                      <a:pt x="407" y="195"/>
                    </a:lnTo>
                    <a:lnTo>
                      <a:pt x="407" y="198"/>
                    </a:lnTo>
                    <a:lnTo>
                      <a:pt x="406" y="199"/>
                    </a:lnTo>
                    <a:lnTo>
                      <a:pt x="407" y="202"/>
                    </a:lnTo>
                    <a:lnTo>
                      <a:pt x="409" y="203"/>
                    </a:lnTo>
                    <a:lnTo>
                      <a:pt x="412" y="204"/>
                    </a:lnTo>
                    <a:lnTo>
                      <a:pt x="414" y="201"/>
                    </a:lnTo>
                    <a:lnTo>
                      <a:pt x="415" y="197"/>
                    </a:lnTo>
                    <a:lnTo>
                      <a:pt x="414" y="194"/>
                    </a:lnTo>
                    <a:lnTo>
                      <a:pt x="420" y="191"/>
                    </a:lnTo>
                    <a:lnTo>
                      <a:pt x="422" y="190"/>
                    </a:lnTo>
                    <a:lnTo>
                      <a:pt x="425" y="187"/>
                    </a:lnTo>
                    <a:lnTo>
                      <a:pt x="427" y="180"/>
                    </a:lnTo>
                    <a:lnTo>
                      <a:pt x="427" y="177"/>
                    </a:lnTo>
                    <a:lnTo>
                      <a:pt x="427" y="174"/>
                    </a:lnTo>
                    <a:lnTo>
                      <a:pt x="427" y="171"/>
                    </a:lnTo>
                    <a:lnTo>
                      <a:pt x="427" y="166"/>
                    </a:lnTo>
                    <a:lnTo>
                      <a:pt x="427" y="163"/>
                    </a:lnTo>
                    <a:lnTo>
                      <a:pt x="427" y="161"/>
                    </a:lnTo>
                    <a:lnTo>
                      <a:pt x="430" y="161"/>
                    </a:lnTo>
                    <a:lnTo>
                      <a:pt x="431" y="159"/>
                    </a:lnTo>
                    <a:lnTo>
                      <a:pt x="438" y="159"/>
                    </a:lnTo>
                    <a:lnTo>
                      <a:pt x="440" y="155"/>
                    </a:lnTo>
                    <a:lnTo>
                      <a:pt x="445" y="157"/>
                    </a:lnTo>
                    <a:lnTo>
                      <a:pt x="450" y="162"/>
                    </a:lnTo>
                    <a:lnTo>
                      <a:pt x="454" y="166"/>
                    </a:lnTo>
                    <a:lnTo>
                      <a:pt x="466" y="166"/>
                    </a:lnTo>
                    <a:lnTo>
                      <a:pt x="471" y="171"/>
                    </a:lnTo>
                    <a:lnTo>
                      <a:pt x="472" y="178"/>
                    </a:lnTo>
                    <a:lnTo>
                      <a:pt x="478" y="178"/>
                    </a:lnTo>
                    <a:lnTo>
                      <a:pt x="480" y="185"/>
                    </a:lnTo>
                    <a:lnTo>
                      <a:pt x="490" y="189"/>
                    </a:lnTo>
                    <a:lnTo>
                      <a:pt x="493" y="196"/>
                    </a:lnTo>
                    <a:lnTo>
                      <a:pt x="498" y="204"/>
                    </a:lnTo>
                    <a:lnTo>
                      <a:pt x="493" y="209"/>
                    </a:lnTo>
                    <a:lnTo>
                      <a:pt x="485" y="212"/>
                    </a:lnTo>
                    <a:lnTo>
                      <a:pt x="477" y="215"/>
                    </a:lnTo>
                    <a:lnTo>
                      <a:pt x="476" y="221"/>
                    </a:lnTo>
                    <a:lnTo>
                      <a:pt x="470" y="221"/>
                    </a:lnTo>
                    <a:lnTo>
                      <a:pt x="465" y="222"/>
                    </a:lnTo>
                    <a:lnTo>
                      <a:pt x="454" y="226"/>
                    </a:lnTo>
                    <a:lnTo>
                      <a:pt x="446" y="231"/>
                    </a:lnTo>
                    <a:lnTo>
                      <a:pt x="444" y="236"/>
                    </a:lnTo>
                    <a:lnTo>
                      <a:pt x="438" y="239"/>
                    </a:lnTo>
                    <a:lnTo>
                      <a:pt x="429" y="239"/>
                    </a:lnTo>
                    <a:lnTo>
                      <a:pt x="422" y="240"/>
                    </a:lnTo>
                    <a:lnTo>
                      <a:pt x="418" y="246"/>
                    </a:lnTo>
                    <a:lnTo>
                      <a:pt x="422" y="250"/>
                    </a:lnTo>
                    <a:lnTo>
                      <a:pt x="422" y="255"/>
                    </a:lnTo>
                    <a:lnTo>
                      <a:pt x="416" y="258"/>
                    </a:lnTo>
                    <a:lnTo>
                      <a:pt x="420" y="264"/>
                    </a:lnTo>
                    <a:lnTo>
                      <a:pt x="424" y="267"/>
                    </a:lnTo>
                    <a:lnTo>
                      <a:pt x="430" y="275"/>
                    </a:lnTo>
                    <a:lnTo>
                      <a:pt x="431" y="281"/>
                    </a:lnTo>
                    <a:lnTo>
                      <a:pt x="437" y="284"/>
                    </a:lnTo>
                    <a:lnTo>
                      <a:pt x="433" y="288"/>
                    </a:lnTo>
                    <a:lnTo>
                      <a:pt x="423" y="295"/>
                    </a:lnTo>
                    <a:lnTo>
                      <a:pt x="414" y="297"/>
                    </a:lnTo>
                    <a:lnTo>
                      <a:pt x="409" y="300"/>
                    </a:lnTo>
                    <a:lnTo>
                      <a:pt x="402" y="307"/>
                    </a:lnTo>
                    <a:lnTo>
                      <a:pt x="397" y="311"/>
                    </a:lnTo>
                    <a:lnTo>
                      <a:pt x="392" y="310"/>
                    </a:lnTo>
                    <a:lnTo>
                      <a:pt x="391" y="303"/>
                    </a:lnTo>
                    <a:lnTo>
                      <a:pt x="395" y="297"/>
                    </a:lnTo>
                    <a:lnTo>
                      <a:pt x="389" y="292"/>
                    </a:lnTo>
                    <a:lnTo>
                      <a:pt x="384" y="293"/>
                    </a:lnTo>
                    <a:lnTo>
                      <a:pt x="380" y="299"/>
                    </a:lnTo>
                    <a:lnTo>
                      <a:pt x="380" y="307"/>
                    </a:lnTo>
                    <a:lnTo>
                      <a:pt x="369" y="314"/>
                    </a:lnTo>
                    <a:lnTo>
                      <a:pt x="364" y="319"/>
                    </a:lnTo>
                    <a:lnTo>
                      <a:pt x="369" y="328"/>
                    </a:lnTo>
                    <a:lnTo>
                      <a:pt x="373" y="336"/>
                    </a:lnTo>
                    <a:lnTo>
                      <a:pt x="372" y="345"/>
                    </a:lnTo>
                    <a:lnTo>
                      <a:pt x="367" y="350"/>
                    </a:lnTo>
                    <a:lnTo>
                      <a:pt x="363" y="357"/>
                    </a:lnTo>
                    <a:lnTo>
                      <a:pt x="356" y="360"/>
                    </a:lnTo>
                    <a:lnTo>
                      <a:pt x="351" y="359"/>
                    </a:lnTo>
                    <a:lnTo>
                      <a:pt x="340" y="355"/>
                    </a:lnTo>
                    <a:lnTo>
                      <a:pt x="335" y="356"/>
                    </a:lnTo>
                    <a:lnTo>
                      <a:pt x="331" y="356"/>
                    </a:lnTo>
                    <a:lnTo>
                      <a:pt x="324" y="358"/>
                    </a:lnTo>
                    <a:lnTo>
                      <a:pt x="320" y="361"/>
                    </a:lnTo>
                    <a:lnTo>
                      <a:pt x="316" y="365"/>
                    </a:lnTo>
                    <a:lnTo>
                      <a:pt x="309" y="363"/>
                    </a:lnTo>
                    <a:lnTo>
                      <a:pt x="305" y="364"/>
                    </a:lnTo>
                    <a:lnTo>
                      <a:pt x="297" y="365"/>
                    </a:lnTo>
                    <a:lnTo>
                      <a:pt x="294" y="364"/>
                    </a:lnTo>
                    <a:lnTo>
                      <a:pt x="290" y="358"/>
                    </a:lnTo>
                    <a:lnTo>
                      <a:pt x="289" y="354"/>
                    </a:lnTo>
                    <a:lnTo>
                      <a:pt x="282" y="350"/>
                    </a:lnTo>
                    <a:lnTo>
                      <a:pt x="278" y="345"/>
                    </a:lnTo>
                    <a:lnTo>
                      <a:pt x="280" y="338"/>
                    </a:lnTo>
                    <a:lnTo>
                      <a:pt x="282" y="333"/>
                    </a:lnTo>
                    <a:lnTo>
                      <a:pt x="280" y="328"/>
                    </a:lnTo>
                    <a:lnTo>
                      <a:pt x="277" y="325"/>
                    </a:lnTo>
                    <a:lnTo>
                      <a:pt x="273" y="323"/>
                    </a:lnTo>
                    <a:lnTo>
                      <a:pt x="271" y="322"/>
                    </a:lnTo>
                    <a:lnTo>
                      <a:pt x="265" y="321"/>
                    </a:lnTo>
                    <a:lnTo>
                      <a:pt x="262" y="321"/>
                    </a:lnTo>
                    <a:lnTo>
                      <a:pt x="256" y="323"/>
                    </a:lnTo>
                    <a:lnTo>
                      <a:pt x="256" y="329"/>
                    </a:lnTo>
                    <a:lnTo>
                      <a:pt x="254" y="330"/>
                    </a:lnTo>
                    <a:lnTo>
                      <a:pt x="251" y="332"/>
                    </a:lnTo>
                    <a:lnTo>
                      <a:pt x="245" y="338"/>
                    </a:lnTo>
                    <a:lnTo>
                      <a:pt x="245" y="343"/>
                    </a:lnTo>
                    <a:lnTo>
                      <a:pt x="247" y="351"/>
                    </a:lnTo>
                    <a:lnTo>
                      <a:pt x="247" y="359"/>
                    </a:lnTo>
                    <a:lnTo>
                      <a:pt x="247" y="366"/>
                    </a:lnTo>
                    <a:lnTo>
                      <a:pt x="245" y="375"/>
                    </a:lnTo>
                    <a:lnTo>
                      <a:pt x="247" y="385"/>
                    </a:lnTo>
                    <a:lnTo>
                      <a:pt x="242" y="391"/>
                    </a:lnTo>
                    <a:lnTo>
                      <a:pt x="236" y="389"/>
                    </a:lnTo>
                    <a:lnTo>
                      <a:pt x="231" y="387"/>
                    </a:lnTo>
                    <a:lnTo>
                      <a:pt x="224" y="385"/>
                    </a:lnTo>
                    <a:lnTo>
                      <a:pt x="224" y="380"/>
                    </a:lnTo>
                    <a:lnTo>
                      <a:pt x="225" y="374"/>
                    </a:lnTo>
                    <a:lnTo>
                      <a:pt x="223" y="369"/>
                    </a:lnTo>
                    <a:lnTo>
                      <a:pt x="212" y="369"/>
                    </a:lnTo>
                    <a:lnTo>
                      <a:pt x="207" y="371"/>
                    </a:lnTo>
                    <a:lnTo>
                      <a:pt x="199" y="371"/>
                    </a:lnTo>
                    <a:lnTo>
                      <a:pt x="187" y="369"/>
                    </a:lnTo>
                    <a:lnTo>
                      <a:pt x="184" y="365"/>
                    </a:lnTo>
                    <a:lnTo>
                      <a:pt x="179" y="363"/>
                    </a:lnTo>
                    <a:lnTo>
                      <a:pt x="172" y="364"/>
                    </a:lnTo>
                    <a:lnTo>
                      <a:pt x="166" y="365"/>
                    </a:lnTo>
                    <a:lnTo>
                      <a:pt x="163" y="367"/>
                    </a:lnTo>
                    <a:lnTo>
                      <a:pt x="156" y="370"/>
                    </a:lnTo>
                    <a:lnTo>
                      <a:pt x="154" y="375"/>
                    </a:lnTo>
                    <a:lnTo>
                      <a:pt x="153" y="380"/>
                    </a:lnTo>
                    <a:lnTo>
                      <a:pt x="154" y="387"/>
                    </a:lnTo>
                    <a:lnTo>
                      <a:pt x="160" y="391"/>
                    </a:lnTo>
                    <a:lnTo>
                      <a:pt x="168" y="396"/>
                    </a:lnTo>
                    <a:lnTo>
                      <a:pt x="170" y="400"/>
                    </a:lnTo>
                    <a:lnTo>
                      <a:pt x="168" y="404"/>
                    </a:lnTo>
                    <a:lnTo>
                      <a:pt x="165" y="407"/>
                    </a:lnTo>
                    <a:lnTo>
                      <a:pt x="157" y="407"/>
                    </a:lnTo>
                    <a:lnTo>
                      <a:pt x="154" y="408"/>
                    </a:lnTo>
                    <a:lnTo>
                      <a:pt x="152" y="413"/>
                    </a:lnTo>
                    <a:lnTo>
                      <a:pt x="148" y="415"/>
                    </a:lnTo>
                    <a:lnTo>
                      <a:pt x="143" y="413"/>
                    </a:lnTo>
                    <a:lnTo>
                      <a:pt x="139" y="411"/>
                    </a:lnTo>
                    <a:lnTo>
                      <a:pt x="135" y="411"/>
                    </a:lnTo>
                    <a:lnTo>
                      <a:pt x="130" y="410"/>
                    </a:lnTo>
                    <a:lnTo>
                      <a:pt x="128" y="404"/>
                    </a:lnTo>
                    <a:lnTo>
                      <a:pt x="128" y="399"/>
                    </a:lnTo>
                    <a:lnTo>
                      <a:pt x="127" y="393"/>
                    </a:lnTo>
                    <a:lnTo>
                      <a:pt x="127" y="387"/>
                    </a:lnTo>
                    <a:lnTo>
                      <a:pt x="125" y="380"/>
                    </a:lnTo>
                    <a:lnTo>
                      <a:pt x="121" y="377"/>
                    </a:lnTo>
                    <a:lnTo>
                      <a:pt x="117" y="375"/>
                    </a:lnTo>
                    <a:lnTo>
                      <a:pt x="110" y="370"/>
                    </a:lnTo>
                    <a:lnTo>
                      <a:pt x="105" y="368"/>
                    </a:lnTo>
                    <a:lnTo>
                      <a:pt x="97" y="369"/>
                    </a:lnTo>
                    <a:lnTo>
                      <a:pt x="94" y="366"/>
                    </a:lnTo>
                    <a:lnTo>
                      <a:pt x="93" y="360"/>
                    </a:lnTo>
                    <a:lnTo>
                      <a:pt x="90" y="354"/>
                    </a:lnTo>
                    <a:lnTo>
                      <a:pt x="90" y="352"/>
                    </a:lnTo>
                    <a:lnTo>
                      <a:pt x="84" y="350"/>
                    </a:lnTo>
                    <a:lnTo>
                      <a:pt x="82" y="347"/>
                    </a:lnTo>
                    <a:lnTo>
                      <a:pt x="81" y="343"/>
                    </a:lnTo>
                    <a:lnTo>
                      <a:pt x="82" y="339"/>
                    </a:lnTo>
                    <a:lnTo>
                      <a:pt x="78" y="336"/>
                    </a:lnTo>
                    <a:lnTo>
                      <a:pt x="68" y="336"/>
                    </a:lnTo>
                    <a:lnTo>
                      <a:pt x="64" y="334"/>
                    </a:lnTo>
                    <a:lnTo>
                      <a:pt x="60" y="330"/>
                    </a:lnTo>
                    <a:lnTo>
                      <a:pt x="57" y="325"/>
                    </a:lnTo>
                    <a:lnTo>
                      <a:pt x="56" y="321"/>
                    </a:lnTo>
                    <a:lnTo>
                      <a:pt x="52" y="321"/>
                    </a:lnTo>
                    <a:lnTo>
                      <a:pt x="42" y="321"/>
                    </a:lnTo>
                    <a:lnTo>
                      <a:pt x="35" y="315"/>
                    </a:lnTo>
                    <a:lnTo>
                      <a:pt x="31" y="314"/>
                    </a:lnTo>
                    <a:lnTo>
                      <a:pt x="31" y="310"/>
                    </a:lnTo>
                    <a:lnTo>
                      <a:pt x="30" y="302"/>
                    </a:lnTo>
                    <a:lnTo>
                      <a:pt x="28" y="297"/>
                    </a:lnTo>
                    <a:lnTo>
                      <a:pt x="32" y="295"/>
                    </a:lnTo>
                    <a:lnTo>
                      <a:pt x="32" y="292"/>
                    </a:lnTo>
                    <a:lnTo>
                      <a:pt x="29" y="287"/>
                    </a:lnTo>
                    <a:lnTo>
                      <a:pt x="25" y="286"/>
                    </a:lnTo>
                    <a:lnTo>
                      <a:pt x="17" y="288"/>
                    </a:lnTo>
                    <a:lnTo>
                      <a:pt x="12" y="289"/>
                    </a:lnTo>
                    <a:lnTo>
                      <a:pt x="10" y="292"/>
                    </a:lnTo>
                    <a:lnTo>
                      <a:pt x="12" y="296"/>
                    </a:lnTo>
                    <a:lnTo>
                      <a:pt x="8" y="297"/>
                    </a:lnTo>
                    <a:lnTo>
                      <a:pt x="3" y="293"/>
                    </a:lnTo>
                    <a:lnTo>
                      <a:pt x="1" y="290"/>
                    </a:lnTo>
                    <a:lnTo>
                      <a:pt x="0" y="288"/>
                    </a:lnTo>
                    <a:lnTo>
                      <a:pt x="2" y="284"/>
                    </a:lnTo>
                    <a:lnTo>
                      <a:pt x="9" y="275"/>
                    </a:lnTo>
                    <a:lnTo>
                      <a:pt x="12" y="270"/>
                    </a:lnTo>
                    <a:lnTo>
                      <a:pt x="10" y="265"/>
                    </a:lnTo>
                    <a:lnTo>
                      <a:pt x="9" y="260"/>
                    </a:lnTo>
                    <a:lnTo>
                      <a:pt x="9" y="255"/>
                    </a:lnTo>
                    <a:lnTo>
                      <a:pt x="12" y="250"/>
                    </a:lnTo>
                    <a:lnTo>
                      <a:pt x="15" y="246"/>
                    </a:lnTo>
                    <a:lnTo>
                      <a:pt x="20" y="242"/>
                    </a:lnTo>
                    <a:lnTo>
                      <a:pt x="24" y="239"/>
                    </a:lnTo>
                    <a:lnTo>
                      <a:pt x="26" y="235"/>
                    </a:lnTo>
                    <a:lnTo>
                      <a:pt x="26" y="231"/>
                    </a:lnTo>
                    <a:lnTo>
                      <a:pt x="28" y="226"/>
                    </a:lnTo>
                    <a:lnTo>
                      <a:pt x="31" y="222"/>
                    </a:lnTo>
                    <a:lnTo>
                      <a:pt x="30" y="219"/>
                    </a:lnTo>
                    <a:lnTo>
                      <a:pt x="28" y="217"/>
                    </a:lnTo>
                    <a:lnTo>
                      <a:pt x="24" y="217"/>
                    </a:lnTo>
                    <a:lnTo>
                      <a:pt x="19" y="218"/>
                    </a:lnTo>
                    <a:lnTo>
                      <a:pt x="16" y="215"/>
                    </a:lnTo>
                    <a:lnTo>
                      <a:pt x="17" y="211"/>
                    </a:lnTo>
                    <a:lnTo>
                      <a:pt x="19" y="206"/>
                    </a:lnTo>
                    <a:lnTo>
                      <a:pt x="24" y="203"/>
                    </a:lnTo>
                    <a:lnTo>
                      <a:pt x="34" y="196"/>
                    </a:lnTo>
                    <a:lnTo>
                      <a:pt x="38" y="194"/>
                    </a:lnTo>
                    <a:lnTo>
                      <a:pt x="43" y="193"/>
                    </a:lnTo>
                    <a:lnTo>
                      <a:pt x="50" y="186"/>
                    </a:lnTo>
                    <a:lnTo>
                      <a:pt x="54" y="183"/>
                    </a:lnTo>
                    <a:lnTo>
                      <a:pt x="56" y="180"/>
                    </a:lnTo>
                    <a:lnTo>
                      <a:pt x="56" y="174"/>
                    </a:lnTo>
                    <a:lnTo>
                      <a:pt x="57" y="163"/>
                    </a:lnTo>
                    <a:lnTo>
                      <a:pt x="56" y="160"/>
                    </a:lnTo>
                    <a:lnTo>
                      <a:pt x="52" y="156"/>
                    </a:lnTo>
                    <a:lnTo>
                      <a:pt x="52" y="154"/>
                    </a:lnTo>
                    <a:lnTo>
                      <a:pt x="56" y="152"/>
                    </a:lnTo>
                    <a:lnTo>
                      <a:pt x="59" y="154"/>
                    </a:lnTo>
                    <a:lnTo>
                      <a:pt x="61" y="159"/>
                    </a:lnTo>
                    <a:lnTo>
                      <a:pt x="63" y="160"/>
                    </a:lnTo>
                    <a:lnTo>
                      <a:pt x="66" y="159"/>
                    </a:lnTo>
                    <a:lnTo>
                      <a:pt x="67" y="152"/>
                    </a:lnTo>
                    <a:lnTo>
                      <a:pt x="64" y="145"/>
                    </a:lnTo>
                    <a:lnTo>
                      <a:pt x="64" y="138"/>
                    </a:lnTo>
                    <a:lnTo>
                      <a:pt x="63" y="132"/>
                    </a:lnTo>
                    <a:lnTo>
                      <a:pt x="60" y="130"/>
                    </a:lnTo>
                    <a:lnTo>
                      <a:pt x="56" y="126"/>
                    </a:lnTo>
                    <a:lnTo>
                      <a:pt x="50" y="126"/>
                    </a:lnTo>
                    <a:lnTo>
                      <a:pt x="43" y="126"/>
                    </a:lnTo>
                    <a:lnTo>
                      <a:pt x="40" y="124"/>
                    </a:lnTo>
                    <a:lnTo>
                      <a:pt x="39" y="119"/>
                    </a:lnTo>
                    <a:lnTo>
                      <a:pt x="35" y="115"/>
                    </a:lnTo>
                    <a:lnTo>
                      <a:pt x="33" y="111"/>
                    </a:lnTo>
                    <a:lnTo>
                      <a:pt x="30" y="109"/>
                    </a:lnTo>
                    <a:lnTo>
                      <a:pt x="27" y="106"/>
                    </a:lnTo>
                    <a:lnTo>
                      <a:pt x="22" y="100"/>
                    </a:lnTo>
                    <a:lnTo>
                      <a:pt x="22" y="97"/>
                    </a:lnTo>
                    <a:lnTo>
                      <a:pt x="20" y="93"/>
                    </a:lnTo>
                    <a:lnTo>
                      <a:pt x="20" y="69"/>
                    </a:lnTo>
                    <a:lnTo>
                      <a:pt x="23" y="68"/>
                    </a:lnTo>
                    <a:lnTo>
                      <a:pt x="32" y="64"/>
                    </a:lnTo>
                    <a:lnTo>
                      <a:pt x="35" y="63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61"/>
                    </a:lnTo>
                    <a:lnTo>
                      <a:pt x="54" y="58"/>
                    </a:lnTo>
                    <a:lnTo>
                      <a:pt x="55" y="54"/>
                    </a:lnTo>
                    <a:lnTo>
                      <a:pt x="62" y="53"/>
                    </a:lnTo>
                    <a:lnTo>
                      <a:pt x="69" y="52"/>
                    </a:lnTo>
                    <a:lnTo>
                      <a:pt x="74" y="49"/>
                    </a:lnTo>
                    <a:lnTo>
                      <a:pt x="78" y="44"/>
                    </a:lnTo>
                    <a:lnTo>
                      <a:pt x="81" y="42"/>
                    </a:lnTo>
                    <a:lnTo>
                      <a:pt x="86" y="42"/>
                    </a:lnTo>
                    <a:lnTo>
                      <a:pt x="88" y="45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2" y="43"/>
                    </a:lnTo>
                    <a:lnTo>
                      <a:pt x="92" y="42"/>
                    </a:lnTo>
                    <a:lnTo>
                      <a:pt x="92" y="42"/>
                    </a:lnTo>
                    <a:lnTo>
                      <a:pt x="93" y="40"/>
                    </a:lnTo>
                    <a:lnTo>
                      <a:pt x="93" y="39"/>
                    </a:lnTo>
                    <a:lnTo>
                      <a:pt x="94" y="37"/>
                    </a:lnTo>
                    <a:lnTo>
                      <a:pt x="94" y="35"/>
                    </a:lnTo>
                    <a:lnTo>
                      <a:pt x="95" y="33"/>
                    </a:lnTo>
                    <a:lnTo>
                      <a:pt x="94" y="24"/>
                    </a:lnTo>
                    <a:lnTo>
                      <a:pt x="94" y="19"/>
                    </a:lnTo>
                    <a:lnTo>
                      <a:pt x="97" y="18"/>
                    </a:lnTo>
                    <a:lnTo>
                      <a:pt x="101" y="20"/>
                    </a:lnTo>
                    <a:lnTo>
                      <a:pt x="104" y="20"/>
                    </a:lnTo>
                    <a:lnTo>
                      <a:pt x="109" y="20"/>
                    </a:lnTo>
                    <a:lnTo>
                      <a:pt x="112" y="21"/>
                    </a:lnTo>
                    <a:lnTo>
                      <a:pt x="114" y="25"/>
                    </a:lnTo>
                    <a:lnTo>
                      <a:pt x="116" y="29"/>
                    </a:lnTo>
                    <a:lnTo>
                      <a:pt x="120" y="24"/>
                    </a:lnTo>
                    <a:lnTo>
                      <a:pt x="122" y="21"/>
                    </a:lnTo>
                    <a:lnTo>
                      <a:pt x="127" y="21"/>
                    </a:lnTo>
                    <a:lnTo>
                      <a:pt x="134" y="24"/>
                    </a:lnTo>
                    <a:lnTo>
                      <a:pt x="141" y="27"/>
                    </a:lnTo>
                    <a:lnTo>
                      <a:pt x="145" y="25"/>
                    </a:lnTo>
                    <a:lnTo>
                      <a:pt x="145" y="19"/>
                    </a:lnTo>
                    <a:lnTo>
                      <a:pt x="144" y="13"/>
                    </a:lnTo>
                    <a:lnTo>
                      <a:pt x="144" y="8"/>
                    </a:lnTo>
                    <a:lnTo>
                      <a:pt x="145" y="4"/>
                    </a:lnTo>
                    <a:lnTo>
                      <a:pt x="147" y="0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grpSp>
            <p:nvGrpSpPr>
              <p:cNvPr id="16" name="Schleswig Holstein">
                <a:extLst>
                  <a:ext uri="{FF2B5EF4-FFF2-40B4-BE49-F238E27FC236}">
                    <a16:creationId xmlns:a16="http://schemas.microsoft.com/office/drawing/2014/main" id="{FB16E9B7-B44D-4EC9-9D10-6864D9C9017C}"/>
                  </a:ext>
                </a:extLst>
              </p:cNvPr>
              <p:cNvGrpSpPr/>
              <p:nvPr/>
            </p:nvGrpSpPr>
            <p:grpSpPr bwMode="gray">
              <a:xfrm>
                <a:off x="830233" y="1635125"/>
                <a:ext cx="920750" cy="798513"/>
                <a:chOff x="830233" y="1635125"/>
                <a:chExt cx="920750" cy="798513"/>
              </a:xfrm>
              <a:grpFill/>
            </p:grpSpPr>
            <p:sp>
              <p:nvSpPr>
                <p:cNvPr id="46" name="Freeform 6">
                  <a:extLst>
                    <a:ext uri="{FF2B5EF4-FFF2-40B4-BE49-F238E27FC236}">
                      <a16:creationId xmlns:a16="http://schemas.microsoft.com/office/drawing/2014/main" id="{A554EAB4-83E3-446A-B1A1-F1C09E54A4B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012795" y="1700213"/>
                  <a:ext cx="692150" cy="733425"/>
                </a:xfrm>
                <a:custGeom>
                  <a:avLst/>
                  <a:gdLst/>
                  <a:ahLst/>
                  <a:cxnLst>
                    <a:cxn ang="0">
                      <a:pos x="60" y="6"/>
                    </a:cxn>
                    <a:cxn ang="0">
                      <a:pos x="119" y="18"/>
                    </a:cxn>
                    <a:cxn ang="0">
                      <a:pos x="150" y="33"/>
                    </a:cxn>
                    <a:cxn ang="0">
                      <a:pos x="174" y="29"/>
                    </a:cxn>
                    <a:cxn ang="0">
                      <a:pos x="209" y="41"/>
                    </a:cxn>
                    <a:cxn ang="0">
                      <a:pos x="238" y="52"/>
                    </a:cxn>
                    <a:cxn ang="0">
                      <a:pos x="238" y="79"/>
                    </a:cxn>
                    <a:cxn ang="0">
                      <a:pos x="201" y="100"/>
                    </a:cxn>
                    <a:cxn ang="0">
                      <a:pos x="171" y="118"/>
                    </a:cxn>
                    <a:cxn ang="0">
                      <a:pos x="192" y="110"/>
                    </a:cxn>
                    <a:cxn ang="0">
                      <a:pos x="236" y="88"/>
                    </a:cxn>
                    <a:cxn ang="0">
                      <a:pos x="249" y="110"/>
                    </a:cxn>
                    <a:cxn ang="0">
                      <a:pos x="219" y="135"/>
                    </a:cxn>
                    <a:cxn ang="0">
                      <a:pos x="260" y="130"/>
                    </a:cxn>
                    <a:cxn ang="0">
                      <a:pos x="278" y="145"/>
                    </a:cxn>
                    <a:cxn ang="0">
                      <a:pos x="273" y="178"/>
                    </a:cxn>
                    <a:cxn ang="0">
                      <a:pos x="298" y="148"/>
                    </a:cxn>
                    <a:cxn ang="0">
                      <a:pos x="330" y="157"/>
                    </a:cxn>
                    <a:cxn ang="0">
                      <a:pos x="362" y="180"/>
                    </a:cxn>
                    <a:cxn ang="0">
                      <a:pos x="407" y="158"/>
                    </a:cxn>
                    <a:cxn ang="0">
                      <a:pos x="436" y="162"/>
                    </a:cxn>
                    <a:cxn ang="0">
                      <a:pos x="425" y="194"/>
                    </a:cxn>
                    <a:cxn ang="0">
                      <a:pos x="417" y="224"/>
                    </a:cxn>
                    <a:cxn ang="0">
                      <a:pos x="374" y="252"/>
                    </a:cxn>
                    <a:cxn ang="0">
                      <a:pos x="392" y="274"/>
                    </a:cxn>
                    <a:cxn ang="0">
                      <a:pos x="395" y="299"/>
                    </a:cxn>
                    <a:cxn ang="0">
                      <a:pos x="369" y="336"/>
                    </a:cxn>
                    <a:cxn ang="0">
                      <a:pos x="380" y="367"/>
                    </a:cxn>
                    <a:cxn ang="0">
                      <a:pos x="400" y="398"/>
                    </a:cxn>
                    <a:cxn ang="0">
                      <a:pos x="385" y="427"/>
                    </a:cxn>
                    <a:cxn ang="0">
                      <a:pos x="351" y="461"/>
                    </a:cxn>
                    <a:cxn ang="0">
                      <a:pos x="314" y="453"/>
                    </a:cxn>
                    <a:cxn ang="0">
                      <a:pos x="292" y="419"/>
                    </a:cxn>
                    <a:cxn ang="0">
                      <a:pos x="280" y="384"/>
                    </a:cxn>
                    <a:cxn ang="0">
                      <a:pos x="253" y="362"/>
                    </a:cxn>
                    <a:cxn ang="0">
                      <a:pos x="230" y="389"/>
                    </a:cxn>
                    <a:cxn ang="0">
                      <a:pos x="209" y="403"/>
                    </a:cxn>
                    <a:cxn ang="0">
                      <a:pos x="172" y="385"/>
                    </a:cxn>
                    <a:cxn ang="0">
                      <a:pos x="166" y="364"/>
                    </a:cxn>
                    <a:cxn ang="0">
                      <a:pos x="143" y="340"/>
                    </a:cxn>
                    <a:cxn ang="0">
                      <a:pos x="110" y="309"/>
                    </a:cxn>
                    <a:cxn ang="0">
                      <a:pos x="66" y="299"/>
                    </a:cxn>
                    <a:cxn ang="0">
                      <a:pos x="46" y="265"/>
                    </a:cxn>
                    <a:cxn ang="0">
                      <a:pos x="63" y="259"/>
                    </a:cxn>
                    <a:cxn ang="0">
                      <a:pos x="74" y="248"/>
                    </a:cxn>
                    <a:cxn ang="0">
                      <a:pos x="65" y="230"/>
                    </a:cxn>
                    <a:cxn ang="0">
                      <a:pos x="42" y="224"/>
                    </a:cxn>
                    <a:cxn ang="0">
                      <a:pos x="43" y="203"/>
                    </a:cxn>
                    <a:cxn ang="0">
                      <a:pos x="55" y="190"/>
                    </a:cxn>
                    <a:cxn ang="0">
                      <a:pos x="33" y="187"/>
                    </a:cxn>
                    <a:cxn ang="0">
                      <a:pos x="10" y="190"/>
                    </a:cxn>
                    <a:cxn ang="0">
                      <a:pos x="4" y="182"/>
                    </a:cxn>
                    <a:cxn ang="0">
                      <a:pos x="13" y="167"/>
                    </a:cxn>
                    <a:cxn ang="0">
                      <a:pos x="10" y="155"/>
                    </a:cxn>
                    <a:cxn ang="0">
                      <a:pos x="36" y="148"/>
                    </a:cxn>
                    <a:cxn ang="0">
                      <a:pos x="60" y="145"/>
                    </a:cxn>
                    <a:cxn ang="0">
                      <a:pos x="76" y="128"/>
                    </a:cxn>
                    <a:cxn ang="0">
                      <a:pos x="63" y="100"/>
                    </a:cxn>
                    <a:cxn ang="0">
                      <a:pos x="50" y="86"/>
                    </a:cxn>
                    <a:cxn ang="0">
                      <a:pos x="30" y="64"/>
                    </a:cxn>
                    <a:cxn ang="0">
                      <a:pos x="21" y="35"/>
                    </a:cxn>
                    <a:cxn ang="0">
                      <a:pos x="15" y="6"/>
                    </a:cxn>
                  </a:cxnLst>
                  <a:rect l="0" t="0" r="r" b="b"/>
                  <a:pathLst>
                    <a:path w="436" h="462">
                      <a:moveTo>
                        <a:pt x="17" y="0"/>
                      </a:moveTo>
                      <a:lnTo>
                        <a:pt x="31" y="5"/>
                      </a:lnTo>
                      <a:lnTo>
                        <a:pt x="39" y="7"/>
                      </a:lnTo>
                      <a:lnTo>
                        <a:pt x="50" y="6"/>
                      </a:lnTo>
                      <a:lnTo>
                        <a:pt x="60" y="6"/>
                      </a:lnTo>
                      <a:lnTo>
                        <a:pt x="72" y="7"/>
                      </a:lnTo>
                      <a:lnTo>
                        <a:pt x="83" y="11"/>
                      </a:lnTo>
                      <a:lnTo>
                        <a:pt x="96" y="16"/>
                      </a:lnTo>
                      <a:lnTo>
                        <a:pt x="107" y="19"/>
                      </a:lnTo>
                      <a:lnTo>
                        <a:pt x="119" y="18"/>
                      </a:lnTo>
                      <a:lnTo>
                        <a:pt x="123" y="26"/>
                      </a:lnTo>
                      <a:lnTo>
                        <a:pt x="125" y="35"/>
                      </a:lnTo>
                      <a:lnTo>
                        <a:pt x="132" y="37"/>
                      </a:lnTo>
                      <a:lnTo>
                        <a:pt x="141" y="37"/>
                      </a:lnTo>
                      <a:lnTo>
                        <a:pt x="150" y="33"/>
                      </a:lnTo>
                      <a:lnTo>
                        <a:pt x="155" y="37"/>
                      </a:lnTo>
                      <a:lnTo>
                        <a:pt x="155" y="41"/>
                      </a:lnTo>
                      <a:lnTo>
                        <a:pt x="161" y="35"/>
                      </a:lnTo>
                      <a:lnTo>
                        <a:pt x="169" y="34"/>
                      </a:lnTo>
                      <a:lnTo>
                        <a:pt x="174" y="29"/>
                      </a:lnTo>
                      <a:lnTo>
                        <a:pt x="181" y="22"/>
                      </a:lnTo>
                      <a:lnTo>
                        <a:pt x="182" y="30"/>
                      </a:lnTo>
                      <a:lnTo>
                        <a:pt x="191" y="32"/>
                      </a:lnTo>
                      <a:lnTo>
                        <a:pt x="199" y="35"/>
                      </a:lnTo>
                      <a:lnTo>
                        <a:pt x="209" y="41"/>
                      </a:lnTo>
                      <a:lnTo>
                        <a:pt x="218" y="48"/>
                      </a:lnTo>
                      <a:lnTo>
                        <a:pt x="225" y="49"/>
                      </a:lnTo>
                      <a:lnTo>
                        <a:pt x="230" y="44"/>
                      </a:lnTo>
                      <a:lnTo>
                        <a:pt x="236" y="44"/>
                      </a:lnTo>
                      <a:lnTo>
                        <a:pt x="238" y="52"/>
                      </a:lnTo>
                      <a:lnTo>
                        <a:pt x="241" y="60"/>
                      </a:lnTo>
                      <a:lnTo>
                        <a:pt x="249" y="67"/>
                      </a:lnTo>
                      <a:lnTo>
                        <a:pt x="248" y="72"/>
                      </a:lnTo>
                      <a:lnTo>
                        <a:pt x="243" y="74"/>
                      </a:lnTo>
                      <a:lnTo>
                        <a:pt x="238" y="79"/>
                      </a:lnTo>
                      <a:lnTo>
                        <a:pt x="231" y="86"/>
                      </a:lnTo>
                      <a:lnTo>
                        <a:pt x="221" y="87"/>
                      </a:lnTo>
                      <a:lnTo>
                        <a:pt x="214" y="90"/>
                      </a:lnTo>
                      <a:lnTo>
                        <a:pt x="206" y="94"/>
                      </a:lnTo>
                      <a:lnTo>
                        <a:pt x="201" y="100"/>
                      </a:lnTo>
                      <a:lnTo>
                        <a:pt x="197" y="102"/>
                      </a:lnTo>
                      <a:lnTo>
                        <a:pt x="184" y="105"/>
                      </a:lnTo>
                      <a:lnTo>
                        <a:pt x="176" y="108"/>
                      </a:lnTo>
                      <a:lnTo>
                        <a:pt x="171" y="112"/>
                      </a:lnTo>
                      <a:lnTo>
                        <a:pt x="171" y="118"/>
                      </a:lnTo>
                      <a:lnTo>
                        <a:pt x="173" y="123"/>
                      </a:lnTo>
                      <a:lnTo>
                        <a:pt x="177" y="121"/>
                      </a:lnTo>
                      <a:lnTo>
                        <a:pt x="178" y="117"/>
                      </a:lnTo>
                      <a:lnTo>
                        <a:pt x="185" y="112"/>
                      </a:lnTo>
                      <a:lnTo>
                        <a:pt x="192" y="110"/>
                      </a:lnTo>
                      <a:lnTo>
                        <a:pt x="201" y="108"/>
                      </a:lnTo>
                      <a:lnTo>
                        <a:pt x="207" y="102"/>
                      </a:lnTo>
                      <a:lnTo>
                        <a:pt x="216" y="95"/>
                      </a:lnTo>
                      <a:lnTo>
                        <a:pt x="225" y="93"/>
                      </a:lnTo>
                      <a:lnTo>
                        <a:pt x="236" y="88"/>
                      </a:lnTo>
                      <a:lnTo>
                        <a:pt x="242" y="83"/>
                      </a:lnTo>
                      <a:lnTo>
                        <a:pt x="247" y="83"/>
                      </a:lnTo>
                      <a:lnTo>
                        <a:pt x="252" y="87"/>
                      </a:lnTo>
                      <a:lnTo>
                        <a:pt x="251" y="98"/>
                      </a:lnTo>
                      <a:lnTo>
                        <a:pt x="249" y="110"/>
                      </a:lnTo>
                      <a:lnTo>
                        <a:pt x="244" y="117"/>
                      </a:lnTo>
                      <a:lnTo>
                        <a:pt x="238" y="125"/>
                      </a:lnTo>
                      <a:lnTo>
                        <a:pt x="231" y="129"/>
                      </a:lnTo>
                      <a:lnTo>
                        <a:pt x="224" y="132"/>
                      </a:lnTo>
                      <a:lnTo>
                        <a:pt x="219" y="135"/>
                      </a:lnTo>
                      <a:lnTo>
                        <a:pt x="221" y="140"/>
                      </a:lnTo>
                      <a:lnTo>
                        <a:pt x="232" y="141"/>
                      </a:lnTo>
                      <a:lnTo>
                        <a:pt x="243" y="138"/>
                      </a:lnTo>
                      <a:lnTo>
                        <a:pt x="254" y="135"/>
                      </a:lnTo>
                      <a:lnTo>
                        <a:pt x="260" y="130"/>
                      </a:lnTo>
                      <a:lnTo>
                        <a:pt x="267" y="130"/>
                      </a:lnTo>
                      <a:lnTo>
                        <a:pt x="270" y="134"/>
                      </a:lnTo>
                      <a:lnTo>
                        <a:pt x="277" y="138"/>
                      </a:lnTo>
                      <a:lnTo>
                        <a:pt x="281" y="141"/>
                      </a:lnTo>
                      <a:lnTo>
                        <a:pt x="278" y="145"/>
                      </a:lnTo>
                      <a:lnTo>
                        <a:pt x="270" y="150"/>
                      </a:lnTo>
                      <a:lnTo>
                        <a:pt x="269" y="156"/>
                      </a:lnTo>
                      <a:lnTo>
                        <a:pt x="269" y="163"/>
                      </a:lnTo>
                      <a:lnTo>
                        <a:pt x="272" y="174"/>
                      </a:lnTo>
                      <a:lnTo>
                        <a:pt x="273" y="178"/>
                      </a:lnTo>
                      <a:lnTo>
                        <a:pt x="276" y="174"/>
                      </a:lnTo>
                      <a:lnTo>
                        <a:pt x="281" y="163"/>
                      </a:lnTo>
                      <a:lnTo>
                        <a:pt x="286" y="154"/>
                      </a:lnTo>
                      <a:lnTo>
                        <a:pt x="294" y="154"/>
                      </a:lnTo>
                      <a:lnTo>
                        <a:pt x="298" y="148"/>
                      </a:lnTo>
                      <a:lnTo>
                        <a:pt x="304" y="149"/>
                      </a:lnTo>
                      <a:lnTo>
                        <a:pt x="312" y="150"/>
                      </a:lnTo>
                      <a:lnTo>
                        <a:pt x="316" y="154"/>
                      </a:lnTo>
                      <a:lnTo>
                        <a:pt x="324" y="157"/>
                      </a:lnTo>
                      <a:lnTo>
                        <a:pt x="330" y="157"/>
                      </a:lnTo>
                      <a:lnTo>
                        <a:pt x="336" y="161"/>
                      </a:lnTo>
                      <a:lnTo>
                        <a:pt x="343" y="165"/>
                      </a:lnTo>
                      <a:lnTo>
                        <a:pt x="351" y="170"/>
                      </a:lnTo>
                      <a:lnTo>
                        <a:pt x="356" y="175"/>
                      </a:lnTo>
                      <a:lnTo>
                        <a:pt x="362" y="180"/>
                      </a:lnTo>
                      <a:lnTo>
                        <a:pt x="371" y="180"/>
                      </a:lnTo>
                      <a:lnTo>
                        <a:pt x="378" y="179"/>
                      </a:lnTo>
                      <a:lnTo>
                        <a:pt x="382" y="174"/>
                      </a:lnTo>
                      <a:lnTo>
                        <a:pt x="394" y="165"/>
                      </a:lnTo>
                      <a:lnTo>
                        <a:pt x="407" y="158"/>
                      </a:lnTo>
                      <a:lnTo>
                        <a:pt x="414" y="157"/>
                      </a:lnTo>
                      <a:lnTo>
                        <a:pt x="418" y="163"/>
                      </a:lnTo>
                      <a:lnTo>
                        <a:pt x="422" y="163"/>
                      </a:lnTo>
                      <a:lnTo>
                        <a:pt x="425" y="158"/>
                      </a:lnTo>
                      <a:lnTo>
                        <a:pt x="436" y="162"/>
                      </a:lnTo>
                      <a:lnTo>
                        <a:pt x="431" y="167"/>
                      </a:lnTo>
                      <a:lnTo>
                        <a:pt x="425" y="169"/>
                      </a:lnTo>
                      <a:lnTo>
                        <a:pt x="426" y="176"/>
                      </a:lnTo>
                      <a:lnTo>
                        <a:pt x="427" y="184"/>
                      </a:lnTo>
                      <a:lnTo>
                        <a:pt x="425" y="194"/>
                      </a:lnTo>
                      <a:lnTo>
                        <a:pt x="427" y="200"/>
                      </a:lnTo>
                      <a:lnTo>
                        <a:pt x="431" y="204"/>
                      </a:lnTo>
                      <a:lnTo>
                        <a:pt x="428" y="211"/>
                      </a:lnTo>
                      <a:lnTo>
                        <a:pt x="422" y="218"/>
                      </a:lnTo>
                      <a:lnTo>
                        <a:pt x="417" y="224"/>
                      </a:lnTo>
                      <a:lnTo>
                        <a:pt x="406" y="232"/>
                      </a:lnTo>
                      <a:lnTo>
                        <a:pt x="399" y="238"/>
                      </a:lnTo>
                      <a:lnTo>
                        <a:pt x="394" y="242"/>
                      </a:lnTo>
                      <a:lnTo>
                        <a:pt x="382" y="248"/>
                      </a:lnTo>
                      <a:lnTo>
                        <a:pt x="374" y="252"/>
                      </a:lnTo>
                      <a:lnTo>
                        <a:pt x="369" y="260"/>
                      </a:lnTo>
                      <a:lnTo>
                        <a:pt x="376" y="268"/>
                      </a:lnTo>
                      <a:lnTo>
                        <a:pt x="381" y="272"/>
                      </a:lnTo>
                      <a:lnTo>
                        <a:pt x="385" y="272"/>
                      </a:lnTo>
                      <a:lnTo>
                        <a:pt x="392" y="274"/>
                      </a:lnTo>
                      <a:lnTo>
                        <a:pt x="393" y="282"/>
                      </a:lnTo>
                      <a:lnTo>
                        <a:pt x="389" y="288"/>
                      </a:lnTo>
                      <a:lnTo>
                        <a:pt x="390" y="293"/>
                      </a:lnTo>
                      <a:lnTo>
                        <a:pt x="394" y="295"/>
                      </a:lnTo>
                      <a:lnTo>
                        <a:pt x="395" y="299"/>
                      </a:lnTo>
                      <a:lnTo>
                        <a:pt x="391" y="301"/>
                      </a:lnTo>
                      <a:lnTo>
                        <a:pt x="387" y="308"/>
                      </a:lnTo>
                      <a:lnTo>
                        <a:pt x="378" y="315"/>
                      </a:lnTo>
                      <a:lnTo>
                        <a:pt x="374" y="321"/>
                      </a:lnTo>
                      <a:lnTo>
                        <a:pt x="369" y="336"/>
                      </a:lnTo>
                      <a:lnTo>
                        <a:pt x="374" y="339"/>
                      </a:lnTo>
                      <a:lnTo>
                        <a:pt x="373" y="345"/>
                      </a:lnTo>
                      <a:lnTo>
                        <a:pt x="372" y="351"/>
                      </a:lnTo>
                      <a:lnTo>
                        <a:pt x="376" y="357"/>
                      </a:lnTo>
                      <a:lnTo>
                        <a:pt x="380" y="367"/>
                      </a:lnTo>
                      <a:lnTo>
                        <a:pt x="389" y="372"/>
                      </a:lnTo>
                      <a:lnTo>
                        <a:pt x="400" y="376"/>
                      </a:lnTo>
                      <a:lnTo>
                        <a:pt x="405" y="379"/>
                      </a:lnTo>
                      <a:lnTo>
                        <a:pt x="402" y="388"/>
                      </a:lnTo>
                      <a:lnTo>
                        <a:pt x="400" y="398"/>
                      </a:lnTo>
                      <a:lnTo>
                        <a:pt x="400" y="402"/>
                      </a:lnTo>
                      <a:lnTo>
                        <a:pt x="392" y="403"/>
                      </a:lnTo>
                      <a:lnTo>
                        <a:pt x="385" y="409"/>
                      </a:lnTo>
                      <a:lnTo>
                        <a:pt x="387" y="420"/>
                      </a:lnTo>
                      <a:lnTo>
                        <a:pt x="385" y="427"/>
                      </a:lnTo>
                      <a:lnTo>
                        <a:pt x="372" y="430"/>
                      </a:lnTo>
                      <a:lnTo>
                        <a:pt x="366" y="431"/>
                      </a:lnTo>
                      <a:lnTo>
                        <a:pt x="355" y="442"/>
                      </a:lnTo>
                      <a:lnTo>
                        <a:pt x="350" y="450"/>
                      </a:lnTo>
                      <a:lnTo>
                        <a:pt x="351" y="461"/>
                      </a:lnTo>
                      <a:lnTo>
                        <a:pt x="345" y="461"/>
                      </a:lnTo>
                      <a:lnTo>
                        <a:pt x="334" y="462"/>
                      </a:lnTo>
                      <a:lnTo>
                        <a:pt x="327" y="462"/>
                      </a:lnTo>
                      <a:lnTo>
                        <a:pt x="321" y="457"/>
                      </a:lnTo>
                      <a:lnTo>
                        <a:pt x="314" y="453"/>
                      </a:lnTo>
                      <a:lnTo>
                        <a:pt x="307" y="444"/>
                      </a:lnTo>
                      <a:lnTo>
                        <a:pt x="303" y="438"/>
                      </a:lnTo>
                      <a:lnTo>
                        <a:pt x="303" y="431"/>
                      </a:lnTo>
                      <a:lnTo>
                        <a:pt x="296" y="423"/>
                      </a:lnTo>
                      <a:lnTo>
                        <a:pt x="292" y="419"/>
                      </a:lnTo>
                      <a:lnTo>
                        <a:pt x="281" y="413"/>
                      </a:lnTo>
                      <a:lnTo>
                        <a:pt x="278" y="407"/>
                      </a:lnTo>
                      <a:lnTo>
                        <a:pt x="274" y="400"/>
                      </a:lnTo>
                      <a:lnTo>
                        <a:pt x="277" y="393"/>
                      </a:lnTo>
                      <a:lnTo>
                        <a:pt x="280" y="384"/>
                      </a:lnTo>
                      <a:lnTo>
                        <a:pt x="281" y="377"/>
                      </a:lnTo>
                      <a:lnTo>
                        <a:pt x="281" y="361"/>
                      </a:lnTo>
                      <a:lnTo>
                        <a:pt x="271" y="357"/>
                      </a:lnTo>
                      <a:lnTo>
                        <a:pt x="262" y="357"/>
                      </a:lnTo>
                      <a:lnTo>
                        <a:pt x="253" y="362"/>
                      </a:lnTo>
                      <a:lnTo>
                        <a:pt x="252" y="369"/>
                      </a:lnTo>
                      <a:lnTo>
                        <a:pt x="243" y="374"/>
                      </a:lnTo>
                      <a:lnTo>
                        <a:pt x="235" y="379"/>
                      </a:lnTo>
                      <a:lnTo>
                        <a:pt x="234" y="384"/>
                      </a:lnTo>
                      <a:lnTo>
                        <a:pt x="230" y="389"/>
                      </a:lnTo>
                      <a:lnTo>
                        <a:pt x="214" y="389"/>
                      </a:lnTo>
                      <a:lnTo>
                        <a:pt x="209" y="391"/>
                      </a:lnTo>
                      <a:lnTo>
                        <a:pt x="207" y="398"/>
                      </a:lnTo>
                      <a:lnTo>
                        <a:pt x="212" y="403"/>
                      </a:lnTo>
                      <a:lnTo>
                        <a:pt x="209" y="403"/>
                      </a:lnTo>
                      <a:lnTo>
                        <a:pt x="201" y="403"/>
                      </a:lnTo>
                      <a:lnTo>
                        <a:pt x="193" y="401"/>
                      </a:lnTo>
                      <a:lnTo>
                        <a:pt x="186" y="396"/>
                      </a:lnTo>
                      <a:lnTo>
                        <a:pt x="175" y="388"/>
                      </a:lnTo>
                      <a:lnTo>
                        <a:pt x="172" y="385"/>
                      </a:lnTo>
                      <a:lnTo>
                        <a:pt x="177" y="382"/>
                      </a:lnTo>
                      <a:lnTo>
                        <a:pt x="177" y="378"/>
                      </a:lnTo>
                      <a:lnTo>
                        <a:pt x="172" y="375"/>
                      </a:lnTo>
                      <a:lnTo>
                        <a:pt x="166" y="370"/>
                      </a:lnTo>
                      <a:lnTo>
                        <a:pt x="166" y="364"/>
                      </a:lnTo>
                      <a:lnTo>
                        <a:pt x="167" y="356"/>
                      </a:lnTo>
                      <a:lnTo>
                        <a:pt x="162" y="354"/>
                      </a:lnTo>
                      <a:lnTo>
                        <a:pt x="156" y="351"/>
                      </a:lnTo>
                      <a:lnTo>
                        <a:pt x="149" y="347"/>
                      </a:lnTo>
                      <a:lnTo>
                        <a:pt x="143" y="340"/>
                      </a:lnTo>
                      <a:lnTo>
                        <a:pt x="141" y="334"/>
                      </a:lnTo>
                      <a:lnTo>
                        <a:pt x="134" y="326"/>
                      </a:lnTo>
                      <a:lnTo>
                        <a:pt x="130" y="322"/>
                      </a:lnTo>
                      <a:lnTo>
                        <a:pt x="121" y="314"/>
                      </a:lnTo>
                      <a:lnTo>
                        <a:pt x="110" y="309"/>
                      </a:lnTo>
                      <a:lnTo>
                        <a:pt x="99" y="306"/>
                      </a:lnTo>
                      <a:lnTo>
                        <a:pt x="90" y="305"/>
                      </a:lnTo>
                      <a:lnTo>
                        <a:pt x="81" y="305"/>
                      </a:lnTo>
                      <a:lnTo>
                        <a:pt x="72" y="302"/>
                      </a:lnTo>
                      <a:lnTo>
                        <a:pt x="66" y="299"/>
                      </a:lnTo>
                      <a:lnTo>
                        <a:pt x="61" y="295"/>
                      </a:lnTo>
                      <a:lnTo>
                        <a:pt x="57" y="286"/>
                      </a:lnTo>
                      <a:lnTo>
                        <a:pt x="53" y="279"/>
                      </a:lnTo>
                      <a:lnTo>
                        <a:pt x="50" y="271"/>
                      </a:lnTo>
                      <a:lnTo>
                        <a:pt x="46" y="265"/>
                      </a:lnTo>
                      <a:lnTo>
                        <a:pt x="43" y="263"/>
                      </a:lnTo>
                      <a:lnTo>
                        <a:pt x="47" y="260"/>
                      </a:lnTo>
                      <a:lnTo>
                        <a:pt x="51" y="258"/>
                      </a:lnTo>
                      <a:lnTo>
                        <a:pt x="57" y="258"/>
                      </a:lnTo>
                      <a:lnTo>
                        <a:pt x="63" y="259"/>
                      </a:lnTo>
                      <a:lnTo>
                        <a:pt x="66" y="261"/>
                      </a:lnTo>
                      <a:lnTo>
                        <a:pt x="71" y="263"/>
                      </a:lnTo>
                      <a:lnTo>
                        <a:pt x="74" y="261"/>
                      </a:lnTo>
                      <a:lnTo>
                        <a:pt x="74" y="255"/>
                      </a:lnTo>
                      <a:lnTo>
                        <a:pt x="74" y="248"/>
                      </a:lnTo>
                      <a:lnTo>
                        <a:pt x="75" y="239"/>
                      </a:lnTo>
                      <a:lnTo>
                        <a:pt x="72" y="231"/>
                      </a:lnTo>
                      <a:lnTo>
                        <a:pt x="70" y="227"/>
                      </a:lnTo>
                      <a:lnTo>
                        <a:pt x="67" y="228"/>
                      </a:lnTo>
                      <a:lnTo>
                        <a:pt x="65" y="230"/>
                      </a:lnTo>
                      <a:lnTo>
                        <a:pt x="59" y="231"/>
                      </a:lnTo>
                      <a:lnTo>
                        <a:pt x="54" y="231"/>
                      </a:lnTo>
                      <a:lnTo>
                        <a:pt x="50" y="230"/>
                      </a:lnTo>
                      <a:lnTo>
                        <a:pt x="47" y="227"/>
                      </a:lnTo>
                      <a:lnTo>
                        <a:pt x="42" y="224"/>
                      </a:lnTo>
                      <a:lnTo>
                        <a:pt x="39" y="220"/>
                      </a:lnTo>
                      <a:lnTo>
                        <a:pt x="42" y="216"/>
                      </a:lnTo>
                      <a:lnTo>
                        <a:pt x="44" y="211"/>
                      </a:lnTo>
                      <a:lnTo>
                        <a:pt x="45" y="207"/>
                      </a:lnTo>
                      <a:lnTo>
                        <a:pt x="43" y="203"/>
                      </a:lnTo>
                      <a:lnTo>
                        <a:pt x="45" y="200"/>
                      </a:lnTo>
                      <a:lnTo>
                        <a:pt x="51" y="198"/>
                      </a:lnTo>
                      <a:lnTo>
                        <a:pt x="54" y="196"/>
                      </a:lnTo>
                      <a:lnTo>
                        <a:pt x="57" y="194"/>
                      </a:lnTo>
                      <a:lnTo>
                        <a:pt x="55" y="190"/>
                      </a:lnTo>
                      <a:lnTo>
                        <a:pt x="51" y="187"/>
                      </a:lnTo>
                      <a:lnTo>
                        <a:pt x="45" y="186"/>
                      </a:lnTo>
                      <a:lnTo>
                        <a:pt x="41" y="186"/>
                      </a:lnTo>
                      <a:lnTo>
                        <a:pt x="38" y="188"/>
                      </a:lnTo>
                      <a:lnTo>
                        <a:pt x="33" y="187"/>
                      </a:lnTo>
                      <a:lnTo>
                        <a:pt x="21" y="187"/>
                      </a:lnTo>
                      <a:lnTo>
                        <a:pt x="17" y="189"/>
                      </a:lnTo>
                      <a:lnTo>
                        <a:pt x="18" y="193"/>
                      </a:lnTo>
                      <a:lnTo>
                        <a:pt x="14" y="193"/>
                      </a:lnTo>
                      <a:lnTo>
                        <a:pt x="10" y="190"/>
                      </a:lnTo>
                      <a:lnTo>
                        <a:pt x="8" y="183"/>
                      </a:lnTo>
                      <a:lnTo>
                        <a:pt x="9" y="175"/>
                      </a:lnTo>
                      <a:lnTo>
                        <a:pt x="9" y="172"/>
                      </a:lnTo>
                      <a:lnTo>
                        <a:pt x="5" y="174"/>
                      </a:lnTo>
                      <a:lnTo>
                        <a:pt x="4" y="182"/>
                      </a:lnTo>
                      <a:lnTo>
                        <a:pt x="3" y="179"/>
                      </a:lnTo>
                      <a:lnTo>
                        <a:pt x="0" y="172"/>
                      </a:lnTo>
                      <a:lnTo>
                        <a:pt x="3" y="163"/>
                      </a:lnTo>
                      <a:lnTo>
                        <a:pt x="11" y="163"/>
                      </a:lnTo>
                      <a:lnTo>
                        <a:pt x="13" y="167"/>
                      </a:lnTo>
                      <a:lnTo>
                        <a:pt x="17" y="166"/>
                      </a:lnTo>
                      <a:lnTo>
                        <a:pt x="21" y="162"/>
                      </a:lnTo>
                      <a:lnTo>
                        <a:pt x="17" y="158"/>
                      </a:lnTo>
                      <a:lnTo>
                        <a:pt x="12" y="159"/>
                      </a:lnTo>
                      <a:lnTo>
                        <a:pt x="10" y="155"/>
                      </a:lnTo>
                      <a:lnTo>
                        <a:pt x="14" y="148"/>
                      </a:lnTo>
                      <a:lnTo>
                        <a:pt x="23" y="148"/>
                      </a:lnTo>
                      <a:lnTo>
                        <a:pt x="28" y="151"/>
                      </a:lnTo>
                      <a:lnTo>
                        <a:pt x="32" y="151"/>
                      </a:lnTo>
                      <a:lnTo>
                        <a:pt x="36" y="148"/>
                      </a:lnTo>
                      <a:lnTo>
                        <a:pt x="43" y="148"/>
                      </a:lnTo>
                      <a:lnTo>
                        <a:pt x="47" y="150"/>
                      </a:lnTo>
                      <a:lnTo>
                        <a:pt x="52" y="152"/>
                      </a:lnTo>
                      <a:lnTo>
                        <a:pt x="55" y="149"/>
                      </a:lnTo>
                      <a:lnTo>
                        <a:pt x="60" y="145"/>
                      </a:lnTo>
                      <a:lnTo>
                        <a:pt x="64" y="141"/>
                      </a:lnTo>
                      <a:lnTo>
                        <a:pt x="69" y="137"/>
                      </a:lnTo>
                      <a:lnTo>
                        <a:pt x="75" y="138"/>
                      </a:lnTo>
                      <a:lnTo>
                        <a:pt x="77" y="133"/>
                      </a:lnTo>
                      <a:lnTo>
                        <a:pt x="76" y="128"/>
                      </a:lnTo>
                      <a:lnTo>
                        <a:pt x="76" y="121"/>
                      </a:lnTo>
                      <a:lnTo>
                        <a:pt x="72" y="114"/>
                      </a:lnTo>
                      <a:lnTo>
                        <a:pt x="66" y="108"/>
                      </a:lnTo>
                      <a:lnTo>
                        <a:pt x="63" y="104"/>
                      </a:lnTo>
                      <a:lnTo>
                        <a:pt x="63" y="100"/>
                      </a:lnTo>
                      <a:lnTo>
                        <a:pt x="54" y="92"/>
                      </a:lnTo>
                      <a:lnTo>
                        <a:pt x="50" y="93"/>
                      </a:lnTo>
                      <a:lnTo>
                        <a:pt x="47" y="93"/>
                      </a:lnTo>
                      <a:lnTo>
                        <a:pt x="46" y="90"/>
                      </a:lnTo>
                      <a:lnTo>
                        <a:pt x="50" y="86"/>
                      </a:lnTo>
                      <a:lnTo>
                        <a:pt x="46" y="80"/>
                      </a:lnTo>
                      <a:lnTo>
                        <a:pt x="41" y="75"/>
                      </a:lnTo>
                      <a:lnTo>
                        <a:pt x="36" y="71"/>
                      </a:lnTo>
                      <a:lnTo>
                        <a:pt x="35" y="67"/>
                      </a:lnTo>
                      <a:lnTo>
                        <a:pt x="30" y="64"/>
                      </a:lnTo>
                      <a:lnTo>
                        <a:pt x="24" y="60"/>
                      </a:lnTo>
                      <a:lnTo>
                        <a:pt x="25" y="51"/>
                      </a:lnTo>
                      <a:lnTo>
                        <a:pt x="27" y="46"/>
                      </a:lnTo>
                      <a:lnTo>
                        <a:pt x="24" y="39"/>
                      </a:lnTo>
                      <a:lnTo>
                        <a:pt x="21" y="35"/>
                      </a:lnTo>
                      <a:lnTo>
                        <a:pt x="17" y="31"/>
                      </a:lnTo>
                      <a:lnTo>
                        <a:pt x="14" y="26"/>
                      </a:lnTo>
                      <a:lnTo>
                        <a:pt x="13" y="18"/>
                      </a:lnTo>
                      <a:lnTo>
                        <a:pt x="16" y="13"/>
                      </a:lnTo>
                      <a:lnTo>
                        <a:pt x="15" y="6"/>
                      </a:lnTo>
                      <a:lnTo>
                        <a:pt x="17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47" name="Freeform 13">
                  <a:extLst>
                    <a:ext uri="{FF2B5EF4-FFF2-40B4-BE49-F238E27FC236}">
                      <a16:creationId xmlns:a16="http://schemas.microsoft.com/office/drawing/2014/main" id="{AACC57B0-3297-4BDD-AE1C-DAD8E3C3105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39770" y="1635125"/>
                  <a:ext cx="87313" cy="144463"/>
                </a:xfrm>
                <a:custGeom>
                  <a:avLst/>
                  <a:gdLst/>
                  <a:ahLst/>
                  <a:cxnLst>
                    <a:cxn ang="0">
                      <a:pos x="26" y="0"/>
                    </a:cxn>
                    <a:cxn ang="0">
                      <a:pos x="29" y="1"/>
                    </a:cxn>
                    <a:cxn ang="0">
                      <a:pos x="34" y="2"/>
                    </a:cxn>
                    <a:cxn ang="0">
                      <a:pos x="37" y="5"/>
                    </a:cxn>
                    <a:cxn ang="0">
                      <a:pos x="34" y="6"/>
                    </a:cxn>
                    <a:cxn ang="0">
                      <a:pos x="31" y="6"/>
                    </a:cxn>
                    <a:cxn ang="0">
                      <a:pos x="29" y="7"/>
                    </a:cxn>
                    <a:cxn ang="0">
                      <a:pos x="30" y="9"/>
                    </a:cxn>
                    <a:cxn ang="0">
                      <a:pos x="29" y="12"/>
                    </a:cxn>
                    <a:cxn ang="0">
                      <a:pos x="25" y="16"/>
                    </a:cxn>
                    <a:cxn ang="0">
                      <a:pos x="22" y="21"/>
                    </a:cxn>
                    <a:cxn ang="0">
                      <a:pos x="19" y="26"/>
                    </a:cxn>
                    <a:cxn ang="0">
                      <a:pos x="16" y="32"/>
                    </a:cxn>
                    <a:cxn ang="0">
                      <a:pos x="16" y="37"/>
                    </a:cxn>
                    <a:cxn ang="0">
                      <a:pos x="18" y="41"/>
                    </a:cxn>
                    <a:cxn ang="0">
                      <a:pos x="23" y="49"/>
                    </a:cxn>
                    <a:cxn ang="0">
                      <a:pos x="27" y="52"/>
                    </a:cxn>
                    <a:cxn ang="0">
                      <a:pos x="34" y="52"/>
                    </a:cxn>
                    <a:cxn ang="0">
                      <a:pos x="38" y="50"/>
                    </a:cxn>
                    <a:cxn ang="0">
                      <a:pos x="55" y="50"/>
                    </a:cxn>
                    <a:cxn ang="0">
                      <a:pos x="55" y="52"/>
                    </a:cxn>
                    <a:cxn ang="0">
                      <a:pos x="42" y="52"/>
                    </a:cxn>
                    <a:cxn ang="0">
                      <a:pos x="37" y="54"/>
                    </a:cxn>
                    <a:cxn ang="0">
                      <a:pos x="31" y="59"/>
                    </a:cxn>
                    <a:cxn ang="0">
                      <a:pos x="25" y="61"/>
                    </a:cxn>
                    <a:cxn ang="0">
                      <a:pos x="20" y="60"/>
                    </a:cxn>
                    <a:cxn ang="0">
                      <a:pos x="17" y="56"/>
                    </a:cxn>
                    <a:cxn ang="0">
                      <a:pos x="15" y="58"/>
                    </a:cxn>
                    <a:cxn ang="0">
                      <a:pos x="11" y="60"/>
                    </a:cxn>
                    <a:cxn ang="0">
                      <a:pos x="10" y="61"/>
                    </a:cxn>
                    <a:cxn ang="0">
                      <a:pos x="7" y="67"/>
                    </a:cxn>
                    <a:cxn ang="0">
                      <a:pos x="7" y="74"/>
                    </a:cxn>
                    <a:cxn ang="0">
                      <a:pos x="5" y="80"/>
                    </a:cxn>
                    <a:cxn ang="0">
                      <a:pos x="5" y="86"/>
                    </a:cxn>
                    <a:cxn ang="0">
                      <a:pos x="3" y="91"/>
                    </a:cxn>
                    <a:cxn ang="0">
                      <a:pos x="0" y="87"/>
                    </a:cxn>
                    <a:cxn ang="0">
                      <a:pos x="0" y="67"/>
                    </a:cxn>
                    <a:cxn ang="0">
                      <a:pos x="5" y="55"/>
                    </a:cxn>
                    <a:cxn ang="0">
                      <a:pos x="3" y="46"/>
                    </a:cxn>
                    <a:cxn ang="0">
                      <a:pos x="9" y="34"/>
                    </a:cxn>
                    <a:cxn ang="0">
                      <a:pos x="12" y="26"/>
                    </a:cxn>
                    <a:cxn ang="0">
                      <a:pos x="15" y="23"/>
                    </a:cxn>
                    <a:cxn ang="0">
                      <a:pos x="17" y="19"/>
                    </a:cxn>
                    <a:cxn ang="0">
                      <a:pos x="20" y="14"/>
                    </a:cxn>
                    <a:cxn ang="0">
                      <a:pos x="22" y="9"/>
                    </a:cxn>
                    <a:cxn ang="0">
                      <a:pos x="25" y="4"/>
                    </a:cxn>
                    <a:cxn ang="0">
                      <a:pos x="26" y="0"/>
                    </a:cxn>
                  </a:cxnLst>
                  <a:rect l="0" t="0" r="r" b="b"/>
                  <a:pathLst>
                    <a:path w="55" h="91">
                      <a:moveTo>
                        <a:pt x="26" y="0"/>
                      </a:moveTo>
                      <a:lnTo>
                        <a:pt x="29" y="1"/>
                      </a:lnTo>
                      <a:lnTo>
                        <a:pt x="34" y="2"/>
                      </a:lnTo>
                      <a:lnTo>
                        <a:pt x="37" y="5"/>
                      </a:lnTo>
                      <a:lnTo>
                        <a:pt x="34" y="6"/>
                      </a:lnTo>
                      <a:lnTo>
                        <a:pt x="31" y="6"/>
                      </a:lnTo>
                      <a:lnTo>
                        <a:pt x="29" y="7"/>
                      </a:lnTo>
                      <a:lnTo>
                        <a:pt x="30" y="9"/>
                      </a:lnTo>
                      <a:lnTo>
                        <a:pt x="29" y="12"/>
                      </a:lnTo>
                      <a:lnTo>
                        <a:pt x="25" y="16"/>
                      </a:lnTo>
                      <a:lnTo>
                        <a:pt x="22" y="21"/>
                      </a:lnTo>
                      <a:lnTo>
                        <a:pt x="19" y="26"/>
                      </a:lnTo>
                      <a:lnTo>
                        <a:pt x="16" y="32"/>
                      </a:lnTo>
                      <a:lnTo>
                        <a:pt x="16" y="37"/>
                      </a:lnTo>
                      <a:lnTo>
                        <a:pt x="18" y="41"/>
                      </a:lnTo>
                      <a:lnTo>
                        <a:pt x="23" y="49"/>
                      </a:lnTo>
                      <a:lnTo>
                        <a:pt x="27" y="52"/>
                      </a:lnTo>
                      <a:lnTo>
                        <a:pt x="34" y="52"/>
                      </a:lnTo>
                      <a:lnTo>
                        <a:pt x="38" y="50"/>
                      </a:lnTo>
                      <a:lnTo>
                        <a:pt x="55" y="50"/>
                      </a:lnTo>
                      <a:lnTo>
                        <a:pt x="55" y="52"/>
                      </a:lnTo>
                      <a:lnTo>
                        <a:pt x="42" y="52"/>
                      </a:lnTo>
                      <a:lnTo>
                        <a:pt x="37" y="54"/>
                      </a:lnTo>
                      <a:lnTo>
                        <a:pt x="31" y="59"/>
                      </a:lnTo>
                      <a:lnTo>
                        <a:pt x="25" y="61"/>
                      </a:lnTo>
                      <a:lnTo>
                        <a:pt x="20" y="60"/>
                      </a:lnTo>
                      <a:lnTo>
                        <a:pt x="17" y="56"/>
                      </a:lnTo>
                      <a:lnTo>
                        <a:pt x="15" y="58"/>
                      </a:lnTo>
                      <a:lnTo>
                        <a:pt x="11" y="60"/>
                      </a:lnTo>
                      <a:lnTo>
                        <a:pt x="10" y="61"/>
                      </a:lnTo>
                      <a:lnTo>
                        <a:pt x="7" y="67"/>
                      </a:lnTo>
                      <a:lnTo>
                        <a:pt x="7" y="74"/>
                      </a:lnTo>
                      <a:lnTo>
                        <a:pt x="5" y="80"/>
                      </a:lnTo>
                      <a:lnTo>
                        <a:pt x="5" y="86"/>
                      </a:lnTo>
                      <a:lnTo>
                        <a:pt x="3" y="91"/>
                      </a:lnTo>
                      <a:lnTo>
                        <a:pt x="0" y="87"/>
                      </a:lnTo>
                      <a:lnTo>
                        <a:pt x="0" y="67"/>
                      </a:lnTo>
                      <a:lnTo>
                        <a:pt x="5" y="55"/>
                      </a:lnTo>
                      <a:lnTo>
                        <a:pt x="3" y="46"/>
                      </a:lnTo>
                      <a:lnTo>
                        <a:pt x="9" y="34"/>
                      </a:lnTo>
                      <a:lnTo>
                        <a:pt x="12" y="26"/>
                      </a:lnTo>
                      <a:lnTo>
                        <a:pt x="15" y="23"/>
                      </a:lnTo>
                      <a:lnTo>
                        <a:pt x="17" y="19"/>
                      </a:lnTo>
                      <a:lnTo>
                        <a:pt x="20" y="14"/>
                      </a:lnTo>
                      <a:lnTo>
                        <a:pt x="22" y="9"/>
                      </a:lnTo>
                      <a:lnTo>
                        <a:pt x="25" y="4"/>
                      </a:lnTo>
                      <a:lnTo>
                        <a:pt x="2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48" name="Freeform 14">
                  <a:extLst>
                    <a:ext uri="{FF2B5EF4-FFF2-40B4-BE49-F238E27FC236}">
                      <a16:creationId xmlns:a16="http://schemas.microsoft.com/office/drawing/2014/main" id="{3CB911D7-C40D-416B-A217-354A4C4DFE8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52470" y="1806575"/>
                  <a:ext cx="36513" cy="41275"/>
                </a:xfrm>
                <a:custGeom>
                  <a:avLst/>
                  <a:gdLst/>
                  <a:ahLst/>
                  <a:cxnLst>
                    <a:cxn ang="0">
                      <a:pos x="10" y="0"/>
                    </a:cxn>
                    <a:cxn ang="0">
                      <a:pos x="11" y="1"/>
                    </a:cxn>
                    <a:cxn ang="0">
                      <a:pos x="10" y="8"/>
                    </a:cxn>
                    <a:cxn ang="0">
                      <a:pos x="14" y="12"/>
                    </a:cxn>
                    <a:cxn ang="0">
                      <a:pos x="20" y="16"/>
                    </a:cxn>
                    <a:cxn ang="0">
                      <a:pos x="23" y="21"/>
                    </a:cxn>
                    <a:cxn ang="0">
                      <a:pos x="19" y="24"/>
                    </a:cxn>
                    <a:cxn ang="0">
                      <a:pos x="17" y="25"/>
                    </a:cxn>
                    <a:cxn ang="0">
                      <a:pos x="13" y="26"/>
                    </a:cxn>
                    <a:cxn ang="0">
                      <a:pos x="10" y="26"/>
                    </a:cxn>
                    <a:cxn ang="0">
                      <a:pos x="6" y="22"/>
                    </a:cxn>
                    <a:cxn ang="0">
                      <a:pos x="3" y="18"/>
                    </a:cxn>
                    <a:cxn ang="0">
                      <a:pos x="0" y="14"/>
                    </a:cxn>
                    <a:cxn ang="0">
                      <a:pos x="0" y="9"/>
                    </a:cxn>
                    <a:cxn ang="0">
                      <a:pos x="3" y="7"/>
                    </a:cxn>
                    <a:cxn ang="0">
                      <a:pos x="3" y="3"/>
                    </a:cxn>
                    <a:cxn ang="0">
                      <a:pos x="6" y="1"/>
                    </a:cxn>
                    <a:cxn ang="0">
                      <a:pos x="10" y="0"/>
                    </a:cxn>
                  </a:cxnLst>
                  <a:rect l="0" t="0" r="r" b="b"/>
                  <a:pathLst>
                    <a:path w="23" h="26">
                      <a:moveTo>
                        <a:pt x="10" y="0"/>
                      </a:moveTo>
                      <a:lnTo>
                        <a:pt x="11" y="1"/>
                      </a:lnTo>
                      <a:lnTo>
                        <a:pt x="10" y="8"/>
                      </a:lnTo>
                      <a:lnTo>
                        <a:pt x="14" y="12"/>
                      </a:lnTo>
                      <a:lnTo>
                        <a:pt x="20" y="16"/>
                      </a:lnTo>
                      <a:lnTo>
                        <a:pt x="23" y="21"/>
                      </a:lnTo>
                      <a:lnTo>
                        <a:pt x="19" y="24"/>
                      </a:lnTo>
                      <a:lnTo>
                        <a:pt x="17" y="25"/>
                      </a:lnTo>
                      <a:lnTo>
                        <a:pt x="13" y="26"/>
                      </a:lnTo>
                      <a:lnTo>
                        <a:pt x="10" y="26"/>
                      </a:lnTo>
                      <a:lnTo>
                        <a:pt x="6" y="22"/>
                      </a:lnTo>
                      <a:lnTo>
                        <a:pt x="3" y="18"/>
                      </a:lnTo>
                      <a:lnTo>
                        <a:pt x="0" y="14"/>
                      </a:lnTo>
                      <a:lnTo>
                        <a:pt x="0" y="9"/>
                      </a:lnTo>
                      <a:lnTo>
                        <a:pt x="3" y="7"/>
                      </a:lnTo>
                      <a:lnTo>
                        <a:pt x="3" y="3"/>
                      </a:lnTo>
                      <a:lnTo>
                        <a:pt x="6" y="1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49" name="Freeform 15">
                  <a:extLst>
                    <a:ext uri="{FF2B5EF4-FFF2-40B4-BE49-F238E27FC236}">
                      <a16:creationId xmlns:a16="http://schemas.microsoft.com/office/drawing/2014/main" id="{CA9723BA-63AC-430A-9E6B-16F27294B07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85808" y="1781175"/>
                  <a:ext cx="53975" cy="31750"/>
                </a:xfrm>
                <a:custGeom>
                  <a:avLst/>
                  <a:gdLst/>
                  <a:ahLst/>
                  <a:cxnLst>
                    <a:cxn ang="0">
                      <a:pos x="27" y="0"/>
                    </a:cxn>
                    <a:cxn ang="0">
                      <a:pos x="32" y="4"/>
                    </a:cxn>
                    <a:cxn ang="0">
                      <a:pos x="34" y="9"/>
                    </a:cxn>
                    <a:cxn ang="0">
                      <a:pos x="31" y="16"/>
                    </a:cxn>
                    <a:cxn ang="0">
                      <a:pos x="27" y="18"/>
                    </a:cxn>
                    <a:cxn ang="0">
                      <a:pos x="20" y="20"/>
                    </a:cxn>
                    <a:cxn ang="0">
                      <a:pos x="14" y="20"/>
                    </a:cxn>
                    <a:cxn ang="0">
                      <a:pos x="9" y="17"/>
                    </a:cxn>
                    <a:cxn ang="0">
                      <a:pos x="7" y="15"/>
                    </a:cxn>
                    <a:cxn ang="0">
                      <a:pos x="3" y="17"/>
                    </a:cxn>
                    <a:cxn ang="0">
                      <a:pos x="0" y="15"/>
                    </a:cxn>
                    <a:cxn ang="0">
                      <a:pos x="0" y="11"/>
                    </a:cxn>
                    <a:cxn ang="0">
                      <a:pos x="1" y="6"/>
                    </a:cxn>
                    <a:cxn ang="0">
                      <a:pos x="5" y="2"/>
                    </a:cxn>
                    <a:cxn ang="0">
                      <a:pos x="9" y="1"/>
                    </a:cxn>
                    <a:cxn ang="0">
                      <a:pos x="24" y="1"/>
                    </a:cxn>
                    <a:cxn ang="0">
                      <a:pos x="27" y="0"/>
                    </a:cxn>
                  </a:cxnLst>
                  <a:rect l="0" t="0" r="r" b="b"/>
                  <a:pathLst>
                    <a:path w="34" h="20">
                      <a:moveTo>
                        <a:pt x="27" y="0"/>
                      </a:moveTo>
                      <a:lnTo>
                        <a:pt x="32" y="4"/>
                      </a:lnTo>
                      <a:lnTo>
                        <a:pt x="34" y="9"/>
                      </a:lnTo>
                      <a:lnTo>
                        <a:pt x="31" y="16"/>
                      </a:lnTo>
                      <a:lnTo>
                        <a:pt x="27" y="18"/>
                      </a:lnTo>
                      <a:lnTo>
                        <a:pt x="20" y="20"/>
                      </a:lnTo>
                      <a:lnTo>
                        <a:pt x="14" y="20"/>
                      </a:lnTo>
                      <a:lnTo>
                        <a:pt x="9" y="17"/>
                      </a:lnTo>
                      <a:lnTo>
                        <a:pt x="7" y="15"/>
                      </a:lnTo>
                      <a:lnTo>
                        <a:pt x="3" y="17"/>
                      </a:lnTo>
                      <a:lnTo>
                        <a:pt x="0" y="15"/>
                      </a:lnTo>
                      <a:lnTo>
                        <a:pt x="0" y="11"/>
                      </a:lnTo>
                      <a:lnTo>
                        <a:pt x="1" y="6"/>
                      </a:lnTo>
                      <a:lnTo>
                        <a:pt x="5" y="2"/>
                      </a:lnTo>
                      <a:lnTo>
                        <a:pt x="9" y="1"/>
                      </a:lnTo>
                      <a:lnTo>
                        <a:pt x="24" y="1"/>
                      </a:lnTo>
                      <a:lnTo>
                        <a:pt x="27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50" name="Freeform 16">
                  <a:extLst>
                    <a:ext uri="{FF2B5EF4-FFF2-40B4-BE49-F238E27FC236}">
                      <a16:creationId xmlns:a16="http://schemas.microsoft.com/office/drawing/2014/main" id="{D244325C-B5E1-467A-8300-865753BFDE0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015970" y="1809750"/>
                  <a:ext cx="49213" cy="33338"/>
                </a:xfrm>
                <a:custGeom>
                  <a:avLst/>
                  <a:gdLst/>
                  <a:ahLst/>
                  <a:cxnLst>
                    <a:cxn ang="0">
                      <a:pos x="29" y="0"/>
                    </a:cxn>
                    <a:cxn ang="0">
                      <a:pos x="31" y="2"/>
                    </a:cxn>
                    <a:cxn ang="0">
                      <a:pos x="31" y="4"/>
                    </a:cxn>
                    <a:cxn ang="0">
                      <a:pos x="30" y="9"/>
                    </a:cxn>
                    <a:cxn ang="0">
                      <a:pos x="26" y="12"/>
                    </a:cxn>
                    <a:cxn ang="0">
                      <a:pos x="23" y="15"/>
                    </a:cxn>
                    <a:cxn ang="0">
                      <a:pos x="20" y="17"/>
                    </a:cxn>
                    <a:cxn ang="0">
                      <a:pos x="17" y="17"/>
                    </a:cxn>
                    <a:cxn ang="0">
                      <a:pos x="13" y="19"/>
                    </a:cxn>
                    <a:cxn ang="0">
                      <a:pos x="8" y="21"/>
                    </a:cxn>
                    <a:cxn ang="0">
                      <a:pos x="2" y="21"/>
                    </a:cxn>
                    <a:cxn ang="0">
                      <a:pos x="0" y="19"/>
                    </a:cxn>
                    <a:cxn ang="0">
                      <a:pos x="2" y="15"/>
                    </a:cxn>
                    <a:cxn ang="0">
                      <a:pos x="8" y="15"/>
                    </a:cxn>
                    <a:cxn ang="0">
                      <a:pos x="15" y="13"/>
                    </a:cxn>
                    <a:cxn ang="0">
                      <a:pos x="19" y="13"/>
                    </a:cxn>
                    <a:cxn ang="0">
                      <a:pos x="23" y="11"/>
                    </a:cxn>
                    <a:cxn ang="0">
                      <a:pos x="26" y="8"/>
                    </a:cxn>
                    <a:cxn ang="0">
                      <a:pos x="26" y="4"/>
                    </a:cxn>
                    <a:cxn ang="0">
                      <a:pos x="29" y="0"/>
                    </a:cxn>
                  </a:cxnLst>
                  <a:rect l="0" t="0" r="r" b="b"/>
                  <a:pathLst>
                    <a:path w="31" h="21">
                      <a:moveTo>
                        <a:pt x="29" y="0"/>
                      </a:moveTo>
                      <a:lnTo>
                        <a:pt x="31" y="2"/>
                      </a:lnTo>
                      <a:lnTo>
                        <a:pt x="31" y="4"/>
                      </a:lnTo>
                      <a:lnTo>
                        <a:pt x="30" y="9"/>
                      </a:lnTo>
                      <a:lnTo>
                        <a:pt x="26" y="12"/>
                      </a:lnTo>
                      <a:lnTo>
                        <a:pt x="23" y="15"/>
                      </a:lnTo>
                      <a:lnTo>
                        <a:pt x="20" y="17"/>
                      </a:lnTo>
                      <a:lnTo>
                        <a:pt x="17" y="17"/>
                      </a:lnTo>
                      <a:lnTo>
                        <a:pt x="13" y="19"/>
                      </a:lnTo>
                      <a:lnTo>
                        <a:pt x="8" y="21"/>
                      </a:lnTo>
                      <a:lnTo>
                        <a:pt x="2" y="21"/>
                      </a:lnTo>
                      <a:lnTo>
                        <a:pt x="0" y="19"/>
                      </a:lnTo>
                      <a:lnTo>
                        <a:pt x="2" y="15"/>
                      </a:lnTo>
                      <a:lnTo>
                        <a:pt x="8" y="15"/>
                      </a:lnTo>
                      <a:lnTo>
                        <a:pt x="15" y="13"/>
                      </a:lnTo>
                      <a:lnTo>
                        <a:pt x="19" y="13"/>
                      </a:lnTo>
                      <a:lnTo>
                        <a:pt x="23" y="11"/>
                      </a:lnTo>
                      <a:lnTo>
                        <a:pt x="26" y="8"/>
                      </a:lnTo>
                      <a:lnTo>
                        <a:pt x="26" y="4"/>
                      </a:lnTo>
                      <a:lnTo>
                        <a:pt x="29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51" name="Freeform 17">
                  <a:extLst>
                    <a:ext uri="{FF2B5EF4-FFF2-40B4-BE49-F238E27FC236}">
                      <a16:creationId xmlns:a16="http://schemas.microsoft.com/office/drawing/2014/main" id="{715B59BF-BDAC-4C06-B295-068924DCA92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003270" y="1854200"/>
                  <a:ext cx="17463" cy="11113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9" y="2"/>
                    </a:cxn>
                    <a:cxn ang="0">
                      <a:pos x="11" y="3"/>
                    </a:cxn>
                    <a:cxn ang="0">
                      <a:pos x="9" y="6"/>
                    </a:cxn>
                    <a:cxn ang="0">
                      <a:pos x="5" y="7"/>
                    </a:cxn>
                    <a:cxn ang="0">
                      <a:pos x="0" y="5"/>
                    </a:cxn>
                    <a:cxn ang="0">
                      <a:pos x="0" y="3"/>
                    </a:cxn>
                    <a:cxn ang="0">
                      <a:pos x="3" y="1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11" h="7">
                      <a:moveTo>
                        <a:pt x="7" y="0"/>
                      </a:moveTo>
                      <a:lnTo>
                        <a:pt x="9" y="2"/>
                      </a:lnTo>
                      <a:lnTo>
                        <a:pt x="11" y="3"/>
                      </a:lnTo>
                      <a:lnTo>
                        <a:pt x="9" y="6"/>
                      </a:lnTo>
                      <a:lnTo>
                        <a:pt x="5" y="7"/>
                      </a:lnTo>
                      <a:lnTo>
                        <a:pt x="0" y="5"/>
                      </a:lnTo>
                      <a:lnTo>
                        <a:pt x="0" y="3"/>
                      </a:lnTo>
                      <a:lnTo>
                        <a:pt x="3" y="1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52" name="Freeform 18">
                  <a:extLst>
                    <a:ext uri="{FF2B5EF4-FFF2-40B4-BE49-F238E27FC236}">
                      <a16:creationId xmlns:a16="http://schemas.microsoft.com/office/drawing/2014/main" id="{15B93356-96F9-480E-88AA-2FA7DCEDA96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063595" y="1833563"/>
                  <a:ext cx="11113" cy="635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5" y="0"/>
                    </a:cxn>
                    <a:cxn ang="0">
                      <a:pos x="7" y="2"/>
                    </a:cxn>
                    <a:cxn ang="0">
                      <a:pos x="4" y="4"/>
                    </a:cxn>
                    <a:cxn ang="0">
                      <a:pos x="0" y="4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7" h="4">
                      <a:moveTo>
                        <a:pt x="1" y="0"/>
                      </a:moveTo>
                      <a:lnTo>
                        <a:pt x="5" y="0"/>
                      </a:lnTo>
                      <a:lnTo>
                        <a:pt x="7" y="2"/>
                      </a:lnTo>
                      <a:lnTo>
                        <a:pt x="4" y="4"/>
                      </a:lnTo>
                      <a:lnTo>
                        <a:pt x="0" y="4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53" name="Freeform 19">
                  <a:extLst>
                    <a:ext uri="{FF2B5EF4-FFF2-40B4-BE49-F238E27FC236}">
                      <a16:creationId xmlns:a16="http://schemas.microsoft.com/office/drawing/2014/main" id="{7A29D31C-4115-4E7B-AAB0-E714DBD1D28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079470" y="1865313"/>
                  <a:ext cx="19050" cy="14288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7" y="2"/>
                    </a:cxn>
                    <a:cxn ang="0">
                      <a:pos x="10" y="2"/>
                    </a:cxn>
                    <a:cxn ang="0">
                      <a:pos x="12" y="0"/>
                    </a:cxn>
                    <a:cxn ang="0">
                      <a:pos x="12" y="2"/>
                    </a:cxn>
                    <a:cxn ang="0">
                      <a:pos x="9" y="5"/>
                    </a:cxn>
                    <a:cxn ang="0">
                      <a:pos x="8" y="8"/>
                    </a:cxn>
                    <a:cxn ang="0">
                      <a:pos x="3" y="9"/>
                    </a:cxn>
                    <a:cxn ang="0">
                      <a:pos x="1" y="6"/>
                    </a:cxn>
                    <a:cxn ang="0">
                      <a:pos x="0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12" h="9">
                      <a:moveTo>
                        <a:pt x="3" y="0"/>
                      </a:moveTo>
                      <a:lnTo>
                        <a:pt x="7" y="2"/>
                      </a:lnTo>
                      <a:lnTo>
                        <a:pt x="10" y="2"/>
                      </a:lnTo>
                      <a:lnTo>
                        <a:pt x="12" y="0"/>
                      </a:lnTo>
                      <a:lnTo>
                        <a:pt x="12" y="2"/>
                      </a:lnTo>
                      <a:lnTo>
                        <a:pt x="9" y="5"/>
                      </a:lnTo>
                      <a:lnTo>
                        <a:pt x="8" y="8"/>
                      </a:lnTo>
                      <a:lnTo>
                        <a:pt x="3" y="9"/>
                      </a:lnTo>
                      <a:lnTo>
                        <a:pt x="1" y="6"/>
                      </a:lnTo>
                      <a:lnTo>
                        <a:pt x="0" y="1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54" name="Freeform 20">
                  <a:extLst>
                    <a:ext uri="{FF2B5EF4-FFF2-40B4-BE49-F238E27FC236}">
                      <a16:creationId xmlns:a16="http://schemas.microsoft.com/office/drawing/2014/main" id="{30327F0A-A2EB-436E-8044-1BEED962C23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023908" y="1870075"/>
                  <a:ext cx="34925" cy="30163"/>
                </a:xfrm>
                <a:custGeom>
                  <a:avLst/>
                  <a:gdLst/>
                  <a:ahLst/>
                  <a:cxnLst>
                    <a:cxn ang="0">
                      <a:pos x="18" y="0"/>
                    </a:cxn>
                    <a:cxn ang="0">
                      <a:pos x="22" y="1"/>
                    </a:cxn>
                    <a:cxn ang="0">
                      <a:pos x="22" y="8"/>
                    </a:cxn>
                    <a:cxn ang="0">
                      <a:pos x="19" y="10"/>
                    </a:cxn>
                    <a:cxn ang="0">
                      <a:pos x="18" y="14"/>
                    </a:cxn>
                    <a:cxn ang="0">
                      <a:pos x="16" y="18"/>
                    </a:cxn>
                    <a:cxn ang="0">
                      <a:pos x="12" y="19"/>
                    </a:cxn>
                    <a:cxn ang="0">
                      <a:pos x="7" y="19"/>
                    </a:cxn>
                    <a:cxn ang="0">
                      <a:pos x="4" y="16"/>
                    </a:cxn>
                    <a:cxn ang="0">
                      <a:pos x="3" y="14"/>
                    </a:cxn>
                    <a:cxn ang="0">
                      <a:pos x="0" y="12"/>
                    </a:cxn>
                    <a:cxn ang="0">
                      <a:pos x="0" y="8"/>
                    </a:cxn>
                    <a:cxn ang="0">
                      <a:pos x="1" y="7"/>
                    </a:cxn>
                    <a:cxn ang="0">
                      <a:pos x="7" y="8"/>
                    </a:cxn>
                    <a:cxn ang="0">
                      <a:pos x="7" y="4"/>
                    </a:cxn>
                    <a:cxn ang="0">
                      <a:pos x="10" y="3"/>
                    </a:cxn>
                    <a:cxn ang="0">
                      <a:pos x="18" y="0"/>
                    </a:cxn>
                  </a:cxnLst>
                  <a:rect l="0" t="0" r="r" b="b"/>
                  <a:pathLst>
                    <a:path w="22" h="19">
                      <a:moveTo>
                        <a:pt x="18" y="0"/>
                      </a:moveTo>
                      <a:lnTo>
                        <a:pt x="22" y="1"/>
                      </a:lnTo>
                      <a:lnTo>
                        <a:pt x="22" y="8"/>
                      </a:lnTo>
                      <a:lnTo>
                        <a:pt x="19" y="10"/>
                      </a:lnTo>
                      <a:lnTo>
                        <a:pt x="18" y="14"/>
                      </a:lnTo>
                      <a:lnTo>
                        <a:pt x="16" y="18"/>
                      </a:lnTo>
                      <a:lnTo>
                        <a:pt x="12" y="19"/>
                      </a:lnTo>
                      <a:lnTo>
                        <a:pt x="7" y="19"/>
                      </a:lnTo>
                      <a:lnTo>
                        <a:pt x="4" y="16"/>
                      </a:lnTo>
                      <a:lnTo>
                        <a:pt x="3" y="14"/>
                      </a:lnTo>
                      <a:lnTo>
                        <a:pt x="0" y="12"/>
                      </a:lnTo>
                      <a:lnTo>
                        <a:pt x="0" y="8"/>
                      </a:lnTo>
                      <a:lnTo>
                        <a:pt x="1" y="7"/>
                      </a:lnTo>
                      <a:lnTo>
                        <a:pt x="7" y="8"/>
                      </a:lnTo>
                      <a:lnTo>
                        <a:pt x="7" y="4"/>
                      </a:lnTo>
                      <a:lnTo>
                        <a:pt x="10" y="3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55" name="Freeform 21">
                  <a:extLst>
                    <a:ext uri="{FF2B5EF4-FFF2-40B4-BE49-F238E27FC236}">
                      <a16:creationId xmlns:a16="http://schemas.microsoft.com/office/drawing/2014/main" id="{34087F7F-89A5-4A30-BD2C-C36BE75C245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85808" y="1909763"/>
                  <a:ext cx="14288" cy="20638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6" y="0"/>
                    </a:cxn>
                    <a:cxn ang="0">
                      <a:pos x="7" y="2"/>
                    </a:cxn>
                    <a:cxn ang="0">
                      <a:pos x="9" y="5"/>
                    </a:cxn>
                    <a:cxn ang="0">
                      <a:pos x="9" y="10"/>
                    </a:cxn>
                    <a:cxn ang="0">
                      <a:pos x="7" y="13"/>
                    </a:cxn>
                    <a:cxn ang="0">
                      <a:pos x="3" y="9"/>
                    </a:cxn>
                    <a:cxn ang="0">
                      <a:pos x="0" y="8"/>
                    </a:cxn>
                    <a:cxn ang="0">
                      <a:pos x="0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" h="13">
                      <a:moveTo>
                        <a:pt x="2" y="0"/>
                      </a:moveTo>
                      <a:lnTo>
                        <a:pt x="6" y="0"/>
                      </a:lnTo>
                      <a:lnTo>
                        <a:pt x="7" y="2"/>
                      </a:lnTo>
                      <a:lnTo>
                        <a:pt x="9" y="5"/>
                      </a:lnTo>
                      <a:lnTo>
                        <a:pt x="9" y="10"/>
                      </a:lnTo>
                      <a:lnTo>
                        <a:pt x="7" y="13"/>
                      </a:lnTo>
                      <a:lnTo>
                        <a:pt x="3" y="9"/>
                      </a:lnTo>
                      <a:lnTo>
                        <a:pt x="0" y="8"/>
                      </a:lnTo>
                      <a:lnTo>
                        <a:pt x="0" y="3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56" name="Freeform 22">
                  <a:extLst>
                    <a:ext uri="{FF2B5EF4-FFF2-40B4-BE49-F238E27FC236}">
                      <a16:creationId xmlns:a16="http://schemas.microsoft.com/office/drawing/2014/main" id="{17A4DEB6-0228-49B9-8DFE-000FE073D44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082645" y="1884363"/>
                  <a:ext cx="41275" cy="28575"/>
                </a:xfrm>
                <a:custGeom>
                  <a:avLst/>
                  <a:gdLst/>
                  <a:ahLst/>
                  <a:cxnLst>
                    <a:cxn ang="0">
                      <a:pos x="10" y="0"/>
                    </a:cxn>
                    <a:cxn ang="0">
                      <a:pos x="15" y="1"/>
                    </a:cxn>
                    <a:cxn ang="0">
                      <a:pos x="23" y="1"/>
                    </a:cxn>
                    <a:cxn ang="0">
                      <a:pos x="26" y="3"/>
                    </a:cxn>
                    <a:cxn ang="0">
                      <a:pos x="26" y="4"/>
                    </a:cxn>
                    <a:cxn ang="0">
                      <a:pos x="23" y="7"/>
                    </a:cxn>
                    <a:cxn ang="0">
                      <a:pos x="22" y="12"/>
                    </a:cxn>
                    <a:cxn ang="0">
                      <a:pos x="20" y="16"/>
                    </a:cxn>
                    <a:cxn ang="0">
                      <a:pos x="16" y="18"/>
                    </a:cxn>
                    <a:cxn ang="0">
                      <a:pos x="4" y="18"/>
                    </a:cxn>
                    <a:cxn ang="0">
                      <a:pos x="0" y="16"/>
                    </a:cxn>
                    <a:cxn ang="0">
                      <a:pos x="1" y="14"/>
                    </a:cxn>
                    <a:cxn ang="0">
                      <a:pos x="1" y="9"/>
                    </a:cxn>
                    <a:cxn ang="0">
                      <a:pos x="6" y="4"/>
                    </a:cxn>
                    <a:cxn ang="0">
                      <a:pos x="10" y="0"/>
                    </a:cxn>
                  </a:cxnLst>
                  <a:rect l="0" t="0" r="r" b="b"/>
                  <a:pathLst>
                    <a:path w="26" h="18">
                      <a:moveTo>
                        <a:pt x="10" y="0"/>
                      </a:moveTo>
                      <a:lnTo>
                        <a:pt x="15" y="1"/>
                      </a:lnTo>
                      <a:lnTo>
                        <a:pt x="23" y="1"/>
                      </a:lnTo>
                      <a:lnTo>
                        <a:pt x="26" y="3"/>
                      </a:lnTo>
                      <a:lnTo>
                        <a:pt x="26" y="4"/>
                      </a:lnTo>
                      <a:lnTo>
                        <a:pt x="23" y="7"/>
                      </a:lnTo>
                      <a:lnTo>
                        <a:pt x="22" y="12"/>
                      </a:lnTo>
                      <a:lnTo>
                        <a:pt x="20" y="16"/>
                      </a:lnTo>
                      <a:lnTo>
                        <a:pt x="16" y="18"/>
                      </a:lnTo>
                      <a:lnTo>
                        <a:pt x="4" y="18"/>
                      </a:lnTo>
                      <a:lnTo>
                        <a:pt x="0" y="16"/>
                      </a:lnTo>
                      <a:lnTo>
                        <a:pt x="1" y="14"/>
                      </a:lnTo>
                      <a:lnTo>
                        <a:pt x="1" y="9"/>
                      </a:lnTo>
                      <a:lnTo>
                        <a:pt x="6" y="4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57" name="Freeform 23">
                  <a:extLst>
                    <a:ext uri="{FF2B5EF4-FFF2-40B4-BE49-F238E27FC236}">
                      <a16:creationId xmlns:a16="http://schemas.microsoft.com/office/drawing/2014/main" id="{7F336276-2119-4CCA-B0DE-8EA83583D04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038195" y="2070100"/>
                  <a:ext cx="9525" cy="7938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5" y="2"/>
                    </a:cxn>
                    <a:cxn ang="0">
                      <a:pos x="6" y="5"/>
                    </a:cxn>
                    <a:cxn ang="0">
                      <a:pos x="3" y="5"/>
                    </a:cxn>
                    <a:cxn ang="0">
                      <a:pos x="0" y="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5">
                      <a:moveTo>
                        <a:pt x="2" y="0"/>
                      </a:moveTo>
                      <a:lnTo>
                        <a:pt x="5" y="2"/>
                      </a:lnTo>
                      <a:lnTo>
                        <a:pt x="6" y="5"/>
                      </a:lnTo>
                      <a:lnTo>
                        <a:pt x="3" y="5"/>
                      </a:lnTo>
                      <a:lnTo>
                        <a:pt x="0" y="2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58" name="Freeform 24">
                  <a:extLst>
                    <a:ext uri="{FF2B5EF4-FFF2-40B4-BE49-F238E27FC236}">
                      <a16:creationId xmlns:a16="http://schemas.microsoft.com/office/drawing/2014/main" id="{AAF25C55-CB6E-48F1-9A3E-A7A33586988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036608" y="2090738"/>
                  <a:ext cx="12700" cy="20638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6" y="0"/>
                    </a:cxn>
                    <a:cxn ang="0">
                      <a:pos x="8" y="4"/>
                    </a:cxn>
                    <a:cxn ang="0">
                      <a:pos x="8" y="7"/>
                    </a:cxn>
                    <a:cxn ang="0">
                      <a:pos x="6" y="11"/>
                    </a:cxn>
                    <a:cxn ang="0">
                      <a:pos x="4" y="13"/>
                    </a:cxn>
                    <a:cxn ang="0">
                      <a:pos x="1" y="10"/>
                    </a:cxn>
                    <a:cxn ang="0">
                      <a:pos x="0" y="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13">
                      <a:moveTo>
                        <a:pt x="2" y="0"/>
                      </a:moveTo>
                      <a:lnTo>
                        <a:pt x="6" y="0"/>
                      </a:lnTo>
                      <a:lnTo>
                        <a:pt x="8" y="4"/>
                      </a:lnTo>
                      <a:lnTo>
                        <a:pt x="8" y="7"/>
                      </a:lnTo>
                      <a:lnTo>
                        <a:pt x="6" y="11"/>
                      </a:lnTo>
                      <a:lnTo>
                        <a:pt x="4" y="13"/>
                      </a:lnTo>
                      <a:lnTo>
                        <a:pt x="1" y="10"/>
                      </a:lnTo>
                      <a:lnTo>
                        <a:pt x="0" y="6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59" name="Freeform 25">
                  <a:extLst>
                    <a:ext uri="{FF2B5EF4-FFF2-40B4-BE49-F238E27FC236}">
                      <a16:creationId xmlns:a16="http://schemas.microsoft.com/office/drawing/2014/main" id="{36F71336-3A43-4C73-B537-573A9115C00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665258" y="1892300"/>
                  <a:ext cx="85725" cy="63500"/>
                </a:xfrm>
                <a:custGeom>
                  <a:avLst/>
                  <a:gdLst/>
                  <a:ahLst/>
                  <a:cxnLst>
                    <a:cxn ang="0">
                      <a:pos x="18" y="0"/>
                    </a:cxn>
                    <a:cxn ang="0">
                      <a:pos x="25" y="2"/>
                    </a:cxn>
                    <a:cxn ang="0">
                      <a:pos x="31" y="5"/>
                    </a:cxn>
                    <a:cxn ang="0">
                      <a:pos x="42" y="9"/>
                    </a:cxn>
                    <a:cxn ang="0">
                      <a:pos x="46" y="13"/>
                    </a:cxn>
                    <a:cxn ang="0">
                      <a:pos x="46" y="19"/>
                    </a:cxn>
                    <a:cxn ang="0">
                      <a:pos x="49" y="24"/>
                    </a:cxn>
                    <a:cxn ang="0">
                      <a:pos x="51" y="27"/>
                    </a:cxn>
                    <a:cxn ang="0">
                      <a:pos x="52" y="33"/>
                    </a:cxn>
                    <a:cxn ang="0">
                      <a:pos x="54" y="37"/>
                    </a:cxn>
                    <a:cxn ang="0">
                      <a:pos x="53" y="40"/>
                    </a:cxn>
                    <a:cxn ang="0">
                      <a:pos x="44" y="40"/>
                    </a:cxn>
                    <a:cxn ang="0">
                      <a:pos x="36" y="37"/>
                    </a:cxn>
                    <a:cxn ang="0">
                      <a:pos x="33" y="36"/>
                    </a:cxn>
                    <a:cxn ang="0">
                      <a:pos x="29" y="38"/>
                    </a:cxn>
                    <a:cxn ang="0">
                      <a:pos x="23" y="38"/>
                    </a:cxn>
                    <a:cxn ang="0">
                      <a:pos x="18" y="36"/>
                    </a:cxn>
                    <a:cxn ang="0">
                      <a:pos x="16" y="31"/>
                    </a:cxn>
                    <a:cxn ang="0">
                      <a:pos x="13" y="27"/>
                    </a:cxn>
                    <a:cxn ang="0">
                      <a:pos x="9" y="27"/>
                    </a:cxn>
                    <a:cxn ang="0">
                      <a:pos x="6" y="30"/>
                    </a:cxn>
                    <a:cxn ang="0">
                      <a:pos x="1" y="28"/>
                    </a:cxn>
                    <a:cxn ang="0">
                      <a:pos x="0" y="21"/>
                    </a:cxn>
                    <a:cxn ang="0">
                      <a:pos x="2" y="13"/>
                    </a:cxn>
                    <a:cxn ang="0">
                      <a:pos x="4" y="8"/>
                    </a:cxn>
                    <a:cxn ang="0">
                      <a:pos x="11" y="3"/>
                    </a:cxn>
                    <a:cxn ang="0">
                      <a:pos x="18" y="0"/>
                    </a:cxn>
                  </a:cxnLst>
                  <a:rect l="0" t="0" r="r" b="b"/>
                  <a:pathLst>
                    <a:path w="54" h="40">
                      <a:moveTo>
                        <a:pt x="18" y="0"/>
                      </a:moveTo>
                      <a:lnTo>
                        <a:pt x="25" y="2"/>
                      </a:lnTo>
                      <a:lnTo>
                        <a:pt x="31" y="5"/>
                      </a:lnTo>
                      <a:lnTo>
                        <a:pt x="42" y="9"/>
                      </a:lnTo>
                      <a:lnTo>
                        <a:pt x="46" y="13"/>
                      </a:lnTo>
                      <a:lnTo>
                        <a:pt x="46" y="19"/>
                      </a:lnTo>
                      <a:lnTo>
                        <a:pt x="49" y="24"/>
                      </a:lnTo>
                      <a:lnTo>
                        <a:pt x="51" y="27"/>
                      </a:lnTo>
                      <a:lnTo>
                        <a:pt x="52" y="33"/>
                      </a:lnTo>
                      <a:lnTo>
                        <a:pt x="54" y="37"/>
                      </a:lnTo>
                      <a:lnTo>
                        <a:pt x="53" y="40"/>
                      </a:lnTo>
                      <a:lnTo>
                        <a:pt x="44" y="40"/>
                      </a:lnTo>
                      <a:lnTo>
                        <a:pt x="36" y="37"/>
                      </a:lnTo>
                      <a:lnTo>
                        <a:pt x="33" y="36"/>
                      </a:lnTo>
                      <a:lnTo>
                        <a:pt x="29" y="38"/>
                      </a:lnTo>
                      <a:lnTo>
                        <a:pt x="23" y="38"/>
                      </a:lnTo>
                      <a:lnTo>
                        <a:pt x="18" y="36"/>
                      </a:lnTo>
                      <a:lnTo>
                        <a:pt x="16" y="31"/>
                      </a:lnTo>
                      <a:lnTo>
                        <a:pt x="13" y="27"/>
                      </a:lnTo>
                      <a:lnTo>
                        <a:pt x="9" y="27"/>
                      </a:lnTo>
                      <a:lnTo>
                        <a:pt x="6" y="30"/>
                      </a:lnTo>
                      <a:lnTo>
                        <a:pt x="1" y="28"/>
                      </a:lnTo>
                      <a:lnTo>
                        <a:pt x="0" y="21"/>
                      </a:lnTo>
                      <a:lnTo>
                        <a:pt x="2" y="13"/>
                      </a:lnTo>
                      <a:lnTo>
                        <a:pt x="4" y="8"/>
                      </a:lnTo>
                      <a:lnTo>
                        <a:pt x="11" y="3"/>
                      </a:lnTo>
                      <a:lnTo>
                        <a:pt x="1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60" name="Freeform 32">
                  <a:extLst>
                    <a:ext uri="{FF2B5EF4-FFF2-40B4-BE49-F238E27FC236}">
                      <a16:creationId xmlns:a16="http://schemas.microsoft.com/office/drawing/2014/main" id="{92B9297A-B8C7-47BD-A0FC-464E6E01848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30233" y="2030413"/>
                  <a:ext cx="15875" cy="15875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9" y="4"/>
                    </a:cxn>
                    <a:cxn ang="0">
                      <a:pos x="10" y="8"/>
                    </a:cxn>
                    <a:cxn ang="0">
                      <a:pos x="7" y="10"/>
                    </a:cxn>
                    <a:cxn ang="0">
                      <a:pos x="2" y="9"/>
                    </a:cxn>
                    <a:cxn ang="0">
                      <a:pos x="0" y="6"/>
                    </a:cxn>
                    <a:cxn ang="0">
                      <a:pos x="0" y="2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10" h="10">
                      <a:moveTo>
                        <a:pt x="5" y="0"/>
                      </a:moveTo>
                      <a:lnTo>
                        <a:pt x="9" y="4"/>
                      </a:lnTo>
                      <a:lnTo>
                        <a:pt x="10" y="8"/>
                      </a:lnTo>
                      <a:lnTo>
                        <a:pt x="7" y="10"/>
                      </a:lnTo>
                      <a:lnTo>
                        <a:pt x="2" y="9"/>
                      </a:lnTo>
                      <a:lnTo>
                        <a:pt x="0" y="6"/>
                      </a:lnTo>
                      <a:lnTo>
                        <a:pt x="0" y="2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</p:grpSp>
          <p:sp>
            <p:nvSpPr>
              <p:cNvPr id="17" name="Sachen-Anhalt">
                <a:extLst>
                  <a:ext uri="{FF2B5EF4-FFF2-40B4-BE49-F238E27FC236}">
                    <a16:creationId xmlns:a16="http://schemas.microsoft.com/office/drawing/2014/main" id="{ABD9C415-5C01-4704-9888-60E2744D949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46195" y="2574925"/>
                <a:ext cx="755650" cy="963613"/>
              </a:xfrm>
              <a:custGeom>
                <a:avLst/>
                <a:gdLst/>
                <a:ahLst/>
                <a:cxnLst>
                  <a:cxn ang="0">
                    <a:pos x="216" y="19"/>
                  </a:cxn>
                  <a:cxn ang="0">
                    <a:pos x="249" y="46"/>
                  </a:cxn>
                  <a:cxn ang="0">
                    <a:pos x="283" y="50"/>
                  </a:cxn>
                  <a:cxn ang="0">
                    <a:pos x="289" y="87"/>
                  </a:cxn>
                  <a:cxn ang="0">
                    <a:pos x="288" y="139"/>
                  </a:cxn>
                  <a:cxn ang="0">
                    <a:pos x="314" y="175"/>
                  </a:cxn>
                  <a:cxn ang="0">
                    <a:pos x="304" y="235"/>
                  </a:cxn>
                  <a:cxn ang="0">
                    <a:pos x="322" y="276"/>
                  </a:cxn>
                  <a:cxn ang="0">
                    <a:pos x="368" y="293"/>
                  </a:cxn>
                  <a:cxn ang="0">
                    <a:pos x="414" y="313"/>
                  </a:cxn>
                  <a:cxn ang="0">
                    <a:pos x="460" y="339"/>
                  </a:cxn>
                  <a:cxn ang="0">
                    <a:pos x="468" y="379"/>
                  </a:cxn>
                  <a:cxn ang="0">
                    <a:pos x="444" y="408"/>
                  </a:cxn>
                  <a:cxn ang="0">
                    <a:pos x="415" y="390"/>
                  </a:cxn>
                  <a:cxn ang="0">
                    <a:pos x="375" y="414"/>
                  </a:cxn>
                  <a:cxn ang="0">
                    <a:pos x="333" y="424"/>
                  </a:cxn>
                  <a:cxn ang="0">
                    <a:pos x="287" y="467"/>
                  </a:cxn>
                  <a:cxn ang="0">
                    <a:pos x="299" y="550"/>
                  </a:cxn>
                  <a:cxn ang="0">
                    <a:pos x="304" y="569"/>
                  </a:cxn>
                  <a:cxn ang="0">
                    <a:pos x="299" y="593"/>
                  </a:cxn>
                  <a:cxn ang="0">
                    <a:pos x="286" y="606"/>
                  </a:cxn>
                  <a:cxn ang="0">
                    <a:pos x="280" y="595"/>
                  </a:cxn>
                  <a:cxn ang="0">
                    <a:pos x="254" y="599"/>
                  </a:cxn>
                  <a:cxn ang="0">
                    <a:pos x="252" y="592"/>
                  </a:cxn>
                  <a:cxn ang="0">
                    <a:pos x="241" y="581"/>
                  </a:cxn>
                  <a:cxn ang="0">
                    <a:pos x="216" y="572"/>
                  </a:cxn>
                  <a:cxn ang="0">
                    <a:pos x="198" y="562"/>
                  </a:cxn>
                  <a:cxn ang="0">
                    <a:pos x="168" y="559"/>
                  </a:cxn>
                  <a:cxn ang="0">
                    <a:pos x="161" y="539"/>
                  </a:cxn>
                  <a:cxn ang="0">
                    <a:pos x="147" y="526"/>
                  </a:cxn>
                  <a:cxn ang="0">
                    <a:pos x="155" y="509"/>
                  </a:cxn>
                  <a:cxn ang="0">
                    <a:pos x="150" y="487"/>
                  </a:cxn>
                  <a:cxn ang="0">
                    <a:pos x="131" y="472"/>
                  </a:cxn>
                  <a:cxn ang="0">
                    <a:pos x="105" y="469"/>
                  </a:cxn>
                  <a:cxn ang="0">
                    <a:pos x="77" y="456"/>
                  </a:cxn>
                  <a:cxn ang="0">
                    <a:pos x="68" y="418"/>
                  </a:cxn>
                  <a:cxn ang="0">
                    <a:pos x="55" y="405"/>
                  </a:cxn>
                  <a:cxn ang="0">
                    <a:pos x="24" y="395"/>
                  </a:cxn>
                  <a:cxn ang="0">
                    <a:pos x="2" y="358"/>
                  </a:cxn>
                  <a:cxn ang="0">
                    <a:pos x="13" y="327"/>
                  </a:cxn>
                  <a:cxn ang="0">
                    <a:pos x="15" y="294"/>
                  </a:cxn>
                  <a:cxn ang="0">
                    <a:pos x="60" y="287"/>
                  </a:cxn>
                  <a:cxn ang="0">
                    <a:pos x="72" y="259"/>
                  </a:cxn>
                  <a:cxn ang="0">
                    <a:pos x="86" y="235"/>
                  </a:cxn>
                  <a:cxn ang="0">
                    <a:pos x="86" y="215"/>
                  </a:cxn>
                  <a:cxn ang="0">
                    <a:pos x="84" y="194"/>
                  </a:cxn>
                  <a:cxn ang="0">
                    <a:pos x="62" y="175"/>
                  </a:cxn>
                  <a:cxn ang="0">
                    <a:pos x="75" y="155"/>
                  </a:cxn>
                  <a:cxn ang="0">
                    <a:pos x="69" y="131"/>
                  </a:cxn>
                  <a:cxn ang="0">
                    <a:pos x="57" y="119"/>
                  </a:cxn>
                  <a:cxn ang="0">
                    <a:pos x="43" y="98"/>
                  </a:cxn>
                  <a:cxn ang="0">
                    <a:pos x="33" y="68"/>
                  </a:cxn>
                  <a:cxn ang="0">
                    <a:pos x="58" y="61"/>
                  </a:cxn>
                  <a:cxn ang="0">
                    <a:pos x="71" y="47"/>
                  </a:cxn>
                  <a:cxn ang="0">
                    <a:pos x="104" y="49"/>
                  </a:cxn>
                  <a:cxn ang="0">
                    <a:pos x="132" y="45"/>
                  </a:cxn>
                  <a:cxn ang="0">
                    <a:pos x="153" y="34"/>
                  </a:cxn>
                  <a:cxn ang="0">
                    <a:pos x="176" y="14"/>
                  </a:cxn>
                </a:cxnLst>
                <a:rect l="0" t="0" r="r" b="b"/>
                <a:pathLst>
                  <a:path w="476" h="607">
                    <a:moveTo>
                      <a:pt x="177" y="0"/>
                    </a:moveTo>
                    <a:lnTo>
                      <a:pt x="185" y="3"/>
                    </a:lnTo>
                    <a:lnTo>
                      <a:pt x="188" y="7"/>
                    </a:lnTo>
                    <a:lnTo>
                      <a:pt x="195" y="14"/>
                    </a:lnTo>
                    <a:lnTo>
                      <a:pt x="205" y="14"/>
                    </a:lnTo>
                    <a:lnTo>
                      <a:pt x="216" y="19"/>
                    </a:lnTo>
                    <a:lnTo>
                      <a:pt x="222" y="23"/>
                    </a:lnTo>
                    <a:lnTo>
                      <a:pt x="220" y="30"/>
                    </a:lnTo>
                    <a:lnTo>
                      <a:pt x="223" y="36"/>
                    </a:lnTo>
                    <a:lnTo>
                      <a:pt x="235" y="41"/>
                    </a:lnTo>
                    <a:lnTo>
                      <a:pt x="243" y="44"/>
                    </a:lnTo>
                    <a:lnTo>
                      <a:pt x="249" y="46"/>
                    </a:lnTo>
                    <a:lnTo>
                      <a:pt x="255" y="49"/>
                    </a:lnTo>
                    <a:lnTo>
                      <a:pt x="261" y="48"/>
                    </a:lnTo>
                    <a:lnTo>
                      <a:pt x="268" y="46"/>
                    </a:lnTo>
                    <a:lnTo>
                      <a:pt x="272" y="51"/>
                    </a:lnTo>
                    <a:lnTo>
                      <a:pt x="277" y="56"/>
                    </a:lnTo>
                    <a:lnTo>
                      <a:pt x="283" y="50"/>
                    </a:lnTo>
                    <a:lnTo>
                      <a:pt x="288" y="50"/>
                    </a:lnTo>
                    <a:lnTo>
                      <a:pt x="294" y="54"/>
                    </a:lnTo>
                    <a:lnTo>
                      <a:pt x="297" y="67"/>
                    </a:lnTo>
                    <a:lnTo>
                      <a:pt x="295" y="76"/>
                    </a:lnTo>
                    <a:lnTo>
                      <a:pt x="290" y="80"/>
                    </a:lnTo>
                    <a:lnTo>
                      <a:pt x="289" y="87"/>
                    </a:lnTo>
                    <a:lnTo>
                      <a:pt x="288" y="98"/>
                    </a:lnTo>
                    <a:lnTo>
                      <a:pt x="295" y="102"/>
                    </a:lnTo>
                    <a:lnTo>
                      <a:pt x="296" y="122"/>
                    </a:lnTo>
                    <a:lnTo>
                      <a:pt x="294" y="129"/>
                    </a:lnTo>
                    <a:lnTo>
                      <a:pt x="291" y="135"/>
                    </a:lnTo>
                    <a:lnTo>
                      <a:pt x="288" y="139"/>
                    </a:lnTo>
                    <a:lnTo>
                      <a:pt x="291" y="146"/>
                    </a:lnTo>
                    <a:lnTo>
                      <a:pt x="296" y="155"/>
                    </a:lnTo>
                    <a:lnTo>
                      <a:pt x="308" y="154"/>
                    </a:lnTo>
                    <a:lnTo>
                      <a:pt x="315" y="156"/>
                    </a:lnTo>
                    <a:lnTo>
                      <a:pt x="319" y="166"/>
                    </a:lnTo>
                    <a:lnTo>
                      <a:pt x="314" y="175"/>
                    </a:lnTo>
                    <a:lnTo>
                      <a:pt x="311" y="183"/>
                    </a:lnTo>
                    <a:lnTo>
                      <a:pt x="312" y="192"/>
                    </a:lnTo>
                    <a:lnTo>
                      <a:pt x="313" y="203"/>
                    </a:lnTo>
                    <a:lnTo>
                      <a:pt x="308" y="209"/>
                    </a:lnTo>
                    <a:lnTo>
                      <a:pt x="304" y="215"/>
                    </a:lnTo>
                    <a:lnTo>
                      <a:pt x="304" y="235"/>
                    </a:lnTo>
                    <a:lnTo>
                      <a:pt x="301" y="241"/>
                    </a:lnTo>
                    <a:lnTo>
                      <a:pt x="300" y="247"/>
                    </a:lnTo>
                    <a:lnTo>
                      <a:pt x="305" y="256"/>
                    </a:lnTo>
                    <a:lnTo>
                      <a:pt x="310" y="262"/>
                    </a:lnTo>
                    <a:lnTo>
                      <a:pt x="317" y="270"/>
                    </a:lnTo>
                    <a:lnTo>
                      <a:pt x="322" y="276"/>
                    </a:lnTo>
                    <a:lnTo>
                      <a:pt x="324" y="283"/>
                    </a:lnTo>
                    <a:lnTo>
                      <a:pt x="328" y="291"/>
                    </a:lnTo>
                    <a:lnTo>
                      <a:pt x="344" y="291"/>
                    </a:lnTo>
                    <a:lnTo>
                      <a:pt x="351" y="293"/>
                    </a:lnTo>
                    <a:lnTo>
                      <a:pt x="359" y="293"/>
                    </a:lnTo>
                    <a:lnTo>
                      <a:pt x="368" y="293"/>
                    </a:lnTo>
                    <a:lnTo>
                      <a:pt x="375" y="290"/>
                    </a:lnTo>
                    <a:lnTo>
                      <a:pt x="381" y="288"/>
                    </a:lnTo>
                    <a:lnTo>
                      <a:pt x="388" y="291"/>
                    </a:lnTo>
                    <a:lnTo>
                      <a:pt x="395" y="298"/>
                    </a:lnTo>
                    <a:lnTo>
                      <a:pt x="402" y="304"/>
                    </a:lnTo>
                    <a:lnTo>
                      <a:pt x="414" y="313"/>
                    </a:lnTo>
                    <a:lnTo>
                      <a:pt x="429" y="316"/>
                    </a:lnTo>
                    <a:lnTo>
                      <a:pt x="436" y="318"/>
                    </a:lnTo>
                    <a:lnTo>
                      <a:pt x="445" y="320"/>
                    </a:lnTo>
                    <a:lnTo>
                      <a:pt x="453" y="325"/>
                    </a:lnTo>
                    <a:lnTo>
                      <a:pt x="459" y="330"/>
                    </a:lnTo>
                    <a:lnTo>
                      <a:pt x="460" y="339"/>
                    </a:lnTo>
                    <a:lnTo>
                      <a:pt x="457" y="345"/>
                    </a:lnTo>
                    <a:lnTo>
                      <a:pt x="464" y="353"/>
                    </a:lnTo>
                    <a:lnTo>
                      <a:pt x="468" y="357"/>
                    </a:lnTo>
                    <a:lnTo>
                      <a:pt x="474" y="370"/>
                    </a:lnTo>
                    <a:lnTo>
                      <a:pt x="476" y="378"/>
                    </a:lnTo>
                    <a:lnTo>
                      <a:pt x="468" y="379"/>
                    </a:lnTo>
                    <a:lnTo>
                      <a:pt x="459" y="383"/>
                    </a:lnTo>
                    <a:lnTo>
                      <a:pt x="455" y="389"/>
                    </a:lnTo>
                    <a:lnTo>
                      <a:pt x="453" y="396"/>
                    </a:lnTo>
                    <a:lnTo>
                      <a:pt x="453" y="401"/>
                    </a:lnTo>
                    <a:lnTo>
                      <a:pt x="447" y="401"/>
                    </a:lnTo>
                    <a:lnTo>
                      <a:pt x="444" y="408"/>
                    </a:lnTo>
                    <a:lnTo>
                      <a:pt x="437" y="409"/>
                    </a:lnTo>
                    <a:lnTo>
                      <a:pt x="433" y="407"/>
                    </a:lnTo>
                    <a:lnTo>
                      <a:pt x="426" y="404"/>
                    </a:lnTo>
                    <a:lnTo>
                      <a:pt x="422" y="402"/>
                    </a:lnTo>
                    <a:lnTo>
                      <a:pt x="419" y="395"/>
                    </a:lnTo>
                    <a:lnTo>
                      <a:pt x="415" y="390"/>
                    </a:lnTo>
                    <a:lnTo>
                      <a:pt x="407" y="392"/>
                    </a:lnTo>
                    <a:lnTo>
                      <a:pt x="396" y="394"/>
                    </a:lnTo>
                    <a:lnTo>
                      <a:pt x="390" y="399"/>
                    </a:lnTo>
                    <a:lnTo>
                      <a:pt x="384" y="403"/>
                    </a:lnTo>
                    <a:lnTo>
                      <a:pt x="379" y="405"/>
                    </a:lnTo>
                    <a:lnTo>
                      <a:pt x="375" y="414"/>
                    </a:lnTo>
                    <a:lnTo>
                      <a:pt x="367" y="418"/>
                    </a:lnTo>
                    <a:lnTo>
                      <a:pt x="357" y="414"/>
                    </a:lnTo>
                    <a:lnTo>
                      <a:pt x="350" y="424"/>
                    </a:lnTo>
                    <a:lnTo>
                      <a:pt x="345" y="425"/>
                    </a:lnTo>
                    <a:lnTo>
                      <a:pt x="338" y="424"/>
                    </a:lnTo>
                    <a:lnTo>
                      <a:pt x="333" y="424"/>
                    </a:lnTo>
                    <a:lnTo>
                      <a:pt x="328" y="428"/>
                    </a:lnTo>
                    <a:lnTo>
                      <a:pt x="318" y="433"/>
                    </a:lnTo>
                    <a:lnTo>
                      <a:pt x="306" y="435"/>
                    </a:lnTo>
                    <a:lnTo>
                      <a:pt x="302" y="437"/>
                    </a:lnTo>
                    <a:lnTo>
                      <a:pt x="293" y="448"/>
                    </a:lnTo>
                    <a:lnTo>
                      <a:pt x="287" y="467"/>
                    </a:lnTo>
                    <a:lnTo>
                      <a:pt x="287" y="489"/>
                    </a:lnTo>
                    <a:lnTo>
                      <a:pt x="290" y="500"/>
                    </a:lnTo>
                    <a:lnTo>
                      <a:pt x="290" y="523"/>
                    </a:lnTo>
                    <a:lnTo>
                      <a:pt x="291" y="539"/>
                    </a:lnTo>
                    <a:lnTo>
                      <a:pt x="294" y="546"/>
                    </a:lnTo>
                    <a:lnTo>
                      <a:pt x="299" y="550"/>
                    </a:lnTo>
                    <a:lnTo>
                      <a:pt x="304" y="557"/>
                    </a:lnTo>
                    <a:lnTo>
                      <a:pt x="308" y="562"/>
                    </a:lnTo>
                    <a:lnTo>
                      <a:pt x="307" y="564"/>
                    </a:lnTo>
                    <a:lnTo>
                      <a:pt x="304" y="564"/>
                    </a:lnTo>
                    <a:lnTo>
                      <a:pt x="304" y="566"/>
                    </a:lnTo>
                    <a:lnTo>
                      <a:pt x="304" y="569"/>
                    </a:lnTo>
                    <a:lnTo>
                      <a:pt x="304" y="574"/>
                    </a:lnTo>
                    <a:lnTo>
                      <a:pt x="304" y="577"/>
                    </a:lnTo>
                    <a:lnTo>
                      <a:pt x="304" y="580"/>
                    </a:lnTo>
                    <a:lnTo>
                      <a:pt x="304" y="583"/>
                    </a:lnTo>
                    <a:lnTo>
                      <a:pt x="302" y="590"/>
                    </a:lnTo>
                    <a:lnTo>
                      <a:pt x="299" y="593"/>
                    </a:lnTo>
                    <a:lnTo>
                      <a:pt x="297" y="594"/>
                    </a:lnTo>
                    <a:lnTo>
                      <a:pt x="291" y="597"/>
                    </a:lnTo>
                    <a:lnTo>
                      <a:pt x="292" y="600"/>
                    </a:lnTo>
                    <a:lnTo>
                      <a:pt x="291" y="604"/>
                    </a:lnTo>
                    <a:lnTo>
                      <a:pt x="289" y="607"/>
                    </a:lnTo>
                    <a:lnTo>
                      <a:pt x="286" y="606"/>
                    </a:lnTo>
                    <a:lnTo>
                      <a:pt x="284" y="605"/>
                    </a:lnTo>
                    <a:lnTo>
                      <a:pt x="283" y="602"/>
                    </a:lnTo>
                    <a:lnTo>
                      <a:pt x="284" y="601"/>
                    </a:lnTo>
                    <a:lnTo>
                      <a:pt x="284" y="598"/>
                    </a:lnTo>
                    <a:lnTo>
                      <a:pt x="283" y="596"/>
                    </a:lnTo>
                    <a:lnTo>
                      <a:pt x="280" y="595"/>
                    </a:lnTo>
                    <a:lnTo>
                      <a:pt x="277" y="596"/>
                    </a:lnTo>
                    <a:lnTo>
                      <a:pt x="273" y="599"/>
                    </a:lnTo>
                    <a:lnTo>
                      <a:pt x="270" y="600"/>
                    </a:lnTo>
                    <a:lnTo>
                      <a:pt x="262" y="599"/>
                    </a:lnTo>
                    <a:lnTo>
                      <a:pt x="258" y="601"/>
                    </a:lnTo>
                    <a:lnTo>
                      <a:pt x="254" y="599"/>
                    </a:lnTo>
                    <a:lnTo>
                      <a:pt x="254" y="598"/>
                    </a:lnTo>
                    <a:lnTo>
                      <a:pt x="253" y="597"/>
                    </a:lnTo>
                    <a:lnTo>
                      <a:pt x="253" y="596"/>
                    </a:lnTo>
                    <a:lnTo>
                      <a:pt x="253" y="596"/>
                    </a:lnTo>
                    <a:lnTo>
                      <a:pt x="253" y="593"/>
                    </a:lnTo>
                    <a:lnTo>
                      <a:pt x="252" y="592"/>
                    </a:lnTo>
                    <a:lnTo>
                      <a:pt x="252" y="591"/>
                    </a:lnTo>
                    <a:lnTo>
                      <a:pt x="246" y="590"/>
                    </a:lnTo>
                    <a:lnTo>
                      <a:pt x="243" y="586"/>
                    </a:lnTo>
                    <a:lnTo>
                      <a:pt x="243" y="583"/>
                    </a:lnTo>
                    <a:lnTo>
                      <a:pt x="242" y="582"/>
                    </a:lnTo>
                    <a:lnTo>
                      <a:pt x="241" y="581"/>
                    </a:lnTo>
                    <a:lnTo>
                      <a:pt x="238" y="581"/>
                    </a:lnTo>
                    <a:lnTo>
                      <a:pt x="235" y="581"/>
                    </a:lnTo>
                    <a:lnTo>
                      <a:pt x="233" y="577"/>
                    </a:lnTo>
                    <a:lnTo>
                      <a:pt x="231" y="574"/>
                    </a:lnTo>
                    <a:lnTo>
                      <a:pt x="222" y="574"/>
                    </a:lnTo>
                    <a:lnTo>
                      <a:pt x="216" y="572"/>
                    </a:lnTo>
                    <a:lnTo>
                      <a:pt x="212" y="572"/>
                    </a:lnTo>
                    <a:lnTo>
                      <a:pt x="208" y="571"/>
                    </a:lnTo>
                    <a:lnTo>
                      <a:pt x="207" y="569"/>
                    </a:lnTo>
                    <a:lnTo>
                      <a:pt x="206" y="568"/>
                    </a:lnTo>
                    <a:lnTo>
                      <a:pt x="202" y="563"/>
                    </a:lnTo>
                    <a:lnTo>
                      <a:pt x="198" y="562"/>
                    </a:lnTo>
                    <a:lnTo>
                      <a:pt x="192" y="563"/>
                    </a:lnTo>
                    <a:lnTo>
                      <a:pt x="188" y="560"/>
                    </a:lnTo>
                    <a:lnTo>
                      <a:pt x="181" y="559"/>
                    </a:lnTo>
                    <a:lnTo>
                      <a:pt x="177" y="561"/>
                    </a:lnTo>
                    <a:lnTo>
                      <a:pt x="172" y="559"/>
                    </a:lnTo>
                    <a:lnTo>
                      <a:pt x="168" y="559"/>
                    </a:lnTo>
                    <a:lnTo>
                      <a:pt x="161" y="559"/>
                    </a:lnTo>
                    <a:lnTo>
                      <a:pt x="160" y="556"/>
                    </a:lnTo>
                    <a:lnTo>
                      <a:pt x="158" y="552"/>
                    </a:lnTo>
                    <a:lnTo>
                      <a:pt x="158" y="547"/>
                    </a:lnTo>
                    <a:lnTo>
                      <a:pt x="160" y="544"/>
                    </a:lnTo>
                    <a:lnTo>
                      <a:pt x="161" y="539"/>
                    </a:lnTo>
                    <a:lnTo>
                      <a:pt x="160" y="537"/>
                    </a:lnTo>
                    <a:lnTo>
                      <a:pt x="158" y="533"/>
                    </a:lnTo>
                    <a:lnTo>
                      <a:pt x="155" y="532"/>
                    </a:lnTo>
                    <a:lnTo>
                      <a:pt x="150" y="529"/>
                    </a:lnTo>
                    <a:lnTo>
                      <a:pt x="148" y="528"/>
                    </a:lnTo>
                    <a:lnTo>
                      <a:pt x="147" y="526"/>
                    </a:lnTo>
                    <a:lnTo>
                      <a:pt x="146" y="523"/>
                    </a:lnTo>
                    <a:lnTo>
                      <a:pt x="146" y="518"/>
                    </a:lnTo>
                    <a:lnTo>
                      <a:pt x="146" y="514"/>
                    </a:lnTo>
                    <a:lnTo>
                      <a:pt x="148" y="511"/>
                    </a:lnTo>
                    <a:lnTo>
                      <a:pt x="152" y="509"/>
                    </a:lnTo>
                    <a:lnTo>
                      <a:pt x="155" y="509"/>
                    </a:lnTo>
                    <a:lnTo>
                      <a:pt x="159" y="508"/>
                    </a:lnTo>
                    <a:lnTo>
                      <a:pt x="160" y="504"/>
                    </a:lnTo>
                    <a:lnTo>
                      <a:pt x="160" y="502"/>
                    </a:lnTo>
                    <a:lnTo>
                      <a:pt x="153" y="496"/>
                    </a:lnTo>
                    <a:lnTo>
                      <a:pt x="150" y="491"/>
                    </a:lnTo>
                    <a:lnTo>
                      <a:pt x="150" y="487"/>
                    </a:lnTo>
                    <a:lnTo>
                      <a:pt x="148" y="482"/>
                    </a:lnTo>
                    <a:lnTo>
                      <a:pt x="146" y="481"/>
                    </a:lnTo>
                    <a:lnTo>
                      <a:pt x="142" y="478"/>
                    </a:lnTo>
                    <a:lnTo>
                      <a:pt x="139" y="477"/>
                    </a:lnTo>
                    <a:lnTo>
                      <a:pt x="135" y="474"/>
                    </a:lnTo>
                    <a:lnTo>
                      <a:pt x="131" y="472"/>
                    </a:lnTo>
                    <a:lnTo>
                      <a:pt x="127" y="470"/>
                    </a:lnTo>
                    <a:lnTo>
                      <a:pt x="122" y="470"/>
                    </a:lnTo>
                    <a:lnTo>
                      <a:pt x="116" y="471"/>
                    </a:lnTo>
                    <a:lnTo>
                      <a:pt x="113" y="471"/>
                    </a:lnTo>
                    <a:lnTo>
                      <a:pt x="110" y="469"/>
                    </a:lnTo>
                    <a:lnTo>
                      <a:pt x="105" y="469"/>
                    </a:lnTo>
                    <a:lnTo>
                      <a:pt x="101" y="469"/>
                    </a:lnTo>
                    <a:lnTo>
                      <a:pt x="95" y="467"/>
                    </a:lnTo>
                    <a:lnTo>
                      <a:pt x="86" y="461"/>
                    </a:lnTo>
                    <a:lnTo>
                      <a:pt x="83" y="460"/>
                    </a:lnTo>
                    <a:lnTo>
                      <a:pt x="79" y="459"/>
                    </a:lnTo>
                    <a:lnTo>
                      <a:pt x="77" y="456"/>
                    </a:lnTo>
                    <a:lnTo>
                      <a:pt x="75" y="450"/>
                    </a:lnTo>
                    <a:lnTo>
                      <a:pt x="71" y="442"/>
                    </a:lnTo>
                    <a:lnTo>
                      <a:pt x="68" y="432"/>
                    </a:lnTo>
                    <a:lnTo>
                      <a:pt x="66" y="426"/>
                    </a:lnTo>
                    <a:lnTo>
                      <a:pt x="66" y="422"/>
                    </a:lnTo>
                    <a:lnTo>
                      <a:pt x="68" y="418"/>
                    </a:lnTo>
                    <a:lnTo>
                      <a:pt x="67" y="414"/>
                    </a:lnTo>
                    <a:lnTo>
                      <a:pt x="67" y="411"/>
                    </a:lnTo>
                    <a:lnTo>
                      <a:pt x="65" y="409"/>
                    </a:lnTo>
                    <a:lnTo>
                      <a:pt x="62" y="408"/>
                    </a:lnTo>
                    <a:lnTo>
                      <a:pt x="60" y="406"/>
                    </a:lnTo>
                    <a:lnTo>
                      <a:pt x="55" y="405"/>
                    </a:lnTo>
                    <a:lnTo>
                      <a:pt x="51" y="405"/>
                    </a:lnTo>
                    <a:lnTo>
                      <a:pt x="46" y="404"/>
                    </a:lnTo>
                    <a:lnTo>
                      <a:pt x="43" y="404"/>
                    </a:lnTo>
                    <a:lnTo>
                      <a:pt x="35" y="403"/>
                    </a:lnTo>
                    <a:lnTo>
                      <a:pt x="24" y="403"/>
                    </a:lnTo>
                    <a:lnTo>
                      <a:pt x="24" y="395"/>
                    </a:lnTo>
                    <a:lnTo>
                      <a:pt x="23" y="388"/>
                    </a:lnTo>
                    <a:lnTo>
                      <a:pt x="22" y="382"/>
                    </a:lnTo>
                    <a:lnTo>
                      <a:pt x="13" y="373"/>
                    </a:lnTo>
                    <a:lnTo>
                      <a:pt x="12" y="370"/>
                    </a:lnTo>
                    <a:lnTo>
                      <a:pt x="8" y="365"/>
                    </a:lnTo>
                    <a:lnTo>
                      <a:pt x="2" y="358"/>
                    </a:lnTo>
                    <a:lnTo>
                      <a:pt x="0" y="351"/>
                    </a:lnTo>
                    <a:lnTo>
                      <a:pt x="4" y="348"/>
                    </a:lnTo>
                    <a:lnTo>
                      <a:pt x="8" y="343"/>
                    </a:lnTo>
                    <a:lnTo>
                      <a:pt x="11" y="339"/>
                    </a:lnTo>
                    <a:lnTo>
                      <a:pt x="12" y="332"/>
                    </a:lnTo>
                    <a:lnTo>
                      <a:pt x="13" y="327"/>
                    </a:lnTo>
                    <a:lnTo>
                      <a:pt x="13" y="320"/>
                    </a:lnTo>
                    <a:lnTo>
                      <a:pt x="11" y="314"/>
                    </a:lnTo>
                    <a:lnTo>
                      <a:pt x="5" y="312"/>
                    </a:lnTo>
                    <a:lnTo>
                      <a:pt x="4" y="305"/>
                    </a:lnTo>
                    <a:lnTo>
                      <a:pt x="9" y="300"/>
                    </a:lnTo>
                    <a:lnTo>
                      <a:pt x="15" y="294"/>
                    </a:lnTo>
                    <a:lnTo>
                      <a:pt x="26" y="292"/>
                    </a:lnTo>
                    <a:lnTo>
                      <a:pt x="33" y="292"/>
                    </a:lnTo>
                    <a:lnTo>
                      <a:pt x="40" y="291"/>
                    </a:lnTo>
                    <a:lnTo>
                      <a:pt x="48" y="291"/>
                    </a:lnTo>
                    <a:lnTo>
                      <a:pt x="53" y="291"/>
                    </a:lnTo>
                    <a:lnTo>
                      <a:pt x="60" y="287"/>
                    </a:lnTo>
                    <a:lnTo>
                      <a:pt x="64" y="282"/>
                    </a:lnTo>
                    <a:lnTo>
                      <a:pt x="69" y="276"/>
                    </a:lnTo>
                    <a:lnTo>
                      <a:pt x="72" y="270"/>
                    </a:lnTo>
                    <a:lnTo>
                      <a:pt x="71" y="267"/>
                    </a:lnTo>
                    <a:lnTo>
                      <a:pt x="69" y="262"/>
                    </a:lnTo>
                    <a:lnTo>
                      <a:pt x="72" y="259"/>
                    </a:lnTo>
                    <a:lnTo>
                      <a:pt x="79" y="255"/>
                    </a:lnTo>
                    <a:lnTo>
                      <a:pt x="82" y="254"/>
                    </a:lnTo>
                    <a:lnTo>
                      <a:pt x="85" y="249"/>
                    </a:lnTo>
                    <a:lnTo>
                      <a:pt x="86" y="245"/>
                    </a:lnTo>
                    <a:lnTo>
                      <a:pt x="86" y="239"/>
                    </a:lnTo>
                    <a:lnTo>
                      <a:pt x="86" y="235"/>
                    </a:lnTo>
                    <a:lnTo>
                      <a:pt x="89" y="232"/>
                    </a:lnTo>
                    <a:lnTo>
                      <a:pt x="92" y="228"/>
                    </a:lnTo>
                    <a:lnTo>
                      <a:pt x="91" y="225"/>
                    </a:lnTo>
                    <a:lnTo>
                      <a:pt x="88" y="222"/>
                    </a:lnTo>
                    <a:lnTo>
                      <a:pt x="86" y="220"/>
                    </a:lnTo>
                    <a:lnTo>
                      <a:pt x="86" y="215"/>
                    </a:lnTo>
                    <a:lnTo>
                      <a:pt x="90" y="211"/>
                    </a:lnTo>
                    <a:lnTo>
                      <a:pt x="92" y="207"/>
                    </a:lnTo>
                    <a:lnTo>
                      <a:pt x="93" y="202"/>
                    </a:lnTo>
                    <a:lnTo>
                      <a:pt x="91" y="199"/>
                    </a:lnTo>
                    <a:lnTo>
                      <a:pt x="89" y="197"/>
                    </a:lnTo>
                    <a:lnTo>
                      <a:pt x="84" y="194"/>
                    </a:lnTo>
                    <a:lnTo>
                      <a:pt x="79" y="187"/>
                    </a:lnTo>
                    <a:lnTo>
                      <a:pt x="74" y="182"/>
                    </a:lnTo>
                    <a:lnTo>
                      <a:pt x="71" y="179"/>
                    </a:lnTo>
                    <a:lnTo>
                      <a:pt x="64" y="179"/>
                    </a:lnTo>
                    <a:lnTo>
                      <a:pt x="62" y="179"/>
                    </a:lnTo>
                    <a:lnTo>
                      <a:pt x="62" y="175"/>
                    </a:lnTo>
                    <a:lnTo>
                      <a:pt x="62" y="172"/>
                    </a:lnTo>
                    <a:lnTo>
                      <a:pt x="64" y="170"/>
                    </a:lnTo>
                    <a:lnTo>
                      <a:pt x="69" y="170"/>
                    </a:lnTo>
                    <a:lnTo>
                      <a:pt x="71" y="168"/>
                    </a:lnTo>
                    <a:lnTo>
                      <a:pt x="77" y="161"/>
                    </a:lnTo>
                    <a:lnTo>
                      <a:pt x="75" y="155"/>
                    </a:lnTo>
                    <a:lnTo>
                      <a:pt x="75" y="151"/>
                    </a:lnTo>
                    <a:lnTo>
                      <a:pt x="71" y="148"/>
                    </a:lnTo>
                    <a:lnTo>
                      <a:pt x="68" y="145"/>
                    </a:lnTo>
                    <a:lnTo>
                      <a:pt x="65" y="141"/>
                    </a:lnTo>
                    <a:lnTo>
                      <a:pt x="66" y="137"/>
                    </a:lnTo>
                    <a:lnTo>
                      <a:pt x="69" y="131"/>
                    </a:lnTo>
                    <a:lnTo>
                      <a:pt x="70" y="128"/>
                    </a:lnTo>
                    <a:lnTo>
                      <a:pt x="69" y="126"/>
                    </a:lnTo>
                    <a:lnTo>
                      <a:pt x="66" y="126"/>
                    </a:lnTo>
                    <a:lnTo>
                      <a:pt x="62" y="124"/>
                    </a:lnTo>
                    <a:lnTo>
                      <a:pt x="58" y="121"/>
                    </a:lnTo>
                    <a:lnTo>
                      <a:pt x="57" y="119"/>
                    </a:lnTo>
                    <a:lnTo>
                      <a:pt x="54" y="114"/>
                    </a:lnTo>
                    <a:lnTo>
                      <a:pt x="54" y="110"/>
                    </a:lnTo>
                    <a:lnTo>
                      <a:pt x="52" y="105"/>
                    </a:lnTo>
                    <a:lnTo>
                      <a:pt x="51" y="102"/>
                    </a:lnTo>
                    <a:lnTo>
                      <a:pt x="46" y="98"/>
                    </a:lnTo>
                    <a:lnTo>
                      <a:pt x="43" y="98"/>
                    </a:lnTo>
                    <a:lnTo>
                      <a:pt x="40" y="95"/>
                    </a:lnTo>
                    <a:lnTo>
                      <a:pt x="35" y="88"/>
                    </a:lnTo>
                    <a:lnTo>
                      <a:pt x="34" y="85"/>
                    </a:lnTo>
                    <a:lnTo>
                      <a:pt x="32" y="78"/>
                    </a:lnTo>
                    <a:lnTo>
                      <a:pt x="31" y="73"/>
                    </a:lnTo>
                    <a:lnTo>
                      <a:pt x="33" y="68"/>
                    </a:lnTo>
                    <a:lnTo>
                      <a:pt x="35" y="64"/>
                    </a:lnTo>
                    <a:lnTo>
                      <a:pt x="39" y="62"/>
                    </a:lnTo>
                    <a:lnTo>
                      <a:pt x="44" y="60"/>
                    </a:lnTo>
                    <a:lnTo>
                      <a:pt x="50" y="60"/>
                    </a:lnTo>
                    <a:lnTo>
                      <a:pt x="53" y="60"/>
                    </a:lnTo>
                    <a:lnTo>
                      <a:pt x="58" y="61"/>
                    </a:lnTo>
                    <a:lnTo>
                      <a:pt x="60" y="60"/>
                    </a:lnTo>
                    <a:lnTo>
                      <a:pt x="64" y="58"/>
                    </a:lnTo>
                    <a:lnTo>
                      <a:pt x="66" y="56"/>
                    </a:lnTo>
                    <a:lnTo>
                      <a:pt x="68" y="53"/>
                    </a:lnTo>
                    <a:lnTo>
                      <a:pt x="69" y="51"/>
                    </a:lnTo>
                    <a:lnTo>
                      <a:pt x="71" y="47"/>
                    </a:lnTo>
                    <a:lnTo>
                      <a:pt x="73" y="46"/>
                    </a:lnTo>
                    <a:lnTo>
                      <a:pt x="80" y="44"/>
                    </a:lnTo>
                    <a:lnTo>
                      <a:pt x="93" y="44"/>
                    </a:lnTo>
                    <a:lnTo>
                      <a:pt x="97" y="45"/>
                    </a:lnTo>
                    <a:lnTo>
                      <a:pt x="100" y="49"/>
                    </a:lnTo>
                    <a:lnTo>
                      <a:pt x="104" y="49"/>
                    </a:lnTo>
                    <a:lnTo>
                      <a:pt x="105" y="49"/>
                    </a:lnTo>
                    <a:lnTo>
                      <a:pt x="108" y="49"/>
                    </a:lnTo>
                    <a:lnTo>
                      <a:pt x="109" y="49"/>
                    </a:lnTo>
                    <a:lnTo>
                      <a:pt x="115" y="47"/>
                    </a:lnTo>
                    <a:lnTo>
                      <a:pt x="124" y="47"/>
                    </a:lnTo>
                    <a:lnTo>
                      <a:pt x="132" y="45"/>
                    </a:lnTo>
                    <a:lnTo>
                      <a:pt x="135" y="44"/>
                    </a:lnTo>
                    <a:lnTo>
                      <a:pt x="138" y="43"/>
                    </a:lnTo>
                    <a:lnTo>
                      <a:pt x="142" y="43"/>
                    </a:lnTo>
                    <a:lnTo>
                      <a:pt x="146" y="40"/>
                    </a:lnTo>
                    <a:lnTo>
                      <a:pt x="150" y="36"/>
                    </a:lnTo>
                    <a:lnTo>
                      <a:pt x="153" y="34"/>
                    </a:lnTo>
                    <a:lnTo>
                      <a:pt x="158" y="30"/>
                    </a:lnTo>
                    <a:lnTo>
                      <a:pt x="160" y="25"/>
                    </a:lnTo>
                    <a:lnTo>
                      <a:pt x="160" y="21"/>
                    </a:lnTo>
                    <a:lnTo>
                      <a:pt x="160" y="18"/>
                    </a:lnTo>
                    <a:lnTo>
                      <a:pt x="174" y="18"/>
                    </a:lnTo>
                    <a:lnTo>
                      <a:pt x="176" y="14"/>
                    </a:lnTo>
                    <a:lnTo>
                      <a:pt x="177" y="11"/>
                    </a:lnTo>
                    <a:lnTo>
                      <a:pt x="176" y="8"/>
                    </a:lnTo>
                    <a:lnTo>
                      <a:pt x="176" y="5"/>
                    </a:lnTo>
                    <a:lnTo>
                      <a:pt x="174" y="3"/>
                    </a:lnTo>
                    <a:lnTo>
                      <a:pt x="177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8" name="Nordrhein-Westfalen">
                <a:extLst>
                  <a:ext uri="{FF2B5EF4-FFF2-40B4-BE49-F238E27FC236}">
                    <a16:creationId xmlns:a16="http://schemas.microsoft.com/office/drawing/2014/main" id="{B9D4113D-2BD2-4019-8279-A05D9E6FD2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4282" y="2813050"/>
                <a:ext cx="1009650" cy="969963"/>
              </a:xfrm>
              <a:custGeom>
                <a:avLst/>
                <a:gdLst/>
                <a:ahLst/>
                <a:cxnLst>
                  <a:cxn ang="0">
                    <a:pos x="518" y="14"/>
                  </a:cxn>
                  <a:cxn ang="0">
                    <a:pos x="516" y="34"/>
                  </a:cxn>
                  <a:cxn ang="0">
                    <a:pos x="550" y="39"/>
                  </a:cxn>
                  <a:cxn ang="0">
                    <a:pos x="583" y="11"/>
                  </a:cxn>
                  <a:cxn ang="0">
                    <a:pos x="578" y="52"/>
                  </a:cxn>
                  <a:cxn ang="0">
                    <a:pos x="574" y="91"/>
                  </a:cxn>
                  <a:cxn ang="0">
                    <a:pos x="573" y="102"/>
                  </a:cxn>
                  <a:cxn ang="0">
                    <a:pos x="576" y="115"/>
                  </a:cxn>
                  <a:cxn ang="0">
                    <a:pos x="595" y="150"/>
                  </a:cxn>
                  <a:cxn ang="0">
                    <a:pos x="613" y="163"/>
                  </a:cxn>
                  <a:cxn ang="0">
                    <a:pos x="631" y="193"/>
                  </a:cxn>
                  <a:cxn ang="0">
                    <a:pos x="626" y="242"/>
                  </a:cxn>
                  <a:cxn ang="0">
                    <a:pos x="613" y="290"/>
                  </a:cxn>
                  <a:cxn ang="0">
                    <a:pos x="560" y="297"/>
                  </a:cxn>
                  <a:cxn ang="0">
                    <a:pos x="544" y="328"/>
                  </a:cxn>
                  <a:cxn ang="0">
                    <a:pos x="483" y="354"/>
                  </a:cxn>
                  <a:cxn ang="0">
                    <a:pos x="511" y="385"/>
                  </a:cxn>
                  <a:cxn ang="0">
                    <a:pos x="473" y="418"/>
                  </a:cxn>
                  <a:cxn ang="0">
                    <a:pos x="432" y="477"/>
                  </a:cxn>
                  <a:cxn ang="0">
                    <a:pos x="393" y="510"/>
                  </a:cxn>
                  <a:cxn ang="0">
                    <a:pos x="368" y="474"/>
                  </a:cxn>
                  <a:cxn ang="0">
                    <a:pos x="325" y="464"/>
                  </a:cxn>
                  <a:cxn ang="0">
                    <a:pos x="300" y="506"/>
                  </a:cxn>
                  <a:cxn ang="0">
                    <a:pos x="253" y="526"/>
                  </a:cxn>
                  <a:cxn ang="0">
                    <a:pos x="198" y="548"/>
                  </a:cxn>
                  <a:cxn ang="0">
                    <a:pos x="147" y="570"/>
                  </a:cxn>
                  <a:cxn ang="0">
                    <a:pos x="122" y="607"/>
                  </a:cxn>
                  <a:cxn ang="0">
                    <a:pos x="68" y="595"/>
                  </a:cxn>
                  <a:cxn ang="0">
                    <a:pos x="71" y="575"/>
                  </a:cxn>
                  <a:cxn ang="0">
                    <a:pos x="47" y="561"/>
                  </a:cxn>
                  <a:cxn ang="0">
                    <a:pos x="39" y="523"/>
                  </a:cxn>
                  <a:cxn ang="0">
                    <a:pos x="8" y="466"/>
                  </a:cxn>
                  <a:cxn ang="0">
                    <a:pos x="35" y="443"/>
                  </a:cxn>
                  <a:cxn ang="0">
                    <a:pos x="3" y="413"/>
                  </a:cxn>
                  <a:cxn ang="0">
                    <a:pos x="10" y="400"/>
                  </a:cxn>
                  <a:cxn ang="0">
                    <a:pos x="47" y="374"/>
                  </a:cxn>
                  <a:cxn ang="0">
                    <a:pos x="48" y="339"/>
                  </a:cxn>
                  <a:cxn ang="0">
                    <a:pos x="64" y="302"/>
                  </a:cxn>
                  <a:cxn ang="0">
                    <a:pos x="47" y="241"/>
                  </a:cxn>
                  <a:cxn ang="0">
                    <a:pos x="43" y="213"/>
                  </a:cxn>
                  <a:cxn ang="0">
                    <a:pos x="63" y="177"/>
                  </a:cxn>
                  <a:cxn ang="0">
                    <a:pos x="114" y="167"/>
                  </a:cxn>
                  <a:cxn ang="0">
                    <a:pos x="166" y="161"/>
                  </a:cxn>
                  <a:cxn ang="0">
                    <a:pos x="179" y="139"/>
                  </a:cxn>
                  <a:cxn ang="0">
                    <a:pos x="165" y="108"/>
                  </a:cxn>
                  <a:cxn ang="0">
                    <a:pos x="210" y="77"/>
                  </a:cxn>
                  <a:cxn ang="0">
                    <a:pos x="228" y="47"/>
                  </a:cxn>
                  <a:cxn ang="0">
                    <a:pos x="272" y="62"/>
                  </a:cxn>
                  <a:cxn ang="0">
                    <a:pos x="306" y="38"/>
                  </a:cxn>
                  <a:cxn ang="0">
                    <a:pos x="341" y="18"/>
                  </a:cxn>
                  <a:cxn ang="0">
                    <a:pos x="387" y="40"/>
                  </a:cxn>
                  <a:cxn ang="0">
                    <a:pos x="381" y="95"/>
                  </a:cxn>
                  <a:cxn ang="0">
                    <a:pos x="378" y="117"/>
                  </a:cxn>
                  <a:cxn ang="0">
                    <a:pos x="399" y="126"/>
                  </a:cxn>
                  <a:cxn ang="0">
                    <a:pos x="435" y="116"/>
                  </a:cxn>
                  <a:cxn ang="0">
                    <a:pos x="471" y="97"/>
                  </a:cxn>
                  <a:cxn ang="0">
                    <a:pos x="471" y="47"/>
                  </a:cxn>
                  <a:cxn ang="0">
                    <a:pos x="478" y="9"/>
                  </a:cxn>
                  <a:cxn ang="0">
                    <a:pos x="499" y="2"/>
                  </a:cxn>
                </a:cxnLst>
                <a:rect l="0" t="0" r="r" b="b"/>
                <a:pathLst>
                  <a:path w="636" h="611">
                    <a:moveTo>
                      <a:pt x="501" y="0"/>
                    </a:moveTo>
                    <a:lnTo>
                      <a:pt x="504" y="0"/>
                    </a:lnTo>
                    <a:lnTo>
                      <a:pt x="509" y="1"/>
                    </a:lnTo>
                    <a:lnTo>
                      <a:pt x="512" y="3"/>
                    </a:lnTo>
                    <a:lnTo>
                      <a:pt x="517" y="7"/>
                    </a:lnTo>
                    <a:lnTo>
                      <a:pt x="517" y="7"/>
                    </a:lnTo>
                    <a:lnTo>
                      <a:pt x="517" y="8"/>
                    </a:lnTo>
                    <a:lnTo>
                      <a:pt x="517" y="12"/>
                    </a:lnTo>
                    <a:lnTo>
                      <a:pt x="518" y="14"/>
                    </a:lnTo>
                    <a:lnTo>
                      <a:pt x="518" y="17"/>
                    </a:lnTo>
                    <a:lnTo>
                      <a:pt x="519" y="18"/>
                    </a:lnTo>
                    <a:lnTo>
                      <a:pt x="519" y="20"/>
                    </a:lnTo>
                    <a:lnTo>
                      <a:pt x="516" y="25"/>
                    </a:lnTo>
                    <a:lnTo>
                      <a:pt x="516" y="27"/>
                    </a:lnTo>
                    <a:lnTo>
                      <a:pt x="515" y="28"/>
                    </a:lnTo>
                    <a:lnTo>
                      <a:pt x="515" y="32"/>
                    </a:lnTo>
                    <a:lnTo>
                      <a:pt x="516" y="33"/>
                    </a:lnTo>
                    <a:lnTo>
                      <a:pt x="516" y="34"/>
                    </a:lnTo>
                    <a:lnTo>
                      <a:pt x="519" y="38"/>
                    </a:lnTo>
                    <a:lnTo>
                      <a:pt x="522" y="40"/>
                    </a:lnTo>
                    <a:lnTo>
                      <a:pt x="527" y="38"/>
                    </a:lnTo>
                    <a:lnTo>
                      <a:pt x="533" y="38"/>
                    </a:lnTo>
                    <a:lnTo>
                      <a:pt x="536" y="40"/>
                    </a:lnTo>
                    <a:lnTo>
                      <a:pt x="540" y="42"/>
                    </a:lnTo>
                    <a:lnTo>
                      <a:pt x="542" y="42"/>
                    </a:lnTo>
                    <a:lnTo>
                      <a:pt x="548" y="41"/>
                    </a:lnTo>
                    <a:lnTo>
                      <a:pt x="550" y="39"/>
                    </a:lnTo>
                    <a:lnTo>
                      <a:pt x="555" y="34"/>
                    </a:lnTo>
                    <a:lnTo>
                      <a:pt x="557" y="32"/>
                    </a:lnTo>
                    <a:lnTo>
                      <a:pt x="562" y="29"/>
                    </a:lnTo>
                    <a:lnTo>
                      <a:pt x="564" y="28"/>
                    </a:lnTo>
                    <a:lnTo>
                      <a:pt x="568" y="27"/>
                    </a:lnTo>
                    <a:lnTo>
                      <a:pt x="568" y="23"/>
                    </a:lnTo>
                    <a:lnTo>
                      <a:pt x="574" y="15"/>
                    </a:lnTo>
                    <a:lnTo>
                      <a:pt x="579" y="11"/>
                    </a:lnTo>
                    <a:lnTo>
                      <a:pt x="583" y="11"/>
                    </a:lnTo>
                    <a:lnTo>
                      <a:pt x="588" y="16"/>
                    </a:lnTo>
                    <a:lnTo>
                      <a:pt x="588" y="21"/>
                    </a:lnTo>
                    <a:lnTo>
                      <a:pt x="586" y="26"/>
                    </a:lnTo>
                    <a:lnTo>
                      <a:pt x="584" y="30"/>
                    </a:lnTo>
                    <a:lnTo>
                      <a:pt x="586" y="34"/>
                    </a:lnTo>
                    <a:lnTo>
                      <a:pt x="588" y="40"/>
                    </a:lnTo>
                    <a:lnTo>
                      <a:pt x="587" y="44"/>
                    </a:lnTo>
                    <a:lnTo>
                      <a:pt x="583" y="49"/>
                    </a:lnTo>
                    <a:lnTo>
                      <a:pt x="578" y="52"/>
                    </a:lnTo>
                    <a:lnTo>
                      <a:pt x="574" y="52"/>
                    </a:lnTo>
                    <a:lnTo>
                      <a:pt x="568" y="53"/>
                    </a:lnTo>
                    <a:lnTo>
                      <a:pt x="568" y="59"/>
                    </a:lnTo>
                    <a:lnTo>
                      <a:pt x="566" y="64"/>
                    </a:lnTo>
                    <a:lnTo>
                      <a:pt x="566" y="69"/>
                    </a:lnTo>
                    <a:lnTo>
                      <a:pt x="566" y="77"/>
                    </a:lnTo>
                    <a:lnTo>
                      <a:pt x="567" y="82"/>
                    </a:lnTo>
                    <a:lnTo>
                      <a:pt x="572" y="87"/>
                    </a:lnTo>
                    <a:lnTo>
                      <a:pt x="574" y="91"/>
                    </a:lnTo>
                    <a:lnTo>
                      <a:pt x="574" y="91"/>
                    </a:lnTo>
                    <a:lnTo>
                      <a:pt x="575" y="92"/>
                    </a:lnTo>
                    <a:lnTo>
                      <a:pt x="575" y="94"/>
                    </a:lnTo>
                    <a:lnTo>
                      <a:pt x="575" y="95"/>
                    </a:lnTo>
                    <a:lnTo>
                      <a:pt x="576" y="97"/>
                    </a:lnTo>
                    <a:lnTo>
                      <a:pt x="576" y="99"/>
                    </a:lnTo>
                    <a:lnTo>
                      <a:pt x="575" y="101"/>
                    </a:lnTo>
                    <a:lnTo>
                      <a:pt x="574" y="101"/>
                    </a:lnTo>
                    <a:lnTo>
                      <a:pt x="573" y="102"/>
                    </a:lnTo>
                    <a:lnTo>
                      <a:pt x="571" y="103"/>
                    </a:lnTo>
                    <a:lnTo>
                      <a:pt x="570" y="103"/>
                    </a:lnTo>
                    <a:lnTo>
                      <a:pt x="569" y="104"/>
                    </a:lnTo>
                    <a:lnTo>
                      <a:pt x="568" y="104"/>
                    </a:lnTo>
                    <a:lnTo>
                      <a:pt x="567" y="105"/>
                    </a:lnTo>
                    <a:lnTo>
                      <a:pt x="566" y="105"/>
                    </a:lnTo>
                    <a:lnTo>
                      <a:pt x="567" y="110"/>
                    </a:lnTo>
                    <a:lnTo>
                      <a:pt x="570" y="114"/>
                    </a:lnTo>
                    <a:lnTo>
                      <a:pt x="576" y="115"/>
                    </a:lnTo>
                    <a:lnTo>
                      <a:pt x="582" y="115"/>
                    </a:lnTo>
                    <a:lnTo>
                      <a:pt x="584" y="116"/>
                    </a:lnTo>
                    <a:lnTo>
                      <a:pt x="587" y="119"/>
                    </a:lnTo>
                    <a:lnTo>
                      <a:pt x="588" y="126"/>
                    </a:lnTo>
                    <a:lnTo>
                      <a:pt x="591" y="130"/>
                    </a:lnTo>
                    <a:lnTo>
                      <a:pt x="595" y="133"/>
                    </a:lnTo>
                    <a:lnTo>
                      <a:pt x="597" y="139"/>
                    </a:lnTo>
                    <a:lnTo>
                      <a:pt x="596" y="147"/>
                    </a:lnTo>
                    <a:lnTo>
                      <a:pt x="595" y="150"/>
                    </a:lnTo>
                    <a:lnTo>
                      <a:pt x="595" y="157"/>
                    </a:lnTo>
                    <a:lnTo>
                      <a:pt x="596" y="160"/>
                    </a:lnTo>
                    <a:lnTo>
                      <a:pt x="597" y="162"/>
                    </a:lnTo>
                    <a:lnTo>
                      <a:pt x="600" y="164"/>
                    </a:lnTo>
                    <a:lnTo>
                      <a:pt x="602" y="164"/>
                    </a:lnTo>
                    <a:lnTo>
                      <a:pt x="606" y="161"/>
                    </a:lnTo>
                    <a:lnTo>
                      <a:pt x="608" y="159"/>
                    </a:lnTo>
                    <a:lnTo>
                      <a:pt x="610" y="160"/>
                    </a:lnTo>
                    <a:lnTo>
                      <a:pt x="613" y="163"/>
                    </a:lnTo>
                    <a:lnTo>
                      <a:pt x="612" y="170"/>
                    </a:lnTo>
                    <a:lnTo>
                      <a:pt x="612" y="174"/>
                    </a:lnTo>
                    <a:lnTo>
                      <a:pt x="615" y="177"/>
                    </a:lnTo>
                    <a:lnTo>
                      <a:pt x="619" y="179"/>
                    </a:lnTo>
                    <a:lnTo>
                      <a:pt x="624" y="181"/>
                    </a:lnTo>
                    <a:lnTo>
                      <a:pt x="625" y="183"/>
                    </a:lnTo>
                    <a:lnTo>
                      <a:pt x="625" y="188"/>
                    </a:lnTo>
                    <a:lnTo>
                      <a:pt x="627" y="192"/>
                    </a:lnTo>
                    <a:lnTo>
                      <a:pt x="631" y="193"/>
                    </a:lnTo>
                    <a:lnTo>
                      <a:pt x="635" y="194"/>
                    </a:lnTo>
                    <a:lnTo>
                      <a:pt x="636" y="198"/>
                    </a:lnTo>
                    <a:lnTo>
                      <a:pt x="635" y="204"/>
                    </a:lnTo>
                    <a:lnTo>
                      <a:pt x="633" y="209"/>
                    </a:lnTo>
                    <a:lnTo>
                      <a:pt x="629" y="219"/>
                    </a:lnTo>
                    <a:lnTo>
                      <a:pt x="626" y="223"/>
                    </a:lnTo>
                    <a:lnTo>
                      <a:pt x="626" y="228"/>
                    </a:lnTo>
                    <a:lnTo>
                      <a:pt x="626" y="234"/>
                    </a:lnTo>
                    <a:lnTo>
                      <a:pt x="626" y="242"/>
                    </a:lnTo>
                    <a:lnTo>
                      <a:pt x="626" y="254"/>
                    </a:lnTo>
                    <a:lnTo>
                      <a:pt x="628" y="257"/>
                    </a:lnTo>
                    <a:lnTo>
                      <a:pt x="627" y="260"/>
                    </a:lnTo>
                    <a:lnTo>
                      <a:pt x="624" y="265"/>
                    </a:lnTo>
                    <a:lnTo>
                      <a:pt x="625" y="272"/>
                    </a:lnTo>
                    <a:lnTo>
                      <a:pt x="623" y="277"/>
                    </a:lnTo>
                    <a:lnTo>
                      <a:pt x="620" y="282"/>
                    </a:lnTo>
                    <a:lnTo>
                      <a:pt x="616" y="288"/>
                    </a:lnTo>
                    <a:lnTo>
                      <a:pt x="613" y="290"/>
                    </a:lnTo>
                    <a:lnTo>
                      <a:pt x="612" y="296"/>
                    </a:lnTo>
                    <a:lnTo>
                      <a:pt x="606" y="298"/>
                    </a:lnTo>
                    <a:lnTo>
                      <a:pt x="602" y="301"/>
                    </a:lnTo>
                    <a:lnTo>
                      <a:pt x="594" y="302"/>
                    </a:lnTo>
                    <a:lnTo>
                      <a:pt x="590" y="308"/>
                    </a:lnTo>
                    <a:lnTo>
                      <a:pt x="586" y="312"/>
                    </a:lnTo>
                    <a:lnTo>
                      <a:pt x="578" y="307"/>
                    </a:lnTo>
                    <a:lnTo>
                      <a:pt x="567" y="302"/>
                    </a:lnTo>
                    <a:lnTo>
                      <a:pt x="560" y="297"/>
                    </a:lnTo>
                    <a:lnTo>
                      <a:pt x="554" y="297"/>
                    </a:lnTo>
                    <a:lnTo>
                      <a:pt x="548" y="299"/>
                    </a:lnTo>
                    <a:lnTo>
                      <a:pt x="544" y="302"/>
                    </a:lnTo>
                    <a:lnTo>
                      <a:pt x="544" y="307"/>
                    </a:lnTo>
                    <a:lnTo>
                      <a:pt x="546" y="313"/>
                    </a:lnTo>
                    <a:lnTo>
                      <a:pt x="550" y="318"/>
                    </a:lnTo>
                    <a:lnTo>
                      <a:pt x="551" y="321"/>
                    </a:lnTo>
                    <a:lnTo>
                      <a:pt x="548" y="325"/>
                    </a:lnTo>
                    <a:lnTo>
                      <a:pt x="544" y="328"/>
                    </a:lnTo>
                    <a:lnTo>
                      <a:pt x="537" y="330"/>
                    </a:lnTo>
                    <a:lnTo>
                      <a:pt x="530" y="333"/>
                    </a:lnTo>
                    <a:lnTo>
                      <a:pt x="519" y="335"/>
                    </a:lnTo>
                    <a:lnTo>
                      <a:pt x="512" y="335"/>
                    </a:lnTo>
                    <a:lnTo>
                      <a:pt x="505" y="334"/>
                    </a:lnTo>
                    <a:lnTo>
                      <a:pt x="500" y="335"/>
                    </a:lnTo>
                    <a:lnTo>
                      <a:pt x="495" y="339"/>
                    </a:lnTo>
                    <a:lnTo>
                      <a:pt x="489" y="346"/>
                    </a:lnTo>
                    <a:lnTo>
                      <a:pt x="483" y="354"/>
                    </a:lnTo>
                    <a:lnTo>
                      <a:pt x="482" y="359"/>
                    </a:lnTo>
                    <a:lnTo>
                      <a:pt x="482" y="368"/>
                    </a:lnTo>
                    <a:lnTo>
                      <a:pt x="487" y="372"/>
                    </a:lnTo>
                    <a:lnTo>
                      <a:pt x="495" y="374"/>
                    </a:lnTo>
                    <a:lnTo>
                      <a:pt x="498" y="372"/>
                    </a:lnTo>
                    <a:lnTo>
                      <a:pt x="504" y="369"/>
                    </a:lnTo>
                    <a:lnTo>
                      <a:pt x="508" y="371"/>
                    </a:lnTo>
                    <a:lnTo>
                      <a:pt x="512" y="375"/>
                    </a:lnTo>
                    <a:lnTo>
                      <a:pt x="511" y="385"/>
                    </a:lnTo>
                    <a:lnTo>
                      <a:pt x="508" y="389"/>
                    </a:lnTo>
                    <a:lnTo>
                      <a:pt x="505" y="396"/>
                    </a:lnTo>
                    <a:lnTo>
                      <a:pt x="505" y="403"/>
                    </a:lnTo>
                    <a:lnTo>
                      <a:pt x="506" y="408"/>
                    </a:lnTo>
                    <a:lnTo>
                      <a:pt x="504" y="411"/>
                    </a:lnTo>
                    <a:lnTo>
                      <a:pt x="488" y="411"/>
                    </a:lnTo>
                    <a:lnTo>
                      <a:pt x="482" y="412"/>
                    </a:lnTo>
                    <a:lnTo>
                      <a:pt x="476" y="414"/>
                    </a:lnTo>
                    <a:lnTo>
                      <a:pt x="473" y="418"/>
                    </a:lnTo>
                    <a:lnTo>
                      <a:pt x="471" y="423"/>
                    </a:lnTo>
                    <a:lnTo>
                      <a:pt x="471" y="433"/>
                    </a:lnTo>
                    <a:lnTo>
                      <a:pt x="466" y="438"/>
                    </a:lnTo>
                    <a:lnTo>
                      <a:pt x="460" y="447"/>
                    </a:lnTo>
                    <a:lnTo>
                      <a:pt x="458" y="454"/>
                    </a:lnTo>
                    <a:lnTo>
                      <a:pt x="454" y="461"/>
                    </a:lnTo>
                    <a:lnTo>
                      <a:pt x="442" y="476"/>
                    </a:lnTo>
                    <a:lnTo>
                      <a:pt x="437" y="480"/>
                    </a:lnTo>
                    <a:lnTo>
                      <a:pt x="432" y="477"/>
                    </a:lnTo>
                    <a:lnTo>
                      <a:pt x="426" y="475"/>
                    </a:lnTo>
                    <a:lnTo>
                      <a:pt x="418" y="473"/>
                    </a:lnTo>
                    <a:lnTo>
                      <a:pt x="413" y="478"/>
                    </a:lnTo>
                    <a:lnTo>
                      <a:pt x="409" y="483"/>
                    </a:lnTo>
                    <a:lnTo>
                      <a:pt x="404" y="489"/>
                    </a:lnTo>
                    <a:lnTo>
                      <a:pt x="400" y="497"/>
                    </a:lnTo>
                    <a:lnTo>
                      <a:pt x="395" y="502"/>
                    </a:lnTo>
                    <a:lnTo>
                      <a:pt x="394" y="506"/>
                    </a:lnTo>
                    <a:lnTo>
                      <a:pt x="393" y="510"/>
                    </a:lnTo>
                    <a:lnTo>
                      <a:pt x="392" y="517"/>
                    </a:lnTo>
                    <a:lnTo>
                      <a:pt x="386" y="521"/>
                    </a:lnTo>
                    <a:lnTo>
                      <a:pt x="382" y="517"/>
                    </a:lnTo>
                    <a:lnTo>
                      <a:pt x="373" y="508"/>
                    </a:lnTo>
                    <a:lnTo>
                      <a:pt x="370" y="501"/>
                    </a:lnTo>
                    <a:lnTo>
                      <a:pt x="371" y="495"/>
                    </a:lnTo>
                    <a:lnTo>
                      <a:pt x="372" y="484"/>
                    </a:lnTo>
                    <a:lnTo>
                      <a:pt x="371" y="479"/>
                    </a:lnTo>
                    <a:lnTo>
                      <a:pt x="368" y="474"/>
                    </a:lnTo>
                    <a:lnTo>
                      <a:pt x="360" y="471"/>
                    </a:lnTo>
                    <a:lnTo>
                      <a:pt x="354" y="472"/>
                    </a:lnTo>
                    <a:lnTo>
                      <a:pt x="351" y="467"/>
                    </a:lnTo>
                    <a:lnTo>
                      <a:pt x="351" y="463"/>
                    </a:lnTo>
                    <a:lnTo>
                      <a:pt x="348" y="458"/>
                    </a:lnTo>
                    <a:lnTo>
                      <a:pt x="344" y="455"/>
                    </a:lnTo>
                    <a:lnTo>
                      <a:pt x="335" y="453"/>
                    </a:lnTo>
                    <a:lnTo>
                      <a:pt x="329" y="456"/>
                    </a:lnTo>
                    <a:lnTo>
                      <a:pt x="325" y="464"/>
                    </a:lnTo>
                    <a:lnTo>
                      <a:pt x="327" y="470"/>
                    </a:lnTo>
                    <a:lnTo>
                      <a:pt x="326" y="476"/>
                    </a:lnTo>
                    <a:lnTo>
                      <a:pt x="321" y="479"/>
                    </a:lnTo>
                    <a:lnTo>
                      <a:pt x="319" y="484"/>
                    </a:lnTo>
                    <a:lnTo>
                      <a:pt x="317" y="487"/>
                    </a:lnTo>
                    <a:lnTo>
                      <a:pt x="317" y="499"/>
                    </a:lnTo>
                    <a:lnTo>
                      <a:pt x="314" y="499"/>
                    </a:lnTo>
                    <a:lnTo>
                      <a:pt x="305" y="500"/>
                    </a:lnTo>
                    <a:lnTo>
                      <a:pt x="300" y="506"/>
                    </a:lnTo>
                    <a:lnTo>
                      <a:pt x="289" y="506"/>
                    </a:lnTo>
                    <a:lnTo>
                      <a:pt x="282" y="508"/>
                    </a:lnTo>
                    <a:lnTo>
                      <a:pt x="275" y="509"/>
                    </a:lnTo>
                    <a:lnTo>
                      <a:pt x="269" y="510"/>
                    </a:lnTo>
                    <a:lnTo>
                      <a:pt x="266" y="515"/>
                    </a:lnTo>
                    <a:lnTo>
                      <a:pt x="264" y="518"/>
                    </a:lnTo>
                    <a:lnTo>
                      <a:pt x="256" y="518"/>
                    </a:lnTo>
                    <a:lnTo>
                      <a:pt x="253" y="523"/>
                    </a:lnTo>
                    <a:lnTo>
                      <a:pt x="253" y="526"/>
                    </a:lnTo>
                    <a:lnTo>
                      <a:pt x="250" y="529"/>
                    </a:lnTo>
                    <a:lnTo>
                      <a:pt x="246" y="533"/>
                    </a:lnTo>
                    <a:lnTo>
                      <a:pt x="243" y="534"/>
                    </a:lnTo>
                    <a:lnTo>
                      <a:pt x="232" y="534"/>
                    </a:lnTo>
                    <a:lnTo>
                      <a:pt x="225" y="534"/>
                    </a:lnTo>
                    <a:lnTo>
                      <a:pt x="219" y="535"/>
                    </a:lnTo>
                    <a:lnTo>
                      <a:pt x="212" y="543"/>
                    </a:lnTo>
                    <a:lnTo>
                      <a:pt x="206" y="546"/>
                    </a:lnTo>
                    <a:lnTo>
                      <a:pt x="198" y="548"/>
                    </a:lnTo>
                    <a:lnTo>
                      <a:pt x="184" y="551"/>
                    </a:lnTo>
                    <a:lnTo>
                      <a:pt x="182" y="554"/>
                    </a:lnTo>
                    <a:lnTo>
                      <a:pt x="177" y="560"/>
                    </a:lnTo>
                    <a:lnTo>
                      <a:pt x="171" y="567"/>
                    </a:lnTo>
                    <a:lnTo>
                      <a:pt x="170" y="572"/>
                    </a:lnTo>
                    <a:lnTo>
                      <a:pt x="165" y="578"/>
                    </a:lnTo>
                    <a:lnTo>
                      <a:pt x="161" y="577"/>
                    </a:lnTo>
                    <a:lnTo>
                      <a:pt x="155" y="574"/>
                    </a:lnTo>
                    <a:lnTo>
                      <a:pt x="147" y="570"/>
                    </a:lnTo>
                    <a:lnTo>
                      <a:pt x="141" y="576"/>
                    </a:lnTo>
                    <a:lnTo>
                      <a:pt x="143" y="583"/>
                    </a:lnTo>
                    <a:lnTo>
                      <a:pt x="149" y="588"/>
                    </a:lnTo>
                    <a:lnTo>
                      <a:pt x="150" y="595"/>
                    </a:lnTo>
                    <a:lnTo>
                      <a:pt x="150" y="605"/>
                    </a:lnTo>
                    <a:lnTo>
                      <a:pt x="147" y="609"/>
                    </a:lnTo>
                    <a:lnTo>
                      <a:pt x="140" y="611"/>
                    </a:lnTo>
                    <a:lnTo>
                      <a:pt x="132" y="609"/>
                    </a:lnTo>
                    <a:lnTo>
                      <a:pt x="122" y="607"/>
                    </a:lnTo>
                    <a:lnTo>
                      <a:pt x="116" y="603"/>
                    </a:lnTo>
                    <a:lnTo>
                      <a:pt x="116" y="597"/>
                    </a:lnTo>
                    <a:lnTo>
                      <a:pt x="107" y="597"/>
                    </a:lnTo>
                    <a:lnTo>
                      <a:pt x="100" y="603"/>
                    </a:lnTo>
                    <a:lnTo>
                      <a:pt x="97" y="605"/>
                    </a:lnTo>
                    <a:lnTo>
                      <a:pt x="88" y="603"/>
                    </a:lnTo>
                    <a:lnTo>
                      <a:pt x="81" y="601"/>
                    </a:lnTo>
                    <a:lnTo>
                      <a:pt x="71" y="597"/>
                    </a:lnTo>
                    <a:lnTo>
                      <a:pt x="68" y="595"/>
                    </a:lnTo>
                    <a:lnTo>
                      <a:pt x="71" y="593"/>
                    </a:lnTo>
                    <a:lnTo>
                      <a:pt x="74" y="591"/>
                    </a:lnTo>
                    <a:lnTo>
                      <a:pt x="74" y="589"/>
                    </a:lnTo>
                    <a:lnTo>
                      <a:pt x="75" y="588"/>
                    </a:lnTo>
                    <a:lnTo>
                      <a:pt x="75" y="582"/>
                    </a:lnTo>
                    <a:lnTo>
                      <a:pt x="74" y="581"/>
                    </a:lnTo>
                    <a:lnTo>
                      <a:pt x="72" y="577"/>
                    </a:lnTo>
                    <a:lnTo>
                      <a:pt x="72" y="576"/>
                    </a:lnTo>
                    <a:lnTo>
                      <a:pt x="71" y="575"/>
                    </a:lnTo>
                    <a:lnTo>
                      <a:pt x="71" y="574"/>
                    </a:lnTo>
                    <a:lnTo>
                      <a:pt x="70" y="572"/>
                    </a:lnTo>
                    <a:lnTo>
                      <a:pt x="70" y="570"/>
                    </a:lnTo>
                    <a:lnTo>
                      <a:pt x="69" y="570"/>
                    </a:lnTo>
                    <a:lnTo>
                      <a:pt x="69" y="569"/>
                    </a:lnTo>
                    <a:lnTo>
                      <a:pt x="61" y="566"/>
                    </a:lnTo>
                    <a:lnTo>
                      <a:pt x="56" y="566"/>
                    </a:lnTo>
                    <a:lnTo>
                      <a:pt x="49" y="565"/>
                    </a:lnTo>
                    <a:lnTo>
                      <a:pt x="47" y="561"/>
                    </a:lnTo>
                    <a:lnTo>
                      <a:pt x="45" y="554"/>
                    </a:lnTo>
                    <a:lnTo>
                      <a:pt x="45" y="543"/>
                    </a:lnTo>
                    <a:lnTo>
                      <a:pt x="51" y="541"/>
                    </a:lnTo>
                    <a:lnTo>
                      <a:pt x="57" y="542"/>
                    </a:lnTo>
                    <a:lnTo>
                      <a:pt x="62" y="539"/>
                    </a:lnTo>
                    <a:lnTo>
                      <a:pt x="59" y="528"/>
                    </a:lnTo>
                    <a:lnTo>
                      <a:pt x="51" y="528"/>
                    </a:lnTo>
                    <a:lnTo>
                      <a:pt x="42" y="529"/>
                    </a:lnTo>
                    <a:lnTo>
                      <a:pt x="39" y="523"/>
                    </a:lnTo>
                    <a:lnTo>
                      <a:pt x="36" y="516"/>
                    </a:lnTo>
                    <a:lnTo>
                      <a:pt x="31" y="508"/>
                    </a:lnTo>
                    <a:lnTo>
                      <a:pt x="24" y="501"/>
                    </a:lnTo>
                    <a:lnTo>
                      <a:pt x="18" y="497"/>
                    </a:lnTo>
                    <a:lnTo>
                      <a:pt x="9" y="493"/>
                    </a:lnTo>
                    <a:lnTo>
                      <a:pt x="7" y="481"/>
                    </a:lnTo>
                    <a:lnTo>
                      <a:pt x="2" y="475"/>
                    </a:lnTo>
                    <a:lnTo>
                      <a:pt x="2" y="472"/>
                    </a:lnTo>
                    <a:lnTo>
                      <a:pt x="8" y="466"/>
                    </a:lnTo>
                    <a:lnTo>
                      <a:pt x="12" y="462"/>
                    </a:lnTo>
                    <a:lnTo>
                      <a:pt x="18" y="457"/>
                    </a:lnTo>
                    <a:lnTo>
                      <a:pt x="26" y="455"/>
                    </a:lnTo>
                    <a:lnTo>
                      <a:pt x="34" y="453"/>
                    </a:lnTo>
                    <a:lnTo>
                      <a:pt x="39" y="451"/>
                    </a:lnTo>
                    <a:lnTo>
                      <a:pt x="39" y="449"/>
                    </a:lnTo>
                    <a:lnTo>
                      <a:pt x="38" y="448"/>
                    </a:lnTo>
                    <a:lnTo>
                      <a:pt x="38" y="446"/>
                    </a:lnTo>
                    <a:lnTo>
                      <a:pt x="35" y="443"/>
                    </a:lnTo>
                    <a:lnTo>
                      <a:pt x="33" y="442"/>
                    </a:lnTo>
                    <a:lnTo>
                      <a:pt x="31" y="440"/>
                    </a:lnTo>
                    <a:lnTo>
                      <a:pt x="31" y="440"/>
                    </a:lnTo>
                    <a:lnTo>
                      <a:pt x="25" y="438"/>
                    </a:lnTo>
                    <a:lnTo>
                      <a:pt x="19" y="434"/>
                    </a:lnTo>
                    <a:lnTo>
                      <a:pt x="14" y="430"/>
                    </a:lnTo>
                    <a:lnTo>
                      <a:pt x="11" y="426"/>
                    </a:lnTo>
                    <a:lnTo>
                      <a:pt x="7" y="422"/>
                    </a:lnTo>
                    <a:lnTo>
                      <a:pt x="3" y="413"/>
                    </a:lnTo>
                    <a:lnTo>
                      <a:pt x="2" y="412"/>
                    </a:lnTo>
                    <a:lnTo>
                      <a:pt x="1" y="411"/>
                    </a:lnTo>
                    <a:lnTo>
                      <a:pt x="0" y="410"/>
                    </a:lnTo>
                    <a:lnTo>
                      <a:pt x="0" y="409"/>
                    </a:lnTo>
                    <a:lnTo>
                      <a:pt x="1" y="407"/>
                    </a:lnTo>
                    <a:lnTo>
                      <a:pt x="1" y="405"/>
                    </a:lnTo>
                    <a:lnTo>
                      <a:pt x="2" y="404"/>
                    </a:lnTo>
                    <a:lnTo>
                      <a:pt x="2" y="402"/>
                    </a:lnTo>
                    <a:lnTo>
                      <a:pt x="10" y="400"/>
                    </a:lnTo>
                    <a:lnTo>
                      <a:pt x="13" y="405"/>
                    </a:lnTo>
                    <a:lnTo>
                      <a:pt x="18" y="406"/>
                    </a:lnTo>
                    <a:lnTo>
                      <a:pt x="21" y="400"/>
                    </a:lnTo>
                    <a:lnTo>
                      <a:pt x="20" y="392"/>
                    </a:lnTo>
                    <a:lnTo>
                      <a:pt x="26" y="387"/>
                    </a:lnTo>
                    <a:lnTo>
                      <a:pt x="33" y="383"/>
                    </a:lnTo>
                    <a:lnTo>
                      <a:pt x="40" y="383"/>
                    </a:lnTo>
                    <a:lnTo>
                      <a:pt x="46" y="382"/>
                    </a:lnTo>
                    <a:lnTo>
                      <a:pt x="47" y="374"/>
                    </a:lnTo>
                    <a:lnTo>
                      <a:pt x="44" y="370"/>
                    </a:lnTo>
                    <a:lnTo>
                      <a:pt x="43" y="369"/>
                    </a:lnTo>
                    <a:lnTo>
                      <a:pt x="42" y="368"/>
                    </a:lnTo>
                    <a:lnTo>
                      <a:pt x="41" y="366"/>
                    </a:lnTo>
                    <a:lnTo>
                      <a:pt x="40" y="365"/>
                    </a:lnTo>
                    <a:lnTo>
                      <a:pt x="38" y="363"/>
                    </a:lnTo>
                    <a:lnTo>
                      <a:pt x="38" y="353"/>
                    </a:lnTo>
                    <a:lnTo>
                      <a:pt x="40" y="343"/>
                    </a:lnTo>
                    <a:lnTo>
                      <a:pt x="48" y="339"/>
                    </a:lnTo>
                    <a:lnTo>
                      <a:pt x="49" y="337"/>
                    </a:lnTo>
                    <a:lnTo>
                      <a:pt x="50" y="337"/>
                    </a:lnTo>
                    <a:lnTo>
                      <a:pt x="51" y="335"/>
                    </a:lnTo>
                    <a:lnTo>
                      <a:pt x="51" y="335"/>
                    </a:lnTo>
                    <a:lnTo>
                      <a:pt x="51" y="326"/>
                    </a:lnTo>
                    <a:lnTo>
                      <a:pt x="56" y="323"/>
                    </a:lnTo>
                    <a:lnTo>
                      <a:pt x="63" y="317"/>
                    </a:lnTo>
                    <a:lnTo>
                      <a:pt x="67" y="312"/>
                    </a:lnTo>
                    <a:lnTo>
                      <a:pt x="64" y="302"/>
                    </a:lnTo>
                    <a:lnTo>
                      <a:pt x="62" y="293"/>
                    </a:lnTo>
                    <a:lnTo>
                      <a:pt x="62" y="287"/>
                    </a:lnTo>
                    <a:lnTo>
                      <a:pt x="67" y="281"/>
                    </a:lnTo>
                    <a:lnTo>
                      <a:pt x="70" y="276"/>
                    </a:lnTo>
                    <a:lnTo>
                      <a:pt x="63" y="269"/>
                    </a:lnTo>
                    <a:lnTo>
                      <a:pt x="56" y="260"/>
                    </a:lnTo>
                    <a:lnTo>
                      <a:pt x="53" y="251"/>
                    </a:lnTo>
                    <a:lnTo>
                      <a:pt x="47" y="249"/>
                    </a:lnTo>
                    <a:lnTo>
                      <a:pt x="47" y="241"/>
                    </a:lnTo>
                    <a:lnTo>
                      <a:pt x="48" y="240"/>
                    </a:lnTo>
                    <a:lnTo>
                      <a:pt x="49" y="238"/>
                    </a:lnTo>
                    <a:lnTo>
                      <a:pt x="49" y="236"/>
                    </a:lnTo>
                    <a:lnTo>
                      <a:pt x="49" y="234"/>
                    </a:lnTo>
                    <a:lnTo>
                      <a:pt x="50" y="233"/>
                    </a:lnTo>
                    <a:lnTo>
                      <a:pt x="50" y="233"/>
                    </a:lnTo>
                    <a:lnTo>
                      <a:pt x="51" y="228"/>
                    </a:lnTo>
                    <a:lnTo>
                      <a:pt x="41" y="225"/>
                    </a:lnTo>
                    <a:lnTo>
                      <a:pt x="43" y="213"/>
                    </a:lnTo>
                    <a:lnTo>
                      <a:pt x="29" y="207"/>
                    </a:lnTo>
                    <a:lnTo>
                      <a:pt x="27" y="201"/>
                    </a:lnTo>
                    <a:lnTo>
                      <a:pt x="30" y="196"/>
                    </a:lnTo>
                    <a:lnTo>
                      <a:pt x="33" y="191"/>
                    </a:lnTo>
                    <a:lnTo>
                      <a:pt x="35" y="178"/>
                    </a:lnTo>
                    <a:lnTo>
                      <a:pt x="50" y="178"/>
                    </a:lnTo>
                    <a:lnTo>
                      <a:pt x="55" y="174"/>
                    </a:lnTo>
                    <a:lnTo>
                      <a:pt x="62" y="180"/>
                    </a:lnTo>
                    <a:lnTo>
                      <a:pt x="63" y="177"/>
                    </a:lnTo>
                    <a:lnTo>
                      <a:pt x="60" y="170"/>
                    </a:lnTo>
                    <a:lnTo>
                      <a:pt x="58" y="161"/>
                    </a:lnTo>
                    <a:lnTo>
                      <a:pt x="65" y="162"/>
                    </a:lnTo>
                    <a:lnTo>
                      <a:pt x="76" y="165"/>
                    </a:lnTo>
                    <a:lnTo>
                      <a:pt x="84" y="169"/>
                    </a:lnTo>
                    <a:lnTo>
                      <a:pt x="94" y="172"/>
                    </a:lnTo>
                    <a:lnTo>
                      <a:pt x="104" y="179"/>
                    </a:lnTo>
                    <a:lnTo>
                      <a:pt x="108" y="172"/>
                    </a:lnTo>
                    <a:lnTo>
                      <a:pt x="114" y="167"/>
                    </a:lnTo>
                    <a:lnTo>
                      <a:pt x="122" y="167"/>
                    </a:lnTo>
                    <a:lnTo>
                      <a:pt x="122" y="173"/>
                    </a:lnTo>
                    <a:lnTo>
                      <a:pt x="135" y="174"/>
                    </a:lnTo>
                    <a:lnTo>
                      <a:pt x="138" y="170"/>
                    </a:lnTo>
                    <a:lnTo>
                      <a:pt x="138" y="165"/>
                    </a:lnTo>
                    <a:lnTo>
                      <a:pt x="144" y="160"/>
                    </a:lnTo>
                    <a:lnTo>
                      <a:pt x="153" y="161"/>
                    </a:lnTo>
                    <a:lnTo>
                      <a:pt x="160" y="164"/>
                    </a:lnTo>
                    <a:lnTo>
                      <a:pt x="166" y="161"/>
                    </a:lnTo>
                    <a:lnTo>
                      <a:pt x="175" y="157"/>
                    </a:lnTo>
                    <a:lnTo>
                      <a:pt x="185" y="148"/>
                    </a:lnTo>
                    <a:lnTo>
                      <a:pt x="185" y="148"/>
                    </a:lnTo>
                    <a:lnTo>
                      <a:pt x="183" y="146"/>
                    </a:lnTo>
                    <a:lnTo>
                      <a:pt x="182" y="144"/>
                    </a:lnTo>
                    <a:lnTo>
                      <a:pt x="181" y="143"/>
                    </a:lnTo>
                    <a:lnTo>
                      <a:pt x="180" y="141"/>
                    </a:lnTo>
                    <a:lnTo>
                      <a:pt x="180" y="140"/>
                    </a:lnTo>
                    <a:lnTo>
                      <a:pt x="179" y="139"/>
                    </a:lnTo>
                    <a:lnTo>
                      <a:pt x="178" y="138"/>
                    </a:lnTo>
                    <a:lnTo>
                      <a:pt x="177" y="137"/>
                    </a:lnTo>
                    <a:lnTo>
                      <a:pt x="175" y="136"/>
                    </a:lnTo>
                    <a:lnTo>
                      <a:pt x="175" y="135"/>
                    </a:lnTo>
                    <a:lnTo>
                      <a:pt x="173" y="134"/>
                    </a:lnTo>
                    <a:lnTo>
                      <a:pt x="165" y="128"/>
                    </a:lnTo>
                    <a:lnTo>
                      <a:pt x="159" y="124"/>
                    </a:lnTo>
                    <a:lnTo>
                      <a:pt x="160" y="119"/>
                    </a:lnTo>
                    <a:lnTo>
                      <a:pt x="165" y="108"/>
                    </a:lnTo>
                    <a:lnTo>
                      <a:pt x="170" y="104"/>
                    </a:lnTo>
                    <a:lnTo>
                      <a:pt x="175" y="104"/>
                    </a:lnTo>
                    <a:lnTo>
                      <a:pt x="184" y="104"/>
                    </a:lnTo>
                    <a:lnTo>
                      <a:pt x="189" y="99"/>
                    </a:lnTo>
                    <a:lnTo>
                      <a:pt x="199" y="99"/>
                    </a:lnTo>
                    <a:lnTo>
                      <a:pt x="203" y="93"/>
                    </a:lnTo>
                    <a:lnTo>
                      <a:pt x="199" y="85"/>
                    </a:lnTo>
                    <a:lnTo>
                      <a:pt x="202" y="80"/>
                    </a:lnTo>
                    <a:lnTo>
                      <a:pt x="210" y="77"/>
                    </a:lnTo>
                    <a:lnTo>
                      <a:pt x="216" y="80"/>
                    </a:lnTo>
                    <a:lnTo>
                      <a:pt x="219" y="77"/>
                    </a:lnTo>
                    <a:lnTo>
                      <a:pt x="221" y="72"/>
                    </a:lnTo>
                    <a:lnTo>
                      <a:pt x="224" y="67"/>
                    </a:lnTo>
                    <a:lnTo>
                      <a:pt x="226" y="63"/>
                    </a:lnTo>
                    <a:lnTo>
                      <a:pt x="220" y="58"/>
                    </a:lnTo>
                    <a:lnTo>
                      <a:pt x="218" y="53"/>
                    </a:lnTo>
                    <a:lnTo>
                      <a:pt x="222" y="49"/>
                    </a:lnTo>
                    <a:lnTo>
                      <a:pt x="228" y="47"/>
                    </a:lnTo>
                    <a:lnTo>
                      <a:pt x="235" y="44"/>
                    </a:lnTo>
                    <a:lnTo>
                      <a:pt x="240" y="49"/>
                    </a:lnTo>
                    <a:lnTo>
                      <a:pt x="242" y="54"/>
                    </a:lnTo>
                    <a:lnTo>
                      <a:pt x="246" y="60"/>
                    </a:lnTo>
                    <a:lnTo>
                      <a:pt x="249" y="64"/>
                    </a:lnTo>
                    <a:lnTo>
                      <a:pt x="256" y="66"/>
                    </a:lnTo>
                    <a:lnTo>
                      <a:pt x="262" y="66"/>
                    </a:lnTo>
                    <a:lnTo>
                      <a:pt x="268" y="65"/>
                    </a:lnTo>
                    <a:lnTo>
                      <a:pt x="272" y="62"/>
                    </a:lnTo>
                    <a:lnTo>
                      <a:pt x="275" y="59"/>
                    </a:lnTo>
                    <a:lnTo>
                      <a:pt x="283" y="56"/>
                    </a:lnTo>
                    <a:lnTo>
                      <a:pt x="287" y="54"/>
                    </a:lnTo>
                    <a:lnTo>
                      <a:pt x="293" y="53"/>
                    </a:lnTo>
                    <a:lnTo>
                      <a:pt x="294" y="50"/>
                    </a:lnTo>
                    <a:lnTo>
                      <a:pt x="295" y="47"/>
                    </a:lnTo>
                    <a:lnTo>
                      <a:pt x="300" y="42"/>
                    </a:lnTo>
                    <a:lnTo>
                      <a:pt x="302" y="40"/>
                    </a:lnTo>
                    <a:lnTo>
                      <a:pt x="306" y="38"/>
                    </a:lnTo>
                    <a:lnTo>
                      <a:pt x="310" y="36"/>
                    </a:lnTo>
                    <a:lnTo>
                      <a:pt x="317" y="34"/>
                    </a:lnTo>
                    <a:lnTo>
                      <a:pt x="324" y="32"/>
                    </a:lnTo>
                    <a:lnTo>
                      <a:pt x="326" y="28"/>
                    </a:lnTo>
                    <a:lnTo>
                      <a:pt x="326" y="14"/>
                    </a:lnTo>
                    <a:lnTo>
                      <a:pt x="331" y="12"/>
                    </a:lnTo>
                    <a:lnTo>
                      <a:pt x="335" y="12"/>
                    </a:lnTo>
                    <a:lnTo>
                      <a:pt x="338" y="14"/>
                    </a:lnTo>
                    <a:lnTo>
                      <a:pt x="341" y="18"/>
                    </a:lnTo>
                    <a:lnTo>
                      <a:pt x="346" y="21"/>
                    </a:lnTo>
                    <a:lnTo>
                      <a:pt x="350" y="25"/>
                    </a:lnTo>
                    <a:lnTo>
                      <a:pt x="352" y="29"/>
                    </a:lnTo>
                    <a:lnTo>
                      <a:pt x="356" y="36"/>
                    </a:lnTo>
                    <a:lnTo>
                      <a:pt x="359" y="36"/>
                    </a:lnTo>
                    <a:lnTo>
                      <a:pt x="366" y="36"/>
                    </a:lnTo>
                    <a:lnTo>
                      <a:pt x="373" y="38"/>
                    </a:lnTo>
                    <a:lnTo>
                      <a:pt x="380" y="38"/>
                    </a:lnTo>
                    <a:lnTo>
                      <a:pt x="387" y="40"/>
                    </a:lnTo>
                    <a:lnTo>
                      <a:pt x="391" y="44"/>
                    </a:lnTo>
                    <a:lnTo>
                      <a:pt x="391" y="49"/>
                    </a:lnTo>
                    <a:lnTo>
                      <a:pt x="386" y="52"/>
                    </a:lnTo>
                    <a:lnTo>
                      <a:pt x="377" y="60"/>
                    </a:lnTo>
                    <a:lnTo>
                      <a:pt x="372" y="71"/>
                    </a:lnTo>
                    <a:lnTo>
                      <a:pt x="373" y="79"/>
                    </a:lnTo>
                    <a:lnTo>
                      <a:pt x="373" y="85"/>
                    </a:lnTo>
                    <a:lnTo>
                      <a:pt x="377" y="91"/>
                    </a:lnTo>
                    <a:lnTo>
                      <a:pt x="381" y="95"/>
                    </a:lnTo>
                    <a:lnTo>
                      <a:pt x="386" y="98"/>
                    </a:lnTo>
                    <a:lnTo>
                      <a:pt x="388" y="102"/>
                    </a:lnTo>
                    <a:lnTo>
                      <a:pt x="388" y="108"/>
                    </a:lnTo>
                    <a:lnTo>
                      <a:pt x="385" y="112"/>
                    </a:lnTo>
                    <a:lnTo>
                      <a:pt x="384" y="113"/>
                    </a:lnTo>
                    <a:lnTo>
                      <a:pt x="383" y="113"/>
                    </a:lnTo>
                    <a:lnTo>
                      <a:pt x="380" y="116"/>
                    </a:lnTo>
                    <a:lnTo>
                      <a:pt x="379" y="117"/>
                    </a:lnTo>
                    <a:lnTo>
                      <a:pt x="378" y="117"/>
                    </a:lnTo>
                    <a:lnTo>
                      <a:pt x="375" y="119"/>
                    </a:lnTo>
                    <a:lnTo>
                      <a:pt x="373" y="121"/>
                    </a:lnTo>
                    <a:lnTo>
                      <a:pt x="373" y="126"/>
                    </a:lnTo>
                    <a:lnTo>
                      <a:pt x="376" y="129"/>
                    </a:lnTo>
                    <a:lnTo>
                      <a:pt x="382" y="132"/>
                    </a:lnTo>
                    <a:lnTo>
                      <a:pt x="387" y="132"/>
                    </a:lnTo>
                    <a:lnTo>
                      <a:pt x="391" y="130"/>
                    </a:lnTo>
                    <a:lnTo>
                      <a:pt x="393" y="128"/>
                    </a:lnTo>
                    <a:lnTo>
                      <a:pt x="399" y="126"/>
                    </a:lnTo>
                    <a:lnTo>
                      <a:pt x="405" y="126"/>
                    </a:lnTo>
                    <a:lnTo>
                      <a:pt x="411" y="126"/>
                    </a:lnTo>
                    <a:lnTo>
                      <a:pt x="415" y="128"/>
                    </a:lnTo>
                    <a:lnTo>
                      <a:pt x="420" y="132"/>
                    </a:lnTo>
                    <a:lnTo>
                      <a:pt x="423" y="132"/>
                    </a:lnTo>
                    <a:lnTo>
                      <a:pt x="426" y="128"/>
                    </a:lnTo>
                    <a:lnTo>
                      <a:pt x="429" y="124"/>
                    </a:lnTo>
                    <a:lnTo>
                      <a:pt x="430" y="117"/>
                    </a:lnTo>
                    <a:lnTo>
                      <a:pt x="435" y="116"/>
                    </a:lnTo>
                    <a:lnTo>
                      <a:pt x="443" y="119"/>
                    </a:lnTo>
                    <a:lnTo>
                      <a:pt x="453" y="120"/>
                    </a:lnTo>
                    <a:lnTo>
                      <a:pt x="459" y="117"/>
                    </a:lnTo>
                    <a:lnTo>
                      <a:pt x="461" y="117"/>
                    </a:lnTo>
                    <a:lnTo>
                      <a:pt x="464" y="113"/>
                    </a:lnTo>
                    <a:lnTo>
                      <a:pt x="467" y="108"/>
                    </a:lnTo>
                    <a:lnTo>
                      <a:pt x="468" y="105"/>
                    </a:lnTo>
                    <a:lnTo>
                      <a:pt x="468" y="101"/>
                    </a:lnTo>
                    <a:lnTo>
                      <a:pt x="471" y="97"/>
                    </a:lnTo>
                    <a:lnTo>
                      <a:pt x="472" y="91"/>
                    </a:lnTo>
                    <a:lnTo>
                      <a:pt x="472" y="84"/>
                    </a:lnTo>
                    <a:lnTo>
                      <a:pt x="470" y="82"/>
                    </a:lnTo>
                    <a:lnTo>
                      <a:pt x="471" y="75"/>
                    </a:lnTo>
                    <a:lnTo>
                      <a:pt x="471" y="69"/>
                    </a:lnTo>
                    <a:lnTo>
                      <a:pt x="472" y="62"/>
                    </a:lnTo>
                    <a:lnTo>
                      <a:pt x="474" y="56"/>
                    </a:lnTo>
                    <a:lnTo>
                      <a:pt x="472" y="50"/>
                    </a:lnTo>
                    <a:lnTo>
                      <a:pt x="471" y="47"/>
                    </a:lnTo>
                    <a:lnTo>
                      <a:pt x="464" y="44"/>
                    </a:lnTo>
                    <a:lnTo>
                      <a:pt x="459" y="40"/>
                    </a:lnTo>
                    <a:lnTo>
                      <a:pt x="455" y="34"/>
                    </a:lnTo>
                    <a:lnTo>
                      <a:pt x="455" y="24"/>
                    </a:lnTo>
                    <a:lnTo>
                      <a:pt x="456" y="22"/>
                    </a:lnTo>
                    <a:lnTo>
                      <a:pt x="464" y="23"/>
                    </a:lnTo>
                    <a:lnTo>
                      <a:pt x="466" y="20"/>
                    </a:lnTo>
                    <a:lnTo>
                      <a:pt x="473" y="13"/>
                    </a:lnTo>
                    <a:lnTo>
                      <a:pt x="478" y="9"/>
                    </a:lnTo>
                    <a:lnTo>
                      <a:pt x="481" y="6"/>
                    </a:lnTo>
                    <a:lnTo>
                      <a:pt x="483" y="5"/>
                    </a:lnTo>
                    <a:lnTo>
                      <a:pt x="485" y="7"/>
                    </a:lnTo>
                    <a:lnTo>
                      <a:pt x="489" y="9"/>
                    </a:lnTo>
                    <a:lnTo>
                      <a:pt x="493" y="9"/>
                    </a:lnTo>
                    <a:lnTo>
                      <a:pt x="497" y="5"/>
                    </a:lnTo>
                    <a:lnTo>
                      <a:pt x="497" y="5"/>
                    </a:lnTo>
                    <a:lnTo>
                      <a:pt x="498" y="3"/>
                    </a:lnTo>
                    <a:lnTo>
                      <a:pt x="499" y="2"/>
                    </a:lnTo>
                    <a:lnTo>
                      <a:pt x="499" y="1"/>
                    </a:lnTo>
                    <a:lnTo>
                      <a:pt x="500" y="1"/>
                    </a:lnTo>
                    <a:lnTo>
                      <a:pt x="501" y="0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grpSp>
            <p:nvGrpSpPr>
              <p:cNvPr id="19" name="Niedersachsen">
                <a:extLst>
                  <a:ext uri="{FF2B5EF4-FFF2-40B4-BE49-F238E27FC236}">
                    <a16:creationId xmlns:a16="http://schemas.microsoft.com/office/drawing/2014/main" id="{1FE913C6-1A30-49AD-A57A-9492E56A0343}"/>
                  </a:ext>
                </a:extLst>
              </p:cNvPr>
              <p:cNvGrpSpPr/>
              <p:nvPr/>
            </p:nvGrpSpPr>
            <p:grpSpPr bwMode="gray">
              <a:xfrm>
                <a:off x="480983" y="2139950"/>
                <a:ext cx="1346200" cy="1230313"/>
                <a:chOff x="480983" y="2139950"/>
                <a:chExt cx="1346200" cy="1230313"/>
              </a:xfrm>
              <a:grpFill/>
            </p:grpSpPr>
            <p:sp>
              <p:nvSpPr>
                <p:cNvPr id="35" name="Freeform 11">
                  <a:extLst>
                    <a:ext uri="{FF2B5EF4-FFF2-40B4-BE49-F238E27FC236}">
                      <a16:creationId xmlns:a16="http://schemas.microsoft.com/office/drawing/2014/main" id="{DEA0C4F3-92EA-4F2C-94AC-0F733D3D689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80983" y="2170113"/>
                  <a:ext cx="1346200" cy="1200150"/>
                </a:xfrm>
                <a:custGeom>
                  <a:avLst/>
                  <a:gdLst/>
                  <a:ahLst/>
                  <a:cxnLst>
                    <a:cxn ang="0">
                      <a:pos x="409" y="21"/>
                    </a:cxn>
                    <a:cxn ang="0">
                      <a:pos x="483" y="60"/>
                    </a:cxn>
                    <a:cxn ang="0">
                      <a:pos x="545" y="118"/>
                    </a:cxn>
                    <a:cxn ang="0">
                      <a:pos x="622" y="150"/>
                    </a:cxn>
                    <a:cxn ang="0">
                      <a:pos x="705" y="175"/>
                    </a:cxn>
                    <a:cxn ang="0">
                      <a:pos x="762" y="205"/>
                    </a:cxn>
                    <a:cxn ang="0">
                      <a:pos x="807" y="252"/>
                    </a:cxn>
                    <a:cxn ang="0">
                      <a:pos x="847" y="269"/>
                    </a:cxn>
                    <a:cxn ang="0">
                      <a:pos x="803" y="300"/>
                    </a:cxn>
                    <a:cxn ang="0">
                      <a:pos x="742" y="302"/>
                    </a:cxn>
                    <a:cxn ang="0">
                      <a:pos x="704" y="323"/>
                    </a:cxn>
                    <a:cxn ang="0">
                      <a:pos x="728" y="374"/>
                    </a:cxn>
                    <a:cxn ang="0">
                      <a:pos x="746" y="410"/>
                    </a:cxn>
                    <a:cxn ang="0">
                      <a:pos x="755" y="449"/>
                    </a:cxn>
                    <a:cxn ang="0">
                      <a:pos x="757" y="490"/>
                    </a:cxn>
                    <a:cxn ang="0">
                      <a:pos x="731" y="542"/>
                    </a:cxn>
                    <a:cxn ang="0">
                      <a:pos x="684" y="582"/>
                    </a:cxn>
                    <a:cxn ang="0">
                      <a:pos x="695" y="650"/>
                    </a:cxn>
                    <a:cxn ang="0">
                      <a:pos x="664" y="687"/>
                    </a:cxn>
                    <a:cxn ang="0">
                      <a:pos x="641" y="697"/>
                    </a:cxn>
                    <a:cxn ang="0">
                      <a:pos x="617" y="710"/>
                    </a:cxn>
                    <a:cxn ang="0">
                      <a:pos x="559" y="726"/>
                    </a:cxn>
                    <a:cxn ang="0">
                      <a:pos x="527" y="756"/>
                    </a:cxn>
                    <a:cxn ang="0">
                      <a:pos x="511" y="719"/>
                    </a:cxn>
                    <a:cxn ang="0">
                      <a:pos x="496" y="667"/>
                    </a:cxn>
                    <a:cxn ang="0">
                      <a:pos x="458" y="639"/>
                    </a:cxn>
                    <a:cxn ang="0">
                      <a:pos x="456" y="586"/>
                    </a:cxn>
                    <a:cxn ang="0">
                      <a:pos x="428" y="565"/>
                    </a:cxn>
                    <a:cxn ang="0">
                      <a:pos x="402" y="519"/>
                    </a:cxn>
                    <a:cxn ang="0">
                      <a:pos x="408" y="502"/>
                    </a:cxn>
                    <a:cxn ang="0">
                      <a:pos x="400" y="458"/>
                    </a:cxn>
                    <a:cxn ang="0">
                      <a:pos x="411" y="416"/>
                    </a:cxn>
                    <a:cxn ang="0">
                      <a:pos x="368" y="445"/>
                    </a:cxn>
                    <a:cxn ang="0">
                      <a:pos x="351" y="423"/>
                    </a:cxn>
                    <a:cxn ang="0">
                      <a:pos x="331" y="406"/>
                    </a:cxn>
                    <a:cxn ang="0">
                      <a:pos x="298" y="425"/>
                    </a:cxn>
                    <a:cxn ang="0">
                      <a:pos x="303" y="480"/>
                    </a:cxn>
                    <a:cxn ang="0">
                      <a:pos x="275" y="524"/>
                    </a:cxn>
                    <a:cxn ang="0">
                      <a:pos x="223" y="535"/>
                    </a:cxn>
                    <a:cxn ang="0">
                      <a:pos x="217" y="517"/>
                    </a:cxn>
                    <a:cxn ang="0">
                      <a:pos x="223" y="449"/>
                    </a:cxn>
                    <a:cxn ang="0">
                      <a:pos x="167" y="417"/>
                    </a:cxn>
                    <a:cxn ang="0">
                      <a:pos x="125" y="458"/>
                    </a:cxn>
                    <a:cxn ang="0">
                      <a:pos x="67" y="449"/>
                    </a:cxn>
                    <a:cxn ang="0">
                      <a:pos x="14" y="407"/>
                    </a:cxn>
                    <a:cxn ang="0">
                      <a:pos x="5" y="372"/>
                    </a:cxn>
                    <a:cxn ang="0">
                      <a:pos x="66" y="333"/>
                    </a:cxn>
                    <a:cxn ang="0">
                      <a:pos x="86" y="278"/>
                    </a:cxn>
                    <a:cxn ang="0">
                      <a:pos x="93" y="204"/>
                    </a:cxn>
                    <a:cxn ang="0">
                      <a:pos x="105" y="166"/>
                    </a:cxn>
                    <a:cxn ang="0">
                      <a:pos x="63" y="135"/>
                    </a:cxn>
                    <a:cxn ang="0">
                      <a:pos x="90" y="74"/>
                    </a:cxn>
                    <a:cxn ang="0">
                      <a:pos x="209" y="52"/>
                    </a:cxn>
                    <a:cxn ang="0">
                      <a:pos x="261" y="111"/>
                    </a:cxn>
                    <a:cxn ang="0">
                      <a:pos x="289" y="133"/>
                    </a:cxn>
                    <a:cxn ang="0">
                      <a:pos x="298" y="86"/>
                    </a:cxn>
                    <a:cxn ang="0">
                      <a:pos x="316" y="156"/>
                    </a:cxn>
                    <a:cxn ang="0">
                      <a:pos x="324" y="140"/>
                    </a:cxn>
                    <a:cxn ang="0">
                      <a:pos x="320" y="72"/>
                    </a:cxn>
                    <a:cxn ang="0">
                      <a:pos x="356" y="1"/>
                    </a:cxn>
                  </a:cxnLst>
                  <a:rect l="0" t="0" r="r" b="b"/>
                  <a:pathLst>
                    <a:path w="848" h="756">
                      <a:moveTo>
                        <a:pt x="358" y="0"/>
                      </a:moveTo>
                      <a:lnTo>
                        <a:pt x="358" y="2"/>
                      </a:lnTo>
                      <a:lnTo>
                        <a:pt x="359" y="7"/>
                      </a:lnTo>
                      <a:lnTo>
                        <a:pt x="363" y="9"/>
                      </a:lnTo>
                      <a:lnTo>
                        <a:pt x="368" y="11"/>
                      </a:lnTo>
                      <a:lnTo>
                        <a:pt x="373" y="16"/>
                      </a:lnTo>
                      <a:lnTo>
                        <a:pt x="380" y="20"/>
                      </a:lnTo>
                      <a:lnTo>
                        <a:pt x="385" y="20"/>
                      </a:lnTo>
                      <a:lnTo>
                        <a:pt x="391" y="21"/>
                      </a:lnTo>
                      <a:lnTo>
                        <a:pt x="398" y="22"/>
                      </a:lnTo>
                      <a:lnTo>
                        <a:pt x="405" y="23"/>
                      </a:lnTo>
                      <a:lnTo>
                        <a:pt x="409" y="21"/>
                      </a:lnTo>
                      <a:lnTo>
                        <a:pt x="411" y="25"/>
                      </a:lnTo>
                      <a:lnTo>
                        <a:pt x="416" y="23"/>
                      </a:lnTo>
                      <a:lnTo>
                        <a:pt x="422" y="21"/>
                      </a:lnTo>
                      <a:lnTo>
                        <a:pt x="429" y="18"/>
                      </a:lnTo>
                      <a:lnTo>
                        <a:pt x="435" y="18"/>
                      </a:lnTo>
                      <a:lnTo>
                        <a:pt x="442" y="19"/>
                      </a:lnTo>
                      <a:lnTo>
                        <a:pt x="448" y="19"/>
                      </a:lnTo>
                      <a:lnTo>
                        <a:pt x="450" y="22"/>
                      </a:lnTo>
                      <a:lnTo>
                        <a:pt x="463" y="35"/>
                      </a:lnTo>
                      <a:lnTo>
                        <a:pt x="468" y="42"/>
                      </a:lnTo>
                      <a:lnTo>
                        <a:pt x="474" y="49"/>
                      </a:lnTo>
                      <a:lnTo>
                        <a:pt x="483" y="60"/>
                      </a:lnTo>
                      <a:lnTo>
                        <a:pt x="489" y="68"/>
                      </a:lnTo>
                      <a:lnTo>
                        <a:pt x="493" y="77"/>
                      </a:lnTo>
                      <a:lnTo>
                        <a:pt x="499" y="85"/>
                      </a:lnTo>
                      <a:lnTo>
                        <a:pt x="503" y="91"/>
                      </a:lnTo>
                      <a:lnTo>
                        <a:pt x="507" y="103"/>
                      </a:lnTo>
                      <a:lnTo>
                        <a:pt x="513" y="109"/>
                      </a:lnTo>
                      <a:lnTo>
                        <a:pt x="518" y="113"/>
                      </a:lnTo>
                      <a:lnTo>
                        <a:pt x="525" y="117"/>
                      </a:lnTo>
                      <a:lnTo>
                        <a:pt x="530" y="114"/>
                      </a:lnTo>
                      <a:lnTo>
                        <a:pt x="534" y="115"/>
                      </a:lnTo>
                      <a:lnTo>
                        <a:pt x="540" y="120"/>
                      </a:lnTo>
                      <a:lnTo>
                        <a:pt x="545" y="118"/>
                      </a:lnTo>
                      <a:lnTo>
                        <a:pt x="546" y="116"/>
                      </a:lnTo>
                      <a:lnTo>
                        <a:pt x="546" y="123"/>
                      </a:lnTo>
                      <a:lnTo>
                        <a:pt x="549" y="129"/>
                      </a:lnTo>
                      <a:lnTo>
                        <a:pt x="551" y="141"/>
                      </a:lnTo>
                      <a:lnTo>
                        <a:pt x="555" y="144"/>
                      </a:lnTo>
                      <a:lnTo>
                        <a:pt x="571" y="144"/>
                      </a:lnTo>
                      <a:lnTo>
                        <a:pt x="583" y="146"/>
                      </a:lnTo>
                      <a:lnTo>
                        <a:pt x="596" y="151"/>
                      </a:lnTo>
                      <a:lnTo>
                        <a:pt x="602" y="151"/>
                      </a:lnTo>
                      <a:lnTo>
                        <a:pt x="610" y="153"/>
                      </a:lnTo>
                      <a:lnTo>
                        <a:pt x="618" y="153"/>
                      </a:lnTo>
                      <a:lnTo>
                        <a:pt x="622" y="150"/>
                      </a:lnTo>
                      <a:lnTo>
                        <a:pt x="631" y="148"/>
                      </a:lnTo>
                      <a:lnTo>
                        <a:pt x="638" y="148"/>
                      </a:lnTo>
                      <a:lnTo>
                        <a:pt x="642" y="148"/>
                      </a:lnTo>
                      <a:lnTo>
                        <a:pt x="649" y="157"/>
                      </a:lnTo>
                      <a:lnTo>
                        <a:pt x="656" y="161"/>
                      </a:lnTo>
                      <a:lnTo>
                        <a:pt x="662" y="166"/>
                      </a:lnTo>
                      <a:lnTo>
                        <a:pt x="669" y="166"/>
                      </a:lnTo>
                      <a:lnTo>
                        <a:pt x="680" y="165"/>
                      </a:lnTo>
                      <a:lnTo>
                        <a:pt x="686" y="165"/>
                      </a:lnTo>
                      <a:lnTo>
                        <a:pt x="693" y="167"/>
                      </a:lnTo>
                      <a:lnTo>
                        <a:pt x="698" y="168"/>
                      </a:lnTo>
                      <a:lnTo>
                        <a:pt x="705" y="175"/>
                      </a:lnTo>
                      <a:lnTo>
                        <a:pt x="707" y="180"/>
                      </a:lnTo>
                      <a:lnTo>
                        <a:pt x="714" y="182"/>
                      </a:lnTo>
                      <a:lnTo>
                        <a:pt x="725" y="181"/>
                      </a:lnTo>
                      <a:lnTo>
                        <a:pt x="735" y="176"/>
                      </a:lnTo>
                      <a:lnTo>
                        <a:pt x="742" y="172"/>
                      </a:lnTo>
                      <a:lnTo>
                        <a:pt x="746" y="175"/>
                      </a:lnTo>
                      <a:lnTo>
                        <a:pt x="749" y="177"/>
                      </a:lnTo>
                      <a:lnTo>
                        <a:pt x="752" y="179"/>
                      </a:lnTo>
                      <a:lnTo>
                        <a:pt x="753" y="188"/>
                      </a:lnTo>
                      <a:lnTo>
                        <a:pt x="753" y="196"/>
                      </a:lnTo>
                      <a:lnTo>
                        <a:pt x="755" y="203"/>
                      </a:lnTo>
                      <a:lnTo>
                        <a:pt x="762" y="205"/>
                      </a:lnTo>
                      <a:lnTo>
                        <a:pt x="766" y="206"/>
                      </a:lnTo>
                      <a:lnTo>
                        <a:pt x="772" y="206"/>
                      </a:lnTo>
                      <a:lnTo>
                        <a:pt x="776" y="210"/>
                      </a:lnTo>
                      <a:lnTo>
                        <a:pt x="779" y="217"/>
                      </a:lnTo>
                      <a:lnTo>
                        <a:pt x="779" y="223"/>
                      </a:lnTo>
                      <a:lnTo>
                        <a:pt x="782" y="227"/>
                      </a:lnTo>
                      <a:lnTo>
                        <a:pt x="789" y="227"/>
                      </a:lnTo>
                      <a:lnTo>
                        <a:pt x="793" y="233"/>
                      </a:lnTo>
                      <a:lnTo>
                        <a:pt x="797" y="243"/>
                      </a:lnTo>
                      <a:lnTo>
                        <a:pt x="797" y="245"/>
                      </a:lnTo>
                      <a:lnTo>
                        <a:pt x="801" y="249"/>
                      </a:lnTo>
                      <a:lnTo>
                        <a:pt x="807" y="252"/>
                      </a:lnTo>
                      <a:lnTo>
                        <a:pt x="811" y="246"/>
                      </a:lnTo>
                      <a:lnTo>
                        <a:pt x="817" y="245"/>
                      </a:lnTo>
                      <a:lnTo>
                        <a:pt x="822" y="245"/>
                      </a:lnTo>
                      <a:lnTo>
                        <a:pt x="824" y="248"/>
                      </a:lnTo>
                      <a:lnTo>
                        <a:pt x="830" y="251"/>
                      </a:lnTo>
                      <a:lnTo>
                        <a:pt x="841" y="252"/>
                      </a:lnTo>
                      <a:lnTo>
                        <a:pt x="848" y="255"/>
                      </a:lnTo>
                      <a:lnTo>
                        <a:pt x="845" y="258"/>
                      </a:lnTo>
                      <a:lnTo>
                        <a:pt x="847" y="260"/>
                      </a:lnTo>
                      <a:lnTo>
                        <a:pt x="847" y="263"/>
                      </a:lnTo>
                      <a:lnTo>
                        <a:pt x="848" y="266"/>
                      </a:lnTo>
                      <a:lnTo>
                        <a:pt x="847" y="269"/>
                      </a:lnTo>
                      <a:lnTo>
                        <a:pt x="845" y="273"/>
                      </a:lnTo>
                      <a:lnTo>
                        <a:pt x="831" y="273"/>
                      </a:lnTo>
                      <a:lnTo>
                        <a:pt x="831" y="276"/>
                      </a:lnTo>
                      <a:lnTo>
                        <a:pt x="831" y="280"/>
                      </a:lnTo>
                      <a:lnTo>
                        <a:pt x="829" y="285"/>
                      </a:lnTo>
                      <a:lnTo>
                        <a:pt x="824" y="289"/>
                      </a:lnTo>
                      <a:lnTo>
                        <a:pt x="821" y="291"/>
                      </a:lnTo>
                      <a:lnTo>
                        <a:pt x="817" y="295"/>
                      </a:lnTo>
                      <a:lnTo>
                        <a:pt x="813" y="298"/>
                      </a:lnTo>
                      <a:lnTo>
                        <a:pt x="809" y="298"/>
                      </a:lnTo>
                      <a:lnTo>
                        <a:pt x="806" y="299"/>
                      </a:lnTo>
                      <a:lnTo>
                        <a:pt x="803" y="300"/>
                      </a:lnTo>
                      <a:lnTo>
                        <a:pt x="795" y="302"/>
                      </a:lnTo>
                      <a:lnTo>
                        <a:pt x="786" y="302"/>
                      </a:lnTo>
                      <a:lnTo>
                        <a:pt x="780" y="304"/>
                      </a:lnTo>
                      <a:lnTo>
                        <a:pt x="779" y="304"/>
                      </a:lnTo>
                      <a:lnTo>
                        <a:pt x="776" y="304"/>
                      </a:lnTo>
                      <a:lnTo>
                        <a:pt x="775" y="304"/>
                      </a:lnTo>
                      <a:lnTo>
                        <a:pt x="771" y="304"/>
                      </a:lnTo>
                      <a:lnTo>
                        <a:pt x="768" y="300"/>
                      </a:lnTo>
                      <a:lnTo>
                        <a:pt x="764" y="299"/>
                      </a:lnTo>
                      <a:lnTo>
                        <a:pt x="751" y="299"/>
                      </a:lnTo>
                      <a:lnTo>
                        <a:pt x="744" y="301"/>
                      </a:lnTo>
                      <a:lnTo>
                        <a:pt x="742" y="302"/>
                      </a:lnTo>
                      <a:lnTo>
                        <a:pt x="740" y="306"/>
                      </a:lnTo>
                      <a:lnTo>
                        <a:pt x="739" y="308"/>
                      </a:lnTo>
                      <a:lnTo>
                        <a:pt x="737" y="311"/>
                      </a:lnTo>
                      <a:lnTo>
                        <a:pt x="735" y="313"/>
                      </a:lnTo>
                      <a:lnTo>
                        <a:pt x="731" y="315"/>
                      </a:lnTo>
                      <a:lnTo>
                        <a:pt x="729" y="316"/>
                      </a:lnTo>
                      <a:lnTo>
                        <a:pt x="724" y="315"/>
                      </a:lnTo>
                      <a:lnTo>
                        <a:pt x="721" y="315"/>
                      </a:lnTo>
                      <a:lnTo>
                        <a:pt x="715" y="315"/>
                      </a:lnTo>
                      <a:lnTo>
                        <a:pt x="710" y="317"/>
                      </a:lnTo>
                      <a:lnTo>
                        <a:pt x="706" y="319"/>
                      </a:lnTo>
                      <a:lnTo>
                        <a:pt x="704" y="323"/>
                      </a:lnTo>
                      <a:lnTo>
                        <a:pt x="702" y="328"/>
                      </a:lnTo>
                      <a:lnTo>
                        <a:pt x="703" y="333"/>
                      </a:lnTo>
                      <a:lnTo>
                        <a:pt x="705" y="340"/>
                      </a:lnTo>
                      <a:lnTo>
                        <a:pt x="706" y="343"/>
                      </a:lnTo>
                      <a:lnTo>
                        <a:pt x="711" y="350"/>
                      </a:lnTo>
                      <a:lnTo>
                        <a:pt x="714" y="353"/>
                      </a:lnTo>
                      <a:lnTo>
                        <a:pt x="717" y="353"/>
                      </a:lnTo>
                      <a:lnTo>
                        <a:pt x="722" y="357"/>
                      </a:lnTo>
                      <a:lnTo>
                        <a:pt x="723" y="360"/>
                      </a:lnTo>
                      <a:lnTo>
                        <a:pt x="725" y="365"/>
                      </a:lnTo>
                      <a:lnTo>
                        <a:pt x="725" y="369"/>
                      </a:lnTo>
                      <a:lnTo>
                        <a:pt x="728" y="374"/>
                      </a:lnTo>
                      <a:lnTo>
                        <a:pt x="729" y="376"/>
                      </a:lnTo>
                      <a:lnTo>
                        <a:pt x="733" y="379"/>
                      </a:lnTo>
                      <a:lnTo>
                        <a:pt x="737" y="381"/>
                      </a:lnTo>
                      <a:lnTo>
                        <a:pt x="740" y="381"/>
                      </a:lnTo>
                      <a:lnTo>
                        <a:pt x="741" y="383"/>
                      </a:lnTo>
                      <a:lnTo>
                        <a:pt x="740" y="386"/>
                      </a:lnTo>
                      <a:lnTo>
                        <a:pt x="737" y="392"/>
                      </a:lnTo>
                      <a:lnTo>
                        <a:pt x="736" y="396"/>
                      </a:lnTo>
                      <a:lnTo>
                        <a:pt x="739" y="400"/>
                      </a:lnTo>
                      <a:lnTo>
                        <a:pt x="742" y="403"/>
                      </a:lnTo>
                      <a:lnTo>
                        <a:pt x="746" y="406"/>
                      </a:lnTo>
                      <a:lnTo>
                        <a:pt x="746" y="410"/>
                      </a:lnTo>
                      <a:lnTo>
                        <a:pt x="748" y="416"/>
                      </a:lnTo>
                      <a:lnTo>
                        <a:pt x="742" y="423"/>
                      </a:lnTo>
                      <a:lnTo>
                        <a:pt x="740" y="425"/>
                      </a:lnTo>
                      <a:lnTo>
                        <a:pt x="735" y="425"/>
                      </a:lnTo>
                      <a:lnTo>
                        <a:pt x="733" y="427"/>
                      </a:lnTo>
                      <a:lnTo>
                        <a:pt x="733" y="430"/>
                      </a:lnTo>
                      <a:lnTo>
                        <a:pt x="733" y="434"/>
                      </a:lnTo>
                      <a:lnTo>
                        <a:pt x="735" y="434"/>
                      </a:lnTo>
                      <a:lnTo>
                        <a:pt x="742" y="434"/>
                      </a:lnTo>
                      <a:lnTo>
                        <a:pt x="745" y="437"/>
                      </a:lnTo>
                      <a:lnTo>
                        <a:pt x="750" y="442"/>
                      </a:lnTo>
                      <a:lnTo>
                        <a:pt x="755" y="449"/>
                      </a:lnTo>
                      <a:lnTo>
                        <a:pt x="760" y="452"/>
                      </a:lnTo>
                      <a:lnTo>
                        <a:pt x="762" y="454"/>
                      </a:lnTo>
                      <a:lnTo>
                        <a:pt x="764" y="457"/>
                      </a:lnTo>
                      <a:lnTo>
                        <a:pt x="763" y="462"/>
                      </a:lnTo>
                      <a:lnTo>
                        <a:pt x="761" y="466"/>
                      </a:lnTo>
                      <a:lnTo>
                        <a:pt x="757" y="470"/>
                      </a:lnTo>
                      <a:lnTo>
                        <a:pt x="757" y="475"/>
                      </a:lnTo>
                      <a:lnTo>
                        <a:pt x="759" y="477"/>
                      </a:lnTo>
                      <a:lnTo>
                        <a:pt x="762" y="480"/>
                      </a:lnTo>
                      <a:lnTo>
                        <a:pt x="763" y="483"/>
                      </a:lnTo>
                      <a:lnTo>
                        <a:pt x="760" y="487"/>
                      </a:lnTo>
                      <a:lnTo>
                        <a:pt x="757" y="490"/>
                      </a:lnTo>
                      <a:lnTo>
                        <a:pt x="757" y="494"/>
                      </a:lnTo>
                      <a:lnTo>
                        <a:pt x="757" y="500"/>
                      </a:lnTo>
                      <a:lnTo>
                        <a:pt x="756" y="504"/>
                      </a:lnTo>
                      <a:lnTo>
                        <a:pt x="753" y="509"/>
                      </a:lnTo>
                      <a:lnTo>
                        <a:pt x="750" y="510"/>
                      </a:lnTo>
                      <a:lnTo>
                        <a:pt x="743" y="514"/>
                      </a:lnTo>
                      <a:lnTo>
                        <a:pt x="740" y="517"/>
                      </a:lnTo>
                      <a:lnTo>
                        <a:pt x="742" y="522"/>
                      </a:lnTo>
                      <a:lnTo>
                        <a:pt x="743" y="525"/>
                      </a:lnTo>
                      <a:lnTo>
                        <a:pt x="740" y="531"/>
                      </a:lnTo>
                      <a:lnTo>
                        <a:pt x="735" y="537"/>
                      </a:lnTo>
                      <a:lnTo>
                        <a:pt x="731" y="542"/>
                      </a:lnTo>
                      <a:lnTo>
                        <a:pt x="724" y="546"/>
                      </a:lnTo>
                      <a:lnTo>
                        <a:pt x="719" y="546"/>
                      </a:lnTo>
                      <a:lnTo>
                        <a:pt x="711" y="546"/>
                      </a:lnTo>
                      <a:lnTo>
                        <a:pt x="704" y="547"/>
                      </a:lnTo>
                      <a:lnTo>
                        <a:pt x="697" y="547"/>
                      </a:lnTo>
                      <a:lnTo>
                        <a:pt x="686" y="549"/>
                      </a:lnTo>
                      <a:lnTo>
                        <a:pt x="680" y="555"/>
                      </a:lnTo>
                      <a:lnTo>
                        <a:pt x="675" y="560"/>
                      </a:lnTo>
                      <a:lnTo>
                        <a:pt x="676" y="567"/>
                      </a:lnTo>
                      <a:lnTo>
                        <a:pt x="682" y="569"/>
                      </a:lnTo>
                      <a:lnTo>
                        <a:pt x="684" y="575"/>
                      </a:lnTo>
                      <a:lnTo>
                        <a:pt x="684" y="582"/>
                      </a:lnTo>
                      <a:lnTo>
                        <a:pt x="683" y="587"/>
                      </a:lnTo>
                      <a:lnTo>
                        <a:pt x="682" y="594"/>
                      </a:lnTo>
                      <a:lnTo>
                        <a:pt x="679" y="598"/>
                      </a:lnTo>
                      <a:lnTo>
                        <a:pt x="675" y="603"/>
                      </a:lnTo>
                      <a:lnTo>
                        <a:pt x="671" y="606"/>
                      </a:lnTo>
                      <a:lnTo>
                        <a:pt x="673" y="613"/>
                      </a:lnTo>
                      <a:lnTo>
                        <a:pt x="679" y="620"/>
                      </a:lnTo>
                      <a:lnTo>
                        <a:pt x="683" y="625"/>
                      </a:lnTo>
                      <a:lnTo>
                        <a:pt x="684" y="628"/>
                      </a:lnTo>
                      <a:lnTo>
                        <a:pt x="693" y="637"/>
                      </a:lnTo>
                      <a:lnTo>
                        <a:pt x="694" y="643"/>
                      </a:lnTo>
                      <a:lnTo>
                        <a:pt x="695" y="650"/>
                      </a:lnTo>
                      <a:lnTo>
                        <a:pt x="695" y="658"/>
                      </a:lnTo>
                      <a:lnTo>
                        <a:pt x="693" y="662"/>
                      </a:lnTo>
                      <a:lnTo>
                        <a:pt x="692" y="666"/>
                      </a:lnTo>
                      <a:lnTo>
                        <a:pt x="692" y="671"/>
                      </a:lnTo>
                      <a:lnTo>
                        <a:pt x="693" y="677"/>
                      </a:lnTo>
                      <a:lnTo>
                        <a:pt x="693" y="683"/>
                      </a:lnTo>
                      <a:lnTo>
                        <a:pt x="689" y="685"/>
                      </a:lnTo>
                      <a:lnTo>
                        <a:pt x="682" y="682"/>
                      </a:lnTo>
                      <a:lnTo>
                        <a:pt x="675" y="679"/>
                      </a:lnTo>
                      <a:lnTo>
                        <a:pt x="670" y="679"/>
                      </a:lnTo>
                      <a:lnTo>
                        <a:pt x="668" y="682"/>
                      </a:lnTo>
                      <a:lnTo>
                        <a:pt x="664" y="687"/>
                      </a:lnTo>
                      <a:lnTo>
                        <a:pt x="662" y="683"/>
                      </a:lnTo>
                      <a:lnTo>
                        <a:pt x="660" y="679"/>
                      </a:lnTo>
                      <a:lnTo>
                        <a:pt x="657" y="678"/>
                      </a:lnTo>
                      <a:lnTo>
                        <a:pt x="652" y="678"/>
                      </a:lnTo>
                      <a:lnTo>
                        <a:pt x="649" y="678"/>
                      </a:lnTo>
                      <a:lnTo>
                        <a:pt x="645" y="676"/>
                      </a:lnTo>
                      <a:lnTo>
                        <a:pt x="642" y="677"/>
                      </a:lnTo>
                      <a:lnTo>
                        <a:pt x="642" y="682"/>
                      </a:lnTo>
                      <a:lnTo>
                        <a:pt x="643" y="691"/>
                      </a:lnTo>
                      <a:lnTo>
                        <a:pt x="642" y="693"/>
                      </a:lnTo>
                      <a:lnTo>
                        <a:pt x="642" y="695"/>
                      </a:lnTo>
                      <a:lnTo>
                        <a:pt x="641" y="697"/>
                      </a:lnTo>
                      <a:lnTo>
                        <a:pt x="641" y="698"/>
                      </a:lnTo>
                      <a:lnTo>
                        <a:pt x="640" y="700"/>
                      </a:lnTo>
                      <a:lnTo>
                        <a:pt x="640" y="700"/>
                      </a:lnTo>
                      <a:lnTo>
                        <a:pt x="640" y="701"/>
                      </a:lnTo>
                      <a:lnTo>
                        <a:pt x="638" y="702"/>
                      </a:lnTo>
                      <a:lnTo>
                        <a:pt x="638" y="702"/>
                      </a:lnTo>
                      <a:lnTo>
                        <a:pt x="636" y="703"/>
                      </a:lnTo>
                      <a:lnTo>
                        <a:pt x="634" y="700"/>
                      </a:lnTo>
                      <a:lnTo>
                        <a:pt x="629" y="700"/>
                      </a:lnTo>
                      <a:lnTo>
                        <a:pt x="626" y="702"/>
                      </a:lnTo>
                      <a:lnTo>
                        <a:pt x="622" y="707"/>
                      </a:lnTo>
                      <a:lnTo>
                        <a:pt x="617" y="710"/>
                      </a:lnTo>
                      <a:lnTo>
                        <a:pt x="610" y="711"/>
                      </a:lnTo>
                      <a:lnTo>
                        <a:pt x="603" y="712"/>
                      </a:lnTo>
                      <a:lnTo>
                        <a:pt x="602" y="716"/>
                      </a:lnTo>
                      <a:lnTo>
                        <a:pt x="597" y="719"/>
                      </a:lnTo>
                      <a:lnTo>
                        <a:pt x="593" y="720"/>
                      </a:lnTo>
                      <a:lnTo>
                        <a:pt x="588" y="720"/>
                      </a:lnTo>
                      <a:lnTo>
                        <a:pt x="583" y="721"/>
                      </a:lnTo>
                      <a:lnTo>
                        <a:pt x="580" y="722"/>
                      </a:lnTo>
                      <a:lnTo>
                        <a:pt x="571" y="726"/>
                      </a:lnTo>
                      <a:lnTo>
                        <a:pt x="568" y="727"/>
                      </a:lnTo>
                      <a:lnTo>
                        <a:pt x="563" y="726"/>
                      </a:lnTo>
                      <a:lnTo>
                        <a:pt x="559" y="726"/>
                      </a:lnTo>
                      <a:lnTo>
                        <a:pt x="556" y="729"/>
                      </a:lnTo>
                      <a:lnTo>
                        <a:pt x="553" y="731"/>
                      </a:lnTo>
                      <a:lnTo>
                        <a:pt x="544" y="732"/>
                      </a:lnTo>
                      <a:lnTo>
                        <a:pt x="539" y="729"/>
                      </a:lnTo>
                      <a:lnTo>
                        <a:pt x="533" y="728"/>
                      </a:lnTo>
                      <a:lnTo>
                        <a:pt x="532" y="731"/>
                      </a:lnTo>
                      <a:lnTo>
                        <a:pt x="528" y="736"/>
                      </a:lnTo>
                      <a:lnTo>
                        <a:pt x="521" y="743"/>
                      </a:lnTo>
                      <a:lnTo>
                        <a:pt x="522" y="746"/>
                      </a:lnTo>
                      <a:lnTo>
                        <a:pt x="526" y="747"/>
                      </a:lnTo>
                      <a:lnTo>
                        <a:pt x="530" y="749"/>
                      </a:lnTo>
                      <a:lnTo>
                        <a:pt x="527" y="756"/>
                      </a:lnTo>
                      <a:lnTo>
                        <a:pt x="521" y="756"/>
                      </a:lnTo>
                      <a:lnTo>
                        <a:pt x="515" y="755"/>
                      </a:lnTo>
                      <a:lnTo>
                        <a:pt x="507" y="754"/>
                      </a:lnTo>
                      <a:lnTo>
                        <a:pt x="500" y="751"/>
                      </a:lnTo>
                      <a:lnTo>
                        <a:pt x="491" y="746"/>
                      </a:lnTo>
                      <a:lnTo>
                        <a:pt x="491" y="742"/>
                      </a:lnTo>
                      <a:lnTo>
                        <a:pt x="493" y="735"/>
                      </a:lnTo>
                      <a:lnTo>
                        <a:pt x="493" y="731"/>
                      </a:lnTo>
                      <a:lnTo>
                        <a:pt x="500" y="731"/>
                      </a:lnTo>
                      <a:lnTo>
                        <a:pt x="505" y="728"/>
                      </a:lnTo>
                      <a:lnTo>
                        <a:pt x="509" y="724"/>
                      </a:lnTo>
                      <a:lnTo>
                        <a:pt x="511" y="719"/>
                      </a:lnTo>
                      <a:lnTo>
                        <a:pt x="511" y="712"/>
                      </a:lnTo>
                      <a:lnTo>
                        <a:pt x="509" y="709"/>
                      </a:lnTo>
                      <a:lnTo>
                        <a:pt x="505" y="706"/>
                      </a:lnTo>
                      <a:lnTo>
                        <a:pt x="500" y="704"/>
                      </a:lnTo>
                      <a:lnTo>
                        <a:pt x="499" y="702"/>
                      </a:lnTo>
                      <a:lnTo>
                        <a:pt x="502" y="700"/>
                      </a:lnTo>
                      <a:lnTo>
                        <a:pt x="502" y="695"/>
                      </a:lnTo>
                      <a:lnTo>
                        <a:pt x="503" y="685"/>
                      </a:lnTo>
                      <a:lnTo>
                        <a:pt x="502" y="680"/>
                      </a:lnTo>
                      <a:lnTo>
                        <a:pt x="498" y="676"/>
                      </a:lnTo>
                      <a:lnTo>
                        <a:pt x="496" y="672"/>
                      </a:lnTo>
                      <a:lnTo>
                        <a:pt x="496" y="667"/>
                      </a:lnTo>
                      <a:lnTo>
                        <a:pt x="493" y="663"/>
                      </a:lnTo>
                      <a:lnTo>
                        <a:pt x="489" y="663"/>
                      </a:lnTo>
                      <a:lnTo>
                        <a:pt x="485" y="663"/>
                      </a:lnTo>
                      <a:lnTo>
                        <a:pt x="482" y="660"/>
                      </a:lnTo>
                      <a:lnTo>
                        <a:pt x="479" y="659"/>
                      </a:lnTo>
                      <a:lnTo>
                        <a:pt x="476" y="661"/>
                      </a:lnTo>
                      <a:lnTo>
                        <a:pt x="469" y="663"/>
                      </a:lnTo>
                      <a:lnTo>
                        <a:pt x="465" y="663"/>
                      </a:lnTo>
                      <a:lnTo>
                        <a:pt x="460" y="662"/>
                      </a:lnTo>
                      <a:lnTo>
                        <a:pt x="458" y="659"/>
                      </a:lnTo>
                      <a:lnTo>
                        <a:pt x="458" y="647"/>
                      </a:lnTo>
                      <a:lnTo>
                        <a:pt x="458" y="639"/>
                      </a:lnTo>
                      <a:lnTo>
                        <a:pt x="458" y="633"/>
                      </a:lnTo>
                      <a:lnTo>
                        <a:pt x="458" y="628"/>
                      </a:lnTo>
                      <a:lnTo>
                        <a:pt x="461" y="624"/>
                      </a:lnTo>
                      <a:lnTo>
                        <a:pt x="465" y="614"/>
                      </a:lnTo>
                      <a:lnTo>
                        <a:pt x="467" y="609"/>
                      </a:lnTo>
                      <a:lnTo>
                        <a:pt x="468" y="603"/>
                      </a:lnTo>
                      <a:lnTo>
                        <a:pt x="467" y="599"/>
                      </a:lnTo>
                      <a:lnTo>
                        <a:pt x="463" y="598"/>
                      </a:lnTo>
                      <a:lnTo>
                        <a:pt x="459" y="597"/>
                      </a:lnTo>
                      <a:lnTo>
                        <a:pt x="457" y="593"/>
                      </a:lnTo>
                      <a:lnTo>
                        <a:pt x="457" y="588"/>
                      </a:lnTo>
                      <a:lnTo>
                        <a:pt x="456" y="586"/>
                      </a:lnTo>
                      <a:lnTo>
                        <a:pt x="451" y="584"/>
                      </a:lnTo>
                      <a:lnTo>
                        <a:pt x="447" y="582"/>
                      </a:lnTo>
                      <a:lnTo>
                        <a:pt x="444" y="579"/>
                      </a:lnTo>
                      <a:lnTo>
                        <a:pt x="444" y="575"/>
                      </a:lnTo>
                      <a:lnTo>
                        <a:pt x="445" y="568"/>
                      </a:lnTo>
                      <a:lnTo>
                        <a:pt x="442" y="565"/>
                      </a:lnTo>
                      <a:lnTo>
                        <a:pt x="440" y="564"/>
                      </a:lnTo>
                      <a:lnTo>
                        <a:pt x="438" y="566"/>
                      </a:lnTo>
                      <a:lnTo>
                        <a:pt x="434" y="569"/>
                      </a:lnTo>
                      <a:lnTo>
                        <a:pt x="432" y="569"/>
                      </a:lnTo>
                      <a:lnTo>
                        <a:pt x="429" y="567"/>
                      </a:lnTo>
                      <a:lnTo>
                        <a:pt x="428" y="565"/>
                      </a:lnTo>
                      <a:lnTo>
                        <a:pt x="427" y="562"/>
                      </a:lnTo>
                      <a:lnTo>
                        <a:pt x="427" y="555"/>
                      </a:lnTo>
                      <a:lnTo>
                        <a:pt x="428" y="552"/>
                      </a:lnTo>
                      <a:lnTo>
                        <a:pt x="429" y="544"/>
                      </a:lnTo>
                      <a:lnTo>
                        <a:pt x="427" y="538"/>
                      </a:lnTo>
                      <a:lnTo>
                        <a:pt x="423" y="535"/>
                      </a:lnTo>
                      <a:lnTo>
                        <a:pt x="420" y="531"/>
                      </a:lnTo>
                      <a:lnTo>
                        <a:pt x="419" y="524"/>
                      </a:lnTo>
                      <a:lnTo>
                        <a:pt x="416" y="521"/>
                      </a:lnTo>
                      <a:lnTo>
                        <a:pt x="414" y="520"/>
                      </a:lnTo>
                      <a:lnTo>
                        <a:pt x="408" y="520"/>
                      </a:lnTo>
                      <a:lnTo>
                        <a:pt x="402" y="519"/>
                      </a:lnTo>
                      <a:lnTo>
                        <a:pt x="399" y="515"/>
                      </a:lnTo>
                      <a:lnTo>
                        <a:pt x="398" y="510"/>
                      </a:lnTo>
                      <a:lnTo>
                        <a:pt x="399" y="510"/>
                      </a:lnTo>
                      <a:lnTo>
                        <a:pt x="400" y="509"/>
                      </a:lnTo>
                      <a:lnTo>
                        <a:pt x="401" y="509"/>
                      </a:lnTo>
                      <a:lnTo>
                        <a:pt x="402" y="508"/>
                      </a:lnTo>
                      <a:lnTo>
                        <a:pt x="403" y="508"/>
                      </a:lnTo>
                      <a:lnTo>
                        <a:pt x="405" y="507"/>
                      </a:lnTo>
                      <a:lnTo>
                        <a:pt x="406" y="506"/>
                      </a:lnTo>
                      <a:lnTo>
                        <a:pt x="407" y="506"/>
                      </a:lnTo>
                      <a:lnTo>
                        <a:pt x="408" y="504"/>
                      </a:lnTo>
                      <a:lnTo>
                        <a:pt x="408" y="502"/>
                      </a:lnTo>
                      <a:lnTo>
                        <a:pt x="407" y="500"/>
                      </a:lnTo>
                      <a:lnTo>
                        <a:pt x="407" y="499"/>
                      </a:lnTo>
                      <a:lnTo>
                        <a:pt x="407" y="497"/>
                      </a:lnTo>
                      <a:lnTo>
                        <a:pt x="406" y="496"/>
                      </a:lnTo>
                      <a:lnTo>
                        <a:pt x="406" y="496"/>
                      </a:lnTo>
                      <a:lnTo>
                        <a:pt x="404" y="492"/>
                      </a:lnTo>
                      <a:lnTo>
                        <a:pt x="399" y="487"/>
                      </a:lnTo>
                      <a:lnTo>
                        <a:pt x="398" y="482"/>
                      </a:lnTo>
                      <a:lnTo>
                        <a:pt x="398" y="474"/>
                      </a:lnTo>
                      <a:lnTo>
                        <a:pt x="398" y="469"/>
                      </a:lnTo>
                      <a:lnTo>
                        <a:pt x="400" y="464"/>
                      </a:lnTo>
                      <a:lnTo>
                        <a:pt x="400" y="458"/>
                      </a:lnTo>
                      <a:lnTo>
                        <a:pt x="406" y="457"/>
                      </a:lnTo>
                      <a:lnTo>
                        <a:pt x="410" y="457"/>
                      </a:lnTo>
                      <a:lnTo>
                        <a:pt x="415" y="454"/>
                      </a:lnTo>
                      <a:lnTo>
                        <a:pt x="419" y="449"/>
                      </a:lnTo>
                      <a:lnTo>
                        <a:pt x="420" y="445"/>
                      </a:lnTo>
                      <a:lnTo>
                        <a:pt x="418" y="439"/>
                      </a:lnTo>
                      <a:lnTo>
                        <a:pt x="416" y="435"/>
                      </a:lnTo>
                      <a:lnTo>
                        <a:pt x="418" y="431"/>
                      </a:lnTo>
                      <a:lnTo>
                        <a:pt x="420" y="426"/>
                      </a:lnTo>
                      <a:lnTo>
                        <a:pt x="420" y="421"/>
                      </a:lnTo>
                      <a:lnTo>
                        <a:pt x="415" y="416"/>
                      </a:lnTo>
                      <a:lnTo>
                        <a:pt x="411" y="416"/>
                      </a:lnTo>
                      <a:lnTo>
                        <a:pt x="406" y="420"/>
                      </a:lnTo>
                      <a:lnTo>
                        <a:pt x="400" y="428"/>
                      </a:lnTo>
                      <a:lnTo>
                        <a:pt x="400" y="432"/>
                      </a:lnTo>
                      <a:lnTo>
                        <a:pt x="396" y="433"/>
                      </a:lnTo>
                      <a:lnTo>
                        <a:pt x="394" y="434"/>
                      </a:lnTo>
                      <a:lnTo>
                        <a:pt x="389" y="437"/>
                      </a:lnTo>
                      <a:lnTo>
                        <a:pt x="387" y="439"/>
                      </a:lnTo>
                      <a:lnTo>
                        <a:pt x="382" y="444"/>
                      </a:lnTo>
                      <a:lnTo>
                        <a:pt x="380" y="446"/>
                      </a:lnTo>
                      <a:lnTo>
                        <a:pt x="374" y="447"/>
                      </a:lnTo>
                      <a:lnTo>
                        <a:pt x="372" y="447"/>
                      </a:lnTo>
                      <a:lnTo>
                        <a:pt x="368" y="445"/>
                      </a:lnTo>
                      <a:lnTo>
                        <a:pt x="365" y="443"/>
                      </a:lnTo>
                      <a:lnTo>
                        <a:pt x="359" y="443"/>
                      </a:lnTo>
                      <a:lnTo>
                        <a:pt x="354" y="445"/>
                      </a:lnTo>
                      <a:lnTo>
                        <a:pt x="351" y="443"/>
                      </a:lnTo>
                      <a:lnTo>
                        <a:pt x="348" y="439"/>
                      </a:lnTo>
                      <a:lnTo>
                        <a:pt x="348" y="438"/>
                      </a:lnTo>
                      <a:lnTo>
                        <a:pt x="347" y="437"/>
                      </a:lnTo>
                      <a:lnTo>
                        <a:pt x="347" y="433"/>
                      </a:lnTo>
                      <a:lnTo>
                        <a:pt x="348" y="432"/>
                      </a:lnTo>
                      <a:lnTo>
                        <a:pt x="348" y="430"/>
                      </a:lnTo>
                      <a:lnTo>
                        <a:pt x="351" y="425"/>
                      </a:lnTo>
                      <a:lnTo>
                        <a:pt x="351" y="423"/>
                      </a:lnTo>
                      <a:lnTo>
                        <a:pt x="350" y="422"/>
                      </a:lnTo>
                      <a:lnTo>
                        <a:pt x="350" y="419"/>
                      </a:lnTo>
                      <a:lnTo>
                        <a:pt x="349" y="417"/>
                      </a:lnTo>
                      <a:lnTo>
                        <a:pt x="349" y="413"/>
                      </a:lnTo>
                      <a:lnTo>
                        <a:pt x="349" y="412"/>
                      </a:lnTo>
                      <a:lnTo>
                        <a:pt x="349" y="412"/>
                      </a:lnTo>
                      <a:lnTo>
                        <a:pt x="344" y="408"/>
                      </a:lnTo>
                      <a:lnTo>
                        <a:pt x="341" y="406"/>
                      </a:lnTo>
                      <a:lnTo>
                        <a:pt x="336" y="405"/>
                      </a:lnTo>
                      <a:lnTo>
                        <a:pt x="333" y="405"/>
                      </a:lnTo>
                      <a:lnTo>
                        <a:pt x="332" y="406"/>
                      </a:lnTo>
                      <a:lnTo>
                        <a:pt x="331" y="406"/>
                      </a:lnTo>
                      <a:lnTo>
                        <a:pt x="331" y="407"/>
                      </a:lnTo>
                      <a:lnTo>
                        <a:pt x="330" y="408"/>
                      </a:lnTo>
                      <a:lnTo>
                        <a:pt x="329" y="410"/>
                      </a:lnTo>
                      <a:lnTo>
                        <a:pt x="329" y="410"/>
                      </a:lnTo>
                      <a:lnTo>
                        <a:pt x="325" y="414"/>
                      </a:lnTo>
                      <a:lnTo>
                        <a:pt x="321" y="414"/>
                      </a:lnTo>
                      <a:lnTo>
                        <a:pt x="317" y="412"/>
                      </a:lnTo>
                      <a:lnTo>
                        <a:pt x="315" y="410"/>
                      </a:lnTo>
                      <a:lnTo>
                        <a:pt x="313" y="411"/>
                      </a:lnTo>
                      <a:lnTo>
                        <a:pt x="310" y="414"/>
                      </a:lnTo>
                      <a:lnTo>
                        <a:pt x="305" y="418"/>
                      </a:lnTo>
                      <a:lnTo>
                        <a:pt x="298" y="425"/>
                      </a:lnTo>
                      <a:lnTo>
                        <a:pt x="296" y="428"/>
                      </a:lnTo>
                      <a:lnTo>
                        <a:pt x="288" y="427"/>
                      </a:lnTo>
                      <a:lnTo>
                        <a:pt x="287" y="429"/>
                      </a:lnTo>
                      <a:lnTo>
                        <a:pt x="287" y="439"/>
                      </a:lnTo>
                      <a:lnTo>
                        <a:pt x="291" y="445"/>
                      </a:lnTo>
                      <a:lnTo>
                        <a:pt x="296" y="449"/>
                      </a:lnTo>
                      <a:lnTo>
                        <a:pt x="303" y="452"/>
                      </a:lnTo>
                      <a:lnTo>
                        <a:pt x="304" y="455"/>
                      </a:lnTo>
                      <a:lnTo>
                        <a:pt x="306" y="461"/>
                      </a:lnTo>
                      <a:lnTo>
                        <a:pt x="304" y="467"/>
                      </a:lnTo>
                      <a:lnTo>
                        <a:pt x="303" y="474"/>
                      </a:lnTo>
                      <a:lnTo>
                        <a:pt x="303" y="480"/>
                      </a:lnTo>
                      <a:lnTo>
                        <a:pt x="302" y="487"/>
                      </a:lnTo>
                      <a:lnTo>
                        <a:pt x="304" y="489"/>
                      </a:lnTo>
                      <a:lnTo>
                        <a:pt x="304" y="496"/>
                      </a:lnTo>
                      <a:lnTo>
                        <a:pt x="303" y="502"/>
                      </a:lnTo>
                      <a:lnTo>
                        <a:pt x="300" y="506"/>
                      </a:lnTo>
                      <a:lnTo>
                        <a:pt x="300" y="510"/>
                      </a:lnTo>
                      <a:lnTo>
                        <a:pt x="299" y="513"/>
                      </a:lnTo>
                      <a:lnTo>
                        <a:pt x="296" y="518"/>
                      </a:lnTo>
                      <a:lnTo>
                        <a:pt x="293" y="522"/>
                      </a:lnTo>
                      <a:lnTo>
                        <a:pt x="291" y="522"/>
                      </a:lnTo>
                      <a:lnTo>
                        <a:pt x="285" y="525"/>
                      </a:lnTo>
                      <a:lnTo>
                        <a:pt x="275" y="524"/>
                      </a:lnTo>
                      <a:lnTo>
                        <a:pt x="267" y="521"/>
                      </a:lnTo>
                      <a:lnTo>
                        <a:pt x="262" y="522"/>
                      </a:lnTo>
                      <a:lnTo>
                        <a:pt x="261" y="529"/>
                      </a:lnTo>
                      <a:lnTo>
                        <a:pt x="258" y="533"/>
                      </a:lnTo>
                      <a:lnTo>
                        <a:pt x="255" y="537"/>
                      </a:lnTo>
                      <a:lnTo>
                        <a:pt x="252" y="537"/>
                      </a:lnTo>
                      <a:lnTo>
                        <a:pt x="247" y="533"/>
                      </a:lnTo>
                      <a:lnTo>
                        <a:pt x="243" y="531"/>
                      </a:lnTo>
                      <a:lnTo>
                        <a:pt x="237" y="531"/>
                      </a:lnTo>
                      <a:lnTo>
                        <a:pt x="231" y="531"/>
                      </a:lnTo>
                      <a:lnTo>
                        <a:pt x="225" y="533"/>
                      </a:lnTo>
                      <a:lnTo>
                        <a:pt x="223" y="535"/>
                      </a:lnTo>
                      <a:lnTo>
                        <a:pt x="219" y="537"/>
                      </a:lnTo>
                      <a:lnTo>
                        <a:pt x="214" y="537"/>
                      </a:lnTo>
                      <a:lnTo>
                        <a:pt x="208" y="534"/>
                      </a:lnTo>
                      <a:lnTo>
                        <a:pt x="205" y="531"/>
                      </a:lnTo>
                      <a:lnTo>
                        <a:pt x="205" y="526"/>
                      </a:lnTo>
                      <a:lnTo>
                        <a:pt x="207" y="524"/>
                      </a:lnTo>
                      <a:lnTo>
                        <a:pt x="210" y="522"/>
                      </a:lnTo>
                      <a:lnTo>
                        <a:pt x="211" y="522"/>
                      </a:lnTo>
                      <a:lnTo>
                        <a:pt x="212" y="521"/>
                      </a:lnTo>
                      <a:lnTo>
                        <a:pt x="215" y="518"/>
                      </a:lnTo>
                      <a:lnTo>
                        <a:pt x="216" y="518"/>
                      </a:lnTo>
                      <a:lnTo>
                        <a:pt x="217" y="517"/>
                      </a:lnTo>
                      <a:lnTo>
                        <a:pt x="220" y="513"/>
                      </a:lnTo>
                      <a:lnTo>
                        <a:pt x="220" y="507"/>
                      </a:lnTo>
                      <a:lnTo>
                        <a:pt x="218" y="503"/>
                      </a:lnTo>
                      <a:lnTo>
                        <a:pt x="213" y="500"/>
                      </a:lnTo>
                      <a:lnTo>
                        <a:pt x="209" y="496"/>
                      </a:lnTo>
                      <a:lnTo>
                        <a:pt x="205" y="490"/>
                      </a:lnTo>
                      <a:lnTo>
                        <a:pt x="205" y="484"/>
                      </a:lnTo>
                      <a:lnTo>
                        <a:pt x="204" y="476"/>
                      </a:lnTo>
                      <a:lnTo>
                        <a:pt x="209" y="465"/>
                      </a:lnTo>
                      <a:lnTo>
                        <a:pt x="218" y="457"/>
                      </a:lnTo>
                      <a:lnTo>
                        <a:pt x="223" y="454"/>
                      </a:lnTo>
                      <a:lnTo>
                        <a:pt x="223" y="449"/>
                      </a:lnTo>
                      <a:lnTo>
                        <a:pt x="219" y="445"/>
                      </a:lnTo>
                      <a:lnTo>
                        <a:pt x="212" y="443"/>
                      </a:lnTo>
                      <a:lnTo>
                        <a:pt x="205" y="443"/>
                      </a:lnTo>
                      <a:lnTo>
                        <a:pt x="198" y="441"/>
                      </a:lnTo>
                      <a:lnTo>
                        <a:pt x="191" y="441"/>
                      </a:lnTo>
                      <a:lnTo>
                        <a:pt x="188" y="441"/>
                      </a:lnTo>
                      <a:lnTo>
                        <a:pt x="184" y="434"/>
                      </a:lnTo>
                      <a:lnTo>
                        <a:pt x="182" y="430"/>
                      </a:lnTo>
                      <a:lnTo>
                        <a:pt x="178" y="426"/>
                      </a:lnTo>
                      <a:lnTo>
                        <a:pt x="173" y="423"/>
                      </a:lnTo>
                      <a:lnTo>
                        <a:pt x="170" y="419"/>
                      </a:lnTo>
                      <a:lnTo>
                        <a:pt x="167" y="417"/>
                      </a:lnTo>
                      <a:lnTo>
                        <a:pt x="163" y="417"/>
                      </a:lnTo>
                      <a:lnTo>
                        <a:pt x="158" y="419"/>
                      </a:lnTo>
                      <a:lnTo>
                        <a:pt x="158" y="433"/>
                      </a:lnTo>
                      <a:lnTo>
                        <a:pt x="156" y="437"/>
                      </a:lnTo>
                      <a:lnTo>
                        <a:pt x="149" y="439"/>
                      </a:lnTo>
                      <a:lnTo>
                        <a:pt x="142" y="441"/>
                      </a:lnTo>
                      <a:lnTo>
                        <a:pt x="138" y="443"/>
                      </a:lnTo>
                      <a:lnTo>
                        <a:pt x="134" y="445"/>
                      </a:lnTo>
                      <a:lnTo>
                        <a:pt x="132" y="447"/>
                      </a:lnTo>
                      <a:lnTo>
                        <a:pt x="127" y="452"/>
                      </a:lnTo>
                      <a:lnTo>
                        <a:pt x="126" y="455"/>
                      </a:lnTo>
                      <a:lnTo>
                        <a:pt x="125" y="458"/>
                      </a:lnTo>
                      <a:lnTo>
                        <a:pt x="119" y="459"/>
                      </a:lnTo>
                      <a:lnTo>
                        <a:pt x="115" y="461"/>
                      </a:lnTo>
                      <a:lnTo>
                        <a:pt x="107" y="464"/>
                      </a:lnTo>
                      <a:lnTo>
                        <a:pt x="104" y="467"/>
                      </a:lnTo>
                      <a:lnTo>
                        <a:pt x="100" y="470"/>
                      </a:lnTo>
                      <a:lnTo>
                        <a:pt x="94" y="471"/>
                      </a:lnTo>
                      <a:lnTo>
                        <a:pt x="88" y="471"/>
                      </a:lnTo>
                      <a:lnTo>
                        <a:pt x="81" y="469"/>
                      </a:lnTo>
                      <a:lnTo>
                        <a:pt x="78" y="465"/>
                      </a:lnTo>
                      <a:lnTo>
                        <a:pt x="74" y="459"/>
                      </a:lnTo>
                      <a:lnTo>
                        <a:pt x="72" y="454"/>
                      </a:lnTo>
                      <a:lnTo>
                        <a:pt x="67" y="449"/>
                      </a:lnTo>
                      <a:lnTo>
                        <a:pt x="63" y="447"/>
                      </a:lnTo>
                      <a:lnTo>
                        <a:pt x="61" y="446"/>
                      </a:lnTo>
                      <a:lnTo>
                        <a:pt x="65" y="437"/>
                      </a:lnTo>
                      <a:lnTo>
                        <a:pt x="58" y="428"/>
                      </a:lnTo>
                      <a:lnTo>
                        <a:pt x="56" y="421"/>
                      </a:lnTo>
                      <a:lnTo>
                        <a:pt x="55" y="410"/>
                      </a:lnTo>
                      <a:lnTo>
                        <a:pt x="54" y="406"/>
                      </a:lnTo>
                      <a:lnTo>
                        <a:pt x="45" y="410"/>
                      </a:lnTo>
                      <a:lnTo>
                        <a:pt x="37" y="412"/>
                      </a:lnTo>
                      <a:lnTo>
                        <a:pt x="30" y="410"/>
                      </a:lnTo>
                      <a:lnTo>
                        <a:pt x="27" y="407"/>
                      </a:lnTo>
                      <a:lnTo>
                        <a:pt x="14" y="407"/>
                      </a:lnTo>
                      <a:lnTo>
                        <a:pt x="4" y="405"/>
                      </a:lnTo>
                      <a:lnTo>
                        <a:pt x="1" y="399"/>
                      </a:lnTo>
                      <a:lnTo>
                        <a:pt x="1" y="396"/>
                      </a:lnTo>
                      <a:lnTo>
                        <a:pt x="1" y="394"/>
                      </a:lnTo>
                      <a:lnTo>
                        <a:pt x="1" y="392"/>
                      </a:lnTo>
                      <a:lnTo>
                        <a:pt x="2" y="390"/>
                      </a:lnTo>
                      <a:lnTo>
                        <a:pt x="2" y="388"/>
                      </a:lnTo>
                      <a:lnTo>
                        <a:pt x="1" y="385"/>
                      </a:lnTo>
                      <a:lnTo>
                        <a:pt x="0" y="384"/>
                      </a:lnTo>
                      <a:lnTo>
                        <a:pt x="0" y="383"/>
                      </a:lnTo>
                      <a:lnTo>
                        <a:pt x="7" y="379"/>
                      </a:lnTo>
                      <a:lnTo>
                        <a:pt x="5" y="372"/>
                      </a:lnTo>
                      <a:lnTo>
                        <a:pt x="4" y="364"/>
                      </a:lnTo>
                      <a:lnTo>
                        <a:pt x="10" y="359"/>
                      </a:lnTo>
                      <a:lnTo>
                        <a:pt x="21" y="360"/>
                      </a:lnTo>
                      <a:lnTo>
                        <a:pt x="30" y="357"/>
                      </a:lnTo>
                      <a:lnTo>
                        <a:pt x="42" y="361"/>
                      </a:lnTo>
                      <a:lnTo>
                        <a:pt x="55" y="366"/>
                      </a:lnTo>
                      <a:lnTo>
                        <a:pt x="63" y="366"/>
                      </a:lnTo>
                      <a:lnTo>
                        <a:pt x="65" y="354"/>
                      </a:lnTo>
                      <a:lnTo>
                        <a:pt x="65" y="339"/>
                      </a:lnTo>
                      <a:lnTo>
                        <a:pt x="65" y="337"/>
                      </a:lnTo>
                      <a:lnTo>
                        <a:pt x="65" y="335"/>
                      </a:lnTo>
                      <a:lnTo>
                        <a:pt x="66" y="333"/>
                      </a:lnTo>
                      <a:lnTo>
                        <a:pt x="67" y="332"/>
                      </a:lnTo>
                      <a:lnTo>
                        <a:pt x="67" y="331"/>
                      </a:lnTo>
                      <a:lnTo>
                        <a:pt x="67" y="329"/>
                      </a:lnTo>
                      <a:lnTo>
                        <a:pt x="69" y="321"/>
                      </a:lnTo>
                      <a:lnTo>
                        <a:pt x="69" y="319"/>
                      </a:lnTo>
                      <a:lnTo>
                        <a:pt x="70" y="312"/>
                      </a:lnTo>
                      <a:lnTo>
                        <a:pt x="76" y="300"/>
                      </a:lnTo>
                      <a:lnTo>
                        <a:pt x="81" y="291"/>
                      </a:lnTo>
                      <a:lnTo>
                        <a:pt x="82" y="282"/>
                      </a:lnTo>
                      <a:lnTo>
                        <a:pt x="84" y="280"/>
                      </a:lnTo>
                      <a:lnTo>
                        <a:pt x="85" y="278"/>
                      </a:lnTo>
                      <a:lnTo>
                        <a:pt x="86" y="278"/>
                      </a:lnTo>
                      <a:lnTo>
                        <a:pt x="87" y="276"/>
                      </a:lnTo>
                      <a:lnTo>
                        <a:pt x="88" y="275"/>
                      </a:lnTo>
                      <a:lnTo>
                        <a:pt x="88" y="268"/>
                      </a:lnTo>
                      <a:lnTo>
                        <a:pt x="87" y="265"/>
                      </a:lnTo>
                      <a:lnTo>
                        <a:pt x="87" y="254"/>
                      </a:lnTo>
                      <a:lnTo>
                        <a:pt x="87" y="243"/>
                      </a:lnTo>
                      <a:lnTo>
                        <a:pt x="86" y="234"/>
                      </a:lnTo>
                      <a:lnTo>
                        <a:pt x="87" y="223"/>
                      </a:lnTo>
                      <a:lnTo>
                        <a:pt x="91" y="213"/>
                      </a:lnTo>
                      <a:lnTo>
                        <a:pt x="92" y="212"/>
                      </a:lnTo>
                      <a:lnTo>
                        <a:pt x="92" y="208"/>
                      </a:lnTo>
                      <a:lnTo>
                        <a:pt x="93" y="204"/>
                      </a:lnTo>
                      <a:lnTo>
                        <a:pt x="94" y="201"/>
                      </a:lnTo>
                      <a:lnTo>
                        <a:pt x="95" y="199"/>
                      </a:lnTo>
                      <a:lnTo>
                        <a:pt x="96" y="196"/>
                      </a:lnTo>
                      <a:lnTo>
                        <a:pt x="96" y="186"/>
                      </a:lnTo>
                      <a:lnTo>
                        <a:pt x="99" y="177"/>
                      </a:lnTo>
                      <a:lnTo>
                        <a:pt x="105" y="172"/>
                      </a:lnTo>
                      <a:lnTo>
                        <a:pt x="105" y="172"/>
                      </a:lnTo>
                      <a:lnTo>
                        <a:pt x="105" y="171"/>
                      </a:lnTo>
                      <a:lnTo>
                        <a:pt x="105" y="168"/>
                      </a:lnTo>
                      <a:lnTo>
                        <a:pt x="104" y="167"/>
                      </a:lnTo>
                      <a:lnTo>
                        <a:pt x="104" y="166"/>
                      </a:lnTo>
                      <a:lnTo>
                        <a:pt x="105" y="166"/>
                      </a:lnTo>
                      <a:lnTo>
                        <a:pt x="105" y="164"/>
                      </a:lnTo>
                      <a:lnTo>
                        <a:pt x="106" y="161"/>
                      </a:lnTo>
                      <a:lnTo>
                        <a:pt x="107" y="161"/>
                      </a:lnTo>
                      <a:lnTo>
                        <a:pt x="107" y="160"/>
                      </a:lnTo>
                      <a:lnTo>
                        <a:pt x="108" y="156"/>
                      </a:lnTo>
                      <a:lnTo>
                        <a:pt x="97" y="154"/>
                      </a:lnTo>
                      <a:lnTo>
                        <a:pt x="88" y="153"/>
                      </a:lnTo>
                      <a:lnTo>
                        <a:pt x="78" y="153"/>
                      </a:lnTo>
                      <a:lnTo>
                        <a:pt x="70" y="151"/>
                      </a:lnTo>
                      <a:lnTo>
                        <a:pt x="70" y="146"/>
                      </a:lnTo>
                      <a:lnTo>
                        <a:pt x="67" y="139"/>
                      </a:lnTo>
                      <a:lnTo>
                        <a:pt x="63" y="135"/>
                      </a:lnTo>
                      <a:lnTo>
                        <a:pt x="66" y="128"/>
                      </a:lnTo>
                      <a:lnTo>
                        <a:pt x="70" y="120"/>
                      </a:lnTo>
                      <a:lnTo>
                        <a:pt x="70" y="109"/>
                      </a:lnTo>
                      <a:lnTo>
                        <a:pt x="74" y="103"/>
                      </a:lnTo>
                      <a:lnTo>
                        <a:pt x="78" y="101"/>
                      </a:lnTo>
                      <a:lnTo>
                        <a:pt x="84" y="102"/>
                      </a:lnTo>
                      <a:lnTo>
                        <a:pt x="90" y="100"/>
                      </a:lnTo>
                      <a:lnTo>
                        <a:pt x="91" y="95"/>
                      </a:lnTo>
                      <a:lnTo>
                        <a:pt x="87" y="91"/>
                      </a:lnTo>
                      <a:lnTo>
                        <a:pt x="84" y="86"/>
                      </a:lnTo>
                      <a:lnTo>
                        <a:pt x="85" y="78"/>
                      </a:lnTo>
                      <a:lnTo>
                        <a:pt x="90" y="74"/>
                      </a:lnTo>
                      <a:lnTo>
                        <a:pt x="96" y="69"/>
                      </a:lnTo>
                      <a:lnTo>
                        <a:pt x="103" y="62"/>
                      </a:lnTo>
                      <a:lnTo>
                        <a:pt x="107" y="58"/>
                      </a:lnTo>
                      <a:lnTo>
                        <a:pt x="114" y="55"/>
                      </a:lnTo>
                      <a:lnTo>
                        <a:pt x="150" y="55"/>
                      </a:lnTo>
                      <a:lnTo>
                        <a:pt x="156" y="57"/>
                      </a:lnTo>
                      <a:lnTo>
                        <a:pt x="162" y="58"/>
                      </a:lnTo>
                      <a:lnTo>
                        <a:pt x="168" y="56"/>
                      </a:lnTo>
                      <a:lnTo>
                        <a:pt x="177" y="54"/>
                      </a:lnTo>
                      <a:lnTo>
                        <a:pt x="187" y="53"/>
                      </a:lnTo>
                      <a:lnTo>
                        <a:pt x="196" y="52"/>
                      </a:lnTo>
                      <a:lnTo>
                        <a:pt x="209" y="52"/>
                      </a:lnTo>
                      <a:lnTo>
                        <a:pt x="215" y="48"/>
                      </a:lnTo>
                      <a:lnTo>
                        <a:pt x="234" y="48"/>
                      </a:lnTo>
                      <a:lnTo>
                        <a:pt x="243" y="52"/>
                      </a:lnTo>
                      <a:lnTo>
                        <a:pt x="245" y="58"/>
                      </a:lnTo>
                      <a:lnTo>
                        <a:pt x="245" y="69"/>
                      </a:lnTo>
                      <a:lnTo>
                        <a:pt x="244" y="76"/>
                      </a:lnTo>
                      <a:lnTo>
                        <a:pt x="253" y="80"/>
                      </a:lnTo>
                      <a:lnTo>
                        <a:pt x="254" y="89"/>
                      </a:lnTo>
                      <a:lnTo>
                        <a:pt x="259" y="94"/>
                      </a:lnTo>
                      <a:lnTo>
                        <a:pt x="261" y="99"/>
                      </a:lnTo>
                      <a:lnTo>
                        <a:pt x="263" y="105"/>
                      </a:lnTo>
                      <a:lnTo>
                        <a:pt x="261" y="111"/>
                      </a:lnTo>
                      <a:lnTo>
                        <a:pt x="255" y="114"/>
                      </a:lnTo>
                      <a:lnTo>
                        <a:pt x="249" y="115"/>
                      </a:lnTo>
                      <a:lnTo>
                        <a:pt x="247" y="120"/>
                      </a:lnTo>
                      <a:lnTo>
                        <a:pt x="249" y="127"/>
                      </a:lnTo>
                      <a:lnTo>
                        <a:pt x="255" y="131"/>
                      </a:lnTo>
                      <a:lnTo>
                        <a:pt x="261" y="132"/>
                      </a:lnTo>
                      <a:lnTo>
                        <a:pt x="262" y="133"/>
                      </a:lnTo>
                      <a:lnTo>
                        <a:pt x="267" y="139"/>
                      </a:lnTo>
                      <a:lnTo>
                        <a:pt x="272" y="144"/>
                      </a:lnTo>
                      <a:lnTo>
                        <a:pt x="278" y="142"/>
                      </a:lnTo>
                      <a:lnTo>
                        <a:pt x="285" y="137"/>
                      </a:lnTo>
                      <a:lnTo>
                        <a:pt x="289" y="133"/>
                      </a:lnTo>
                      <a:lnTo>
                        <a:pt x="294" y="126"/>
                      </a:lnTo>
                      <a:lnTo>
                        <a:pt x="292" y="118"/>
                      </a:lnTo>
                      <a:lnTo>
                        <a:pt x="291" y="113"/>
                      </a:lnTo>
                      <a:lnTo>
                        <a:pt x="287" y="111"/>
                      </a:lnTo>
                      <a:lnTo>
                        <a:pt x="278" y="112"/>
                      </a:lnTo>
                      <a:lnTo>
                        <a:pt x="276" y="107"/>
                      </a:lnTo>
                      <a:lnTo>
                        <a:pt x="276" y="100"/>
                      </a:lnTo>
                      <a:lnTo>
                        <a:pt x="277" y="93"/>
                      </a:lnTo>
                      <a:lnTo>
                        <a:pt x="280" y="89"/>
                      </a:lnTo>
                      <a:lnTo>
                        <a:pt x="287" y="85"/>
                      </a:lnTo>
                      <a:lnTo>
                        <a:pt x="294" y="82"/>
                      </a:lnTo>
                      <a:lnTo>
                        <a:pt x="298" y="86"/>
                      </a:lnTo>
                      <a:lnTo>
                        <a:pt x="300" y="91"/>
                      </a:lnTo>
                      <a:lnTo>
                        <a:pt x="304" y="96"/>
                      </a:lnTo>
                      <a:lnTo>
                        <a:pt x="312" y="98"/>
                      </a:lnTo>
                      <a:lnTo>
                        <a:pt x="316" y="100"/>
                      </a:lnTo>
                      <a:lnTo>
                        <a:pt x="320" y="103"/>
                      </a:lnTo>
                      <a:lnTo>
                        <a:pt x="322" y="108"/>
                      </a:lnTo>
                      <a:lnTo>
                        <a:pt x="321" y="115"/>
                      </a:lnTo>
                      <a:lnTo>
                        <a:pt x="316" y="125"/>
                      </a:lnTo>
                      <a:lnTo>
                        <a:pt x="314" y="135"/>
                      </a:lnTo>
                      <a:lnTo>
                        <a:pt x="315" y="144"/>
                      </a:lnTo>
                      <a:lnTo>
                        <a:pt x="315" y="153"/>
                      </a:lnTo>
                      <a:lnTo>
                        <a:pt x="316" y="156"/>
                      </a:lnTo>
                      <a:lnTo>
                        <a:pt x="320" y="160"/>
                      </a:lnTo>
                      <a:lnTo>
                        <a:pt x="320" y="168"/>
                      </a:lnTo>
                      <a:lnTo>
                        <a:pt x="320" y="181"/>
                      </a:lnTo>
                      <a:lnTo>
                        <a:pt x="320" y="187"/>
                      </a:lnTo>
                      <a:lnTo>
                        <a:pt x="323" y="183"/>
                      </a:lnTo>
                      <a:lnTo>
                        <a:pt x="324" y="177"/>
                      </a:lnTo>
                      <a:lnTo>
                        <a:pt x="323" y="169"/>
                      </a:lnTo>
                      <a:lnTo>
                        <a:pt x="326" y="165"/>
                      </a:lnTo>
                      <a:lnTo>
                        <a:pt x="324" y="159"/>
                      </a:lnTo>
                      <a:lnTo>
                        <a:pt x="322" y="157"/>
                      </a:lnTo>
                      <a:lnTo>
                        <a:pt x="325" y="147"/>
                      </a:lnTo>
                      <a:lnTo>
                        <a:pt x="324" y="140"/>
                      </a:lnTo>
                      <a:lnTo>
                        <a:pt x="324" y="134"/>
                      </a:lnTo>
                      <a:lnTo>
                        <a:pt x="323" y="128"/>
                      </a:lnTo>
                      <a:lnTo>
                        <a:pt x="325" y="121"/>
                      </a:lnTo>
                      <a:lnTo>
                        <a:pt x="328" y="118"/>
                      </a:lnTo>
                      <a:lnTo>
                        <a:pt x="331" y="113"/>
                      </a:lnTo>
                      <a:lnTo>
                        <a:pt x="333" y="108"/>
                      </a:lnTo>
                      <a:lnTo>
                        <a:pt x="332" y="103"/>
                      </a:lnTo>
                      <a:lnTo>
                        <a:pt x="327" y="100"/>
                      </a:lnTo>
                      <a:lnTo>
                        <a:pt x="323" y="95"/>
                      </a:lnTo>
                      <a:lnTo>
                        <a:pt x="322" y="87"/>
                      </a:lnTo>
                      <a:lnTo>
                        <a:pt x="320" y="80"/>
                      </a:lnTo>
                      <a:lnTo>
                        <a:pt x="320" y="72"/>
                      </a:lnTo>
                      <a:lnTo>
                        <a:pt x="320" y="62"/>
                      </a:lnTo>
                      <a:lnTo>
                        <a:pt x="323" y="54"/>
                      </a:lnTo>
                      <a:lnTo>
                        <a:pt x="326" y="44"/>
                      </a:lnTo>
                      <a:lnTo>
                        <a:pt x="329" y="34"/>
                      </a:lnTo>
                      <a:lnTo>
                        <a:pt x="332" y="28"/>
                      </a:lnTo>
                      <a:lnTo>
                        <a:pt x="334" y="25"/>
                      </a:lnTo>
                      <a:lnTo>
                        <a:pt x="336" y="20"/>
                      </a:lnTo>
                      <a:lnTo>
                        <a:pt x="339" y="14"/>
                      </a:lnTo>
                      <a:lnTo>
                        <a:pt x="341" y="10"/>
                      </a:lnTo>
                      <a:lnTo>
                        <a:pt x="347" y="4"/>
                      </a:lnTo>
                      <a:lnTo>
                        <a:pt x="350" y="2"/>
                      </a:lnTo>
                      <a:lnTo>
                        <a:pt x="356" y="1"/>
                      </a:lnTo>
                      <a:lnTo>
                        <a:pt x="35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36" name="Freeform 31">
                  <a:extLst>
                    <a:ext uri="{FF2B5EF4-FFF2-40B4-BE49-F238E27FC236}">
                      <a16:creationId xmlns:a16="http://schemas.microsoft.com/office/drawing/2014/main" id="{708F9EA2-293F-4B9E-A68B-3259B95E8CE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71520" y="2139950"/>
                  <a:ext cx="11113" cy="15875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7" y="7"/>
                    </a:cxn>
                    <a:cxn ang="0">
                      <a:pos x="2" y="10"/>
                    </a:cxn>
                    <a:cxn ang="0">
                      <a:pos x="0" y="9"/>
                    </a:cxn>
                    <a:cxn ang="0">
                      <a:pos x="0" y="5"/>
                    </a:cxn>
                    <a:cxn ang="0">
                      <a:pos x="1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0">
                      <a:moveTo>
                        <a:pt x="5" y="0"/>
                      </a:moveTo>
                      <a:lnTo>
                        <a:pt x="7" y="7"/>
                      </a:lnTo>
                      <a:lnTo>
                        <a:pt x="2" y="10"/>
                      </a:lnTo>
                      <a:lnTo>
                        <a:pt x="0" y="9"/>
                      </a:lnTo>
                      <a:lnTo>
                        <a:pt x="0" y="5"/>
                      </a:lnTo>
                      <a:lnTo>
                        <a:pt x="1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37" name="Freeform 33">
                  <a:extLst>
                    <a:ext uri="{FF2B5EF4-FFF2-40B4-BE49-F238E27FC236}">
                      <a16:creationId xmlns:a16="http://schemas.microsoft.com/office/drawing/2014/main" id="{80646B8C-C4CA-41FF-A406-62E4CB2F555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92145" y="2252663"/>
                  <a:ext cx="23813" cy="15875"/>
                </a:xfrm>
                <a:custGeom>
                  <a:avLst/>
                  <a:gdLst/>
                  <a:ahLst/>
                  <a:cxnLst>
                    <a:cxn ang="0">
                      <a:pos x="8" y="0"/>
                    </a:cxn>
                    <a:cxn ang="0">
                      <a:pos x="15" y="2"/>
                    </a:cxn>
                    <a:cxn ang="0">
                      <a:pos x="10" y="4"/>
                    </a:cxn>
                    <a:cxn ang="0">
                      <a:pos x="6" y="5"/>
                    </a:cxn>
                    <a:cxn ang="0">
                      <a:pos x="6" y="8"/>
                    </a:cxn>
                    <a:cxn ang="0">
                      <a:pos x="3" y="10"/>
                    </a:cxn>
                    <a:cxn ang="0">
                      <a:pos x="0" y="9"/>
                    </a:cxn>
                    <a:cxn ang="0">
                      <a:pos x="1" y="5"/>
                    </a:cxn>
                    <a:cxn ang="0">
                      <a:pos x="6" y="1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5" h="10">
                      <a:moveTo>
                        <a:pt x="8" y="0"/>
                      </a:moveTo>
                      <a:lnTo>
                        <a:pt x="15" y="2"/>
                      </a:lnTo>
                      <a:lnTo>
                        <a:pt x="10" y="4"/>
                      </a:lnTo>
                      <a:lnTo>
                        <a:pt x="6" y="5"/>
                      </a:lnTo>
                      <a:lnTo>
                        <a:pt x="6" y="8"/>
                      </a:lnTo>
                      <a:lnTo>
                        <a:pt x="3" y="10"/>
                      </a:lnTo>
                      <a:lnTo>
                        <a:pt x="0" y="9"/>
                      </a:lnTo>
                      <a:lnTo>
                        <a:pt x="1" y="5"/>
                      </a:lnTo>
                      <a:lnTo>
                        <a:pt x="6" y="1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38" name="Freeform 34">
                  <a:extLst>
                    <a:ext uri="{FF2B5EF4-FFF2-40B4-BE49-F238E27FC236}">
                      <a16:creationId xmlns:a16="http://schemas.microsoft.com/office/drawing/2014/main" id="{60D8C24C-7940-4155-B18E-6E01B5A6DC1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17533" y="2212975"/>
                  <a:ext cx="30163" cy="11113"/>
                </a:xfrm>
                <a:custGeom>
                  <a:avLst/>
                  <a:gdLst/>
                  <a:ahLst/>
                  <a:cxnLst>
                    <a:cxn ang="0">
                      <a:pos x="8" y="0"/>
                    </a:cxn>
                    <a:cxn ang="0">
                      <a:pos x="15" y="1"/>
                    </a:cxn>
                    <a:cxn ang="0">
                      <a:pos x="19" y="3"/>
                    </a:cxn>
                    <a:cxn ang="0">
                      <a:pos x="19" y="5"/>
                    </a:cxn>
                    <a:cxn ang="0">
                      <a:pos x="15" y="6"/>
                    </a:cxn>
                    <a:cxn ang="0">
                      <a:pos x="6" y="6"/>
                    </a:cxn>
                    <a:cxn ang="0">
                      <a:pos x="3" y="7"/>
                    </a:cxn>
                    <a:cxn ang="0">
                      <a:pos x="0" y="7"/>
                    </a:cxn>
                    <a:cxn ang="0">
                      <a:pos x="0" y="3"/>
                    </a:cxn>
                    <a:cxn ang="0">
                      <a:pos x="4" y="0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19" h="7">
                      <a:moveTo>
                        <a:pt x="8" y="0"/>
                      </a:moveTo>
                      <a:lnTo>
                        <a:pt x="15" y="1"/>
                      </a:lnTo>
                      <a:lnTo>
                        <a:pt x="19" y="3"/>
                      </a:lnTo>
                      <a:lnTo>
                        <a:pt x="19" y="5"/>
                      </a:lnTo>
                      <a:lnTo>
                        <a:pt x="15" y="6"/>
                      </a:lnTo>
                      <a:lnTo>
                        <a:pt x="6" y="6"/>
                      </a:lnTo>
                      <a:lnTo>
                        <a:pt x="3" y="7"/>
                      </a:lnTo>
                      <a:lnTo>
                        <a:pt x="0" y="7"/>
                      </a:lnTo>
                      <a:lnTo>
                        <a:pt x="0" y="3"/>
                      </a:lnTo>
                      <a:lnTo>
                        <a:pt x="4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39" name="Freeform 35">
                  <a:extLst>
                    <a:ext uri="{FF2B5EF4-FFF2-40B4-BE49-F238E27FC236}">
                      <a16:creationId xmlns:a16="http://schemas.microsoft.com/office/drawing/2014/main" id="{2EE70FAF-127B-47B5-A192-40193858F62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66733" y="2219325"/>
                  <a:ext cx="38100" cy="14288"/>
                </a:xfrm>
                <a:custGeom>
                  <a:avLst/>
                  <a:gdLst/>
                  <a:ahLst/>
                  <a:cxnLst>
                    <a:cxn ang="0">
                      <a:pos x="8" y="0"/>
                    </a:cxn>
                    <a:cxn ang="0">
                      <a:pos x="12" y="1"/>
                    </a:cxn>
                    <a:cxn ang="0">
                      <a:pos x="23" y="1"/>
                    </a:cxn>
                    <a:cxn ang="0">
                      <a:pos x="24" y="3"/>
                    </a:cxn>
                    <a:cxn ang="0">
                      <a:pos x="20" y="4"/>
                    </a:cxn>
                    <a:cxn ang="0">
                      <a:pos x="17" y="7"/>
                    </a:cxn>
                    <a:cxn ang="0">
                      <a:pos x="13" y="7"/>
                    </a:cxn>
                    <a:cxn ang="0">
                      <a:pos x="9" y="7"/>
                    </a:cxn>
                    <a:cxn ang="0">
                      <a:pos x="5" y="7"/>
                    </a:cxn>
                    <a:cxn ang="0">
                      <a:pos x="3" y="9"/>
                    </a:cxn>
                    <a:cxn ang="0">
                      <a:pos x="0" y="5"/>
                    </a:cxn>
                    <a:cxn ang="0">
                      <a:pos x="3" y="1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24" h="9">
                      <a:moveTo>
                        <a:pt x="8" y="0"/>
                      </a:moveTo>
                      <a:lnTo>
                        <a:pt x="12" y="1"/>
                      </a:lnTo>
                      <a:lnTo>
                        <a:pt x="23" y="1"/>
                      </a:lnTo>
                      <a:lnTo>
                        <a:pt x="24" y="3"/>
                      </a:lnTo>
                      <a:lnTo>
                        <a:pt x="20" y="4"/>
                      </a:lnTo>
                      <a:lnTo>
                        <a:pt x="17" y="7"/>
                      </a:lnTo>
                      <a:lnTo>
                        <a:pt x="13" y="7"/>
                      </a:lnTo>
                      <a:lnTo>
                        <a:pt x="9" y="7"/>
                      </a:lnTo>
                      <a:lnTo>
                        <a:pt x="5" y="7"/>
                      </a:lnTo>
                      <a:lnTo>
                        <a:pt x="3" y="9"/>
                      </a:lnTo>
                      <a:lnTo>
                        <a:pt x="0" y="5"/>
                      </a:lnTo>
                      <a:lnTo>
                        <a:pt x="3" y="1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40" name="Freeform 36">
                  <a:extLst>
                    <a:ext uri="{FF2B5EF4-FFF2-40B4-BE49-F238E27FC236}">
                      <a16:creationId xmlns:a16="http://schemas.microsoft.com/office/drawing/2014/main" id="{576215B4-3393-40CB-A2EA-3C4845DE30E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707995" y="2224088"/>
                  <a:ext cx="46038" cy="20638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17" y="1"/>
                    </a:cxn>
                    <a:cxn ang="0">
                      <a:pos x="22" y="2"/>
                    </a:cxn>
                    <a:cxn ang="0">
                      <a:pos x="26" y="3"/>
                    </a:cxn>
                    <a:cxn ang="0">
                      <a:pos x="29" y="6"/>
                    </a:cxn>
                    <a:cxn ang="0">
                      <a:pos x="28" y="9"/>
                    </a:cxn>
                    <a:cxn ang="0">
                      <a:pos x="24" y="7"/>
                    </a:cxn>
                    <a:cxn ang="0">
                      <a:pos x="22" y="7"/>
                    </a:cxn>
                    <a:cxn ang="0">
                      <a:pos x="19" y="9"/>
                    </a:cxn>
                    <a:cxn ang="0">
                      <a:pos x="14" y="9"/>
                    </a:cxn>
                    <a:cxn ang="0">
                      <a:pos x="12" y="7"/>
                    </a:cxn>
                    <a:cxn ang="0">
                      <a:pos x="8" y="8"/>
                    </a:cxn>
                    <a:cxn ang="0">
                      <a:pos x="5" y="10"/>
                    </a:cxn>
                    <a:cxn ang="0">
                      <a:pos x="3" y="13"/>
                    </a:cxn>
                    <a:cxn ang="0">
                      <a:pos x="0" y="13"/>
                    </a:cxn>
                    <a:cxn ang="0">
                      <a:pos x="2" y="9"/>
                    </a:cxn>
                    <a:cxn ang="0">
                      <a:pos x="2" y="5"/>
                    </a:cxn>
                    <a:cxn ang="0">
                      <a:pos x="8" y="3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29" h="13">
                      <a:moveTo>
                        <a:pt x="11" y="0"/>
                      </a:moveTo>
                      <a:lnTo>
                        <a:pt x="17" y="1"/>
                      </a:lnTo>
                      <a:lnTo>
                        <a:pt x="22" y="2"/>
                      </a:lnTo>
                      <a:lnTo>
                        <a:pt x="26" y="3"/>
                      </a:lnTo>
                      <a:lnTo>
                        <a:pt x="29" y="6"/>
                      </a:lnTo>
                      <a:lnTo>
                        <a:pt x="28" y="9"/>
                      </a:lnTo>
                      <a:lnTo>
                        <a:pt x="24" y="7"/>
                      </a:lnTo>
                      <a:lnTo>
                        <a:pt x="22" y="7"/>
                      </a:lnTo>
                      <a:lnTo>
                        <a:pt x="19" y="9"/>
                      </a:lnTo>
                      <a:lnTo>
                        <a:pt x="14" y="9"/>
                      </a:lnTo>
                      <a:lnTo>
                        <a:pt x="12" y="7"/>
                      </a:lnTo>
                      <a:lnTo>
                        <a:pt x="8" y="8"/>
                      </a:lnTo>
                      <a:lnTo>
                        <a:pt x="5" y="10"/>
                      </a:lnTo>
                      <a:lnTo>
                        <a:pt x="3" y="13"/>
                      </a:lnTo>
                      <a:lnTo>
                        <a:pt x="0" y="13"/>
                      </a:lnTo>
                      <a:lnTo>
                        <a:pt x="2" y="9"/>
                      </a:lnTo>
                      <a:lnTo>
                        <a:pt x="2" y="5"/>
                      </a:lnTo>
                      <a:lnTo>
                        <a:pt x="8" y="3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41" name="Freeform 37">
                  <a:extLst>
                    <a:ext uri="{FF2B5EF4-FFF2-40B4-BE49-F238E27FC236}">
                      <a16:creationId xmlns:a16="http://schemas.microsoft.com/office/drawing/2014/main" id="{C48F499C-67E0-4530-932E-1E6594A1870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85770" y="2235200"/>
                  <a:ext cx="15875" cy="11113"/>
                </a:xfrm>
                <a:custGeom>
                  <a:avLst/>
                  <a:gdLst/>
                  <a:ahLst/>
                  <a:cxnLst>
                    <a:cxn ang="0">
                      <a:pos x="6" y="0"/>
                    </a:cxn>
                    <a:cxn ang="0">
                      <a:pos x="9" y="2"/>
                    </a:cxn>
                    <a:cxn ang="0">
                      <a:pos x="10" y="5"/>
                    </a:cxn>
                    <a:cxn ang="0">
                      <a:pos x="5" y="5"/>
                    </a:cxn>
                    <a:cxn ang="0">
                      <a:pos x="3" y="7"/>
                    </a:cxn>
                    <a:cxn ang="0">
                      <a:pos x="0" y="6"/>
                    </a:cxn>
                    <a:cxn ang="0">
                      <a:pos x="1" y="3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10" h="7">
                      <a:moveTo>
                        <a:pt x="6" y="0"/>
                      </a:moveTo>
                      <a:lnTo>
                        <a:pt x="9" y="2"/>
                      </a:lnTo>
                      <a:lnTo>
                        <a:pt x="10" y="5"/>
                      </a:lnTo>
                      <a:lnTo>
                        <a:pt x="5" y="5"/>
                      </a:lnTo>
                      <a:lnTo>
                        <a:pt x="3" y="7"/>
                      </a:lnTo>
                      <a:lnTo>
                        <a:pt x="0" y="6"/>
                      </a:lnTo>
                      <a:lnTo>
                        <a:pt x="1" y="3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42" name="Freeform 38">
                  <a:extLst>
                    <a:ext uri="{FF2B5EF4-FFF2-40B4-BE49-F238E27FC236}">
                      <a16:creationId xmlns:a16="http://schemas.microsoft.com/office/drawing/2014/main" id="{D13A457B-3ED3-43ED-A073-C7286578CD5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27033" y="2238375"/>
                  <a:ext cx="47625" cy="14288"/>
                </a:xfrm>
                <a:custGeom>
                  <a:avLst/>
                  <a:gdLst/>
                  <a:ahLst/>
                  <a:cxnLst>
                    <a:cxn ang="0">
                      <a:pos x="8" y="0"/>
                    </a:cxn>
                    <a:cxn ang="0">
                      <a:pos x="13" y="2"/>
                    </a:cxn>
                    <a:cxn ang="0">
                      <a:pos x="27" y="2"/>
                    </a:cxn>
                    <a:cxn ang="0">
                      <a:pos x="30" y="2"/>
                    </a:cxn>
                    <a:cxn ang="0">
                      <a:pos x="28" y="5"/>
                    </a:cxn>
                    <a:cxn ang="0">
                      <a:pos x="23" y="6"/>
                    </a:cxn>
                    <a:cxn ang="0">
                      <a:pos x="20" y="6"/>
                    </a:cxn>
                    <a:cxn ang="0">
                      <a:pos x="14" y="7"/>
                    </a:cxn>
                    <a:cxn ang="0">
                      <a:pos x="10" y="6"/>
                    </a:cxn>
                    <a:cxn ang="0">
                      <a:pos x="7" y="6"/>
                    </a:cxn>
                    <a:cxn ang="0">
                      <a:pos x="5" y="9"/>
                    </a:cxn>
                    <a:cxn ang="0">
                      <a:pos x="0" y="9"/>
                    </a:cxn>
                    <a:cxn ang="0">
                      <a:pos x="2" y="4"/>
                    </a:cxn>
                    <a:cxn ang="0">
                      <a:pos x="5" y="1"/>
                    </a:cxn>
                    <a:cxn ang="0">
                      <a:pos x="8" y="0"/>
                    </a:cxn>
                  </a:cxnLst>
                  <a:rect l="0" t="0" r="r" b="b"/>
                  <a:pathLst>
                    <a:path w="30" h="9">
                      <a:moveTo>
                        <a:pt x="8" y="0"/>
                      </a:moveTo>
                      <a:lnTo>
                        <a:pt x="13" y="2"/>
                      </a:lnTo>
                      <a:lnTo>
                        <a:pt x="27" y="2"/>
                      </a:lnTo>
                      <a:lnTo>
                        <a:pt x="30" y="2"/>
                      </a:lnTo>
                      <a:lnTo>
                        <a:pt x="28" y="5"/>
                      </a:lnTo>
                      <a:lnTo>
                        <a:pt x="23" y="6"/>
                      </a:lnTo>
                      <a:lnTo>
                        <a:pt x="20" y="6"/>
                      </a:lnTo>
                      <a:lnTo>
                        <a:pt x="14" y="7"/>
                      </a:lnTo>
                      <a:lnTo>
                        <a:pt x="10" y="6"/>
                      </a:lnTo>
                      <a:lnTo>
                        <a:pt x="7" y="6"/>
                      </a:lnTo>
                      <a:lnTo>
                        <a:pt x="5" y="9"/>
                      </a:lnTo>
                      <a:lnTo>
                        <a:pt x="0" y="9"/>
                      </a:lnTo>
                      <a:lnTo>
                        <a:pt x="2" y="4"/>
                      </a:lnTo>
                      <a:lnTo>
                        <a:pt x="5" y="1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43" name="Freeform 39">
                  <a:extLst>
                    <a:ext uri="{FF2B5EF4-FFF2-40B4-BE49-F238E27FC236}">
                      <a16:creationId xmlns:a16="http://schemas.microsoft.com/office/drawing/2014/main" id="{140ACE1E-C588-40F6-87E8-361208A7A2F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7183" y="2249488"/>
                  <a:ext cx="55563" cy="15875"/>
                </a:xfrm>
                <a:custGeom>
                  <a:avLst/>
                  <a:gdLst/>
                  <a:ahLst/>
                  <a:cxnLst>
                    <a:cxn ang="0">
                      <a:pos x="33" y="0"/>
                    </a:cxn>
                    <a:cxn ang="0">
                      <a:pos x="35" y="2"/>
                    </a:cxn>
                    <a:cxn ang="0">
                      <a:pos x="33" y="5"/>
                    </a:cxn>
                    <a:cxn ang="0">
                      <a:pos x="31" y="7"/>
                    </a:cxn>
                    <a:cxn ang="0">
                      <a:pos x="27" y="7"/>
                    </a:cxn>
                    <a:cxn ang="0">
                      <a:pos x="23" y="9"/>
                    </a:cxn>
                    <a:cxn ang="0">
                      <a:pos x="8" y="9"/>
                    </a:cxn>
                    <a:cxn ang="0">
                      <a:pos x="2" y="10"/>
                    </a:cxn>
                    <a:cxn ang="0">
                      <a:pos x="0" y="8"/>
                    </a:cxn>
                    <a:cxn ang="0">
                      <a:pos x="2" y="6"/>
                    </a:cxn>
                    <a:cxn ang="0">
                      <a:pos x="6" y="4"/>
                    </a:cxn>
                    <a:cxn ang="0">
                      <a:pos x="12" y="4"/>
                    </a:cxn>
                    <a:cxn ang="0">
                      <a:pos x="17" y="4"/>
                    </a:cxn>
                    <a:cxn ang="0">
                      <a:pos x="23" y="4"/>
                    </a:cxn>
                    <a:cxn ang="0">
                      <a:pos x="26" y="2"/>
                    </a:cxn>
                    <a:cxn ang="0">
                      <a:pos x="33" y="0"/>
                    </a:cxn>
                  </a:cxnLst>
                  <a:rect l="0" t="0" r="r" b="b"/>
                  <a:pathLst>
                    <a:path w="35" h="10">
                      <a:moveTo>
                        <a:pt x="33" y="0"/>
                      </a:moveTo>
                      <a:lnTo>
                        <a:pt x="35" y="2"/>
                      </a:lnTo>
                      <a:lnTo>
                        <a:pt x="33" y="5"/>
                      </a:lnTo>
                      <a:lnTo>
                        <a:pt x="31" y="7"/>
                      </a:lnTo>
                      <a:lnTo>
                        <a:pt x="27" y="7"/>
                      </a:lnTo>
                      <a:lnTo>
                        <a:pt x="23" y="9"/>
                      </a:lnTo>
                      <a:lnTo>
                        <a:pt x="8" y="9"/>
                      </a:lnTo>
                      <a:lnTo>
                        <a:pt x="2" y="10"/>
                      </a:lnTo>
                      <a:lnTo>
                        <a:pt x="0" y="8"/>
                      </a:lnTo>
                      <a:lnTo>
                        <a:pt x="2" y="6"/>
                      </a:lnTo>
                      <a:lnTo>
                        <a:pt x="6" y="4"/>
                      </a:lnTo>
                      <a:lnTo>
                        <a:pt x="12" y="4"/>
                      </a:lnTo>
                      <a:lnTo>
                        <a:pt x="17" y="4"/>
                      </a:lnTo>
                      <a:lnTo>
                        <a:pt x="23" y="4"/>
                      </a:lnTo>
                      <a:lnTo>
                        <a:pt x="26" y="2"/>
                      </a:lnTo>
                      <a:lnTo>
                        <a:pt x="33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44" name="Freeform 40">
                  <a:extLst>
                    <a:ext uri="{FF2B5EF4-FFF2-40B4-BE49-F238E27FC236}">
                      <a16:creationId xmlns:a16="http://schemas.microsoft.com/office/drawing/2014/main" id="{D7B56E2E-3C57-4D7B-9C42-D1DB68915AB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49245" y="2270125"/>
                  <a:ext cx="11113" cy="1111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7" y="0"/>
                    </a:cxn>
                    <a:cxn ang="0">
                      <a:pos x="7" y="2"/>
                    </a:cxn>
                    <a:cxn ang="0">
                      <a:pos x="4" y="3"/>
                    </a:cxn>
                    <a:cxn ang="0">
                      <a:pos x="4" y="6"/>
                    </a:cxn>
                    <a:cxn ang="0">
                      <a:pos x="2" y="7"/>
                    </a:cxn>
                    <a:cxn ang="0">
                      <a:pos x="0" y="3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7" h="7">
                      <a:moveTo>
                        <a:pt x="1" y="0"/>
                      </a:moveTo>
                      <a:lnTo>
                        <a:pt x="7" y="0"/>
                      </a:lnTo>
                      <a:lnTo>
                        <a:pt x="7" y="2"/>
                      </a:lnTo>
                      <a:lnTo>
                        <a:pt x="4" y="3"/>
                      </a:lnTo>
                      <a:lnTo>
                        <a:pt x="4" y="6"/>
                      </a:lnTo>
                      <a:lnTo>
                        <a:pt x="2" y="7"/>
                      </a:lnTo>
                      <a:lnTo>
                        <a:pt x="0" y="3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45" name="Freeform 41">
                  <a:extLst>
                    <a:ext uri="{FF2B5EF4-FFF2-40B4-BE49-F238E27FC236}">
                      <a16:creationId xmlns:a16="http://schemas.microsoft.com/office/drawing/2014/main" id="{653CAC37-E081-4B4F-988E-F4A93F04DA1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00033" y="2278063"/>
                  <a:ext cx="42863" cy="30163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13" y="0"/>
                    </a:cxn>
                    <a:cxn ang="0">
                      <a:pos x="15" y="3"/>
                    </a:cxn>
                    <a:cxn ang="0">
                      <a:pos x="18" y="6"/>
                    </a:cxn>
                    <a:cxn ang="0">
                      <a:pos x="24" y="7"/>
                    </a:cxn>
                    <a:cxn ang="0">
                      <a:pos x="27" y="8"/>
                    </a:cxn>
                    <a:cxn ang="0">
                      <a:pos x="24" y="10"/>
                    </a:cxn>
                    <a:cxn ang="0">
                      <a:pos x="20" y="10"/>
                    </a:cxn>
                    <a:cxn ang="0">
                      <a:pos x="16" y="10"/>
                    </a:cxn>
                    <a:cxn ang="0">
                      <a:pos x="12" y="10"/>
                    </a:cxn>
                    <a:cxn ang="0">
                      <a:pos x="11" y="13"/>
                    </a:cxn>
                    <a:cxn ang="0">
                      <a:pos x="16" y="13"/>
                    </a:cxn>
                    <a:cxn ang="0">
                      <a:pos x="17" y="18"/>
                    </a:cxn>
                    <a:cxn ang="0">
                      <a:pos x="13" y="19"/>
                    </a:cxn>
                    <a:cxn ang="0">
                      <a:pos x="4" y="16"/>
                    </a:cxn>
                    <a:cxn ang="0">
                      <a:pos x="0" y="13"/>
                    </a:cxn>
                    <a:cxn ang="0">
                      <a:pos x="0" y="10"/>
                    </a:cxn>
                    <a:cxn ang="0">
                      <a:pos x="2" y="6"/>
                    </a:cxn>
                    <a:cxn ang="0">
                      <a:pos x="9" y="3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27" h="19">
                      <a:moveTo>
                        <a:pt x="11" y="0"/>
                      </a:moveTo>
                      <a:lnTo>
                        <a:pt x="13" y="0"/>
                      </a:lnTo>
                      <a:lnTo>
                        <a:pt x="15" y="3"/>
                      </a:lnTo>
                      <a:lnTo>
                        <a:pt x="18" y="6"/>
                      </a:lnTo>
                      <a:lnTo>
                        <a:pt x="24" y="7"/>
                      </a:lnTo>
                      <a:lnTo>
                        <a:pt x="27" y="8"/>
                      </a:lnTo>
                      <a:lnTo>
                        <a:pt x="24" y="10"/>
                      </a:lnTo>
                      <a:lnTo>
                        <a:pt x="20" y="10"/>
                      </a:lnTo>
                      <a:lnTo>
                        <a:pt x="16" y="10"/>
                      </a:lnTo>
                      <a:lnTo>
                        <a:pt x="12" y="10"/>
                      </a:lnTo>
                      <a:lnTo>
                        <a:pt x="11" y="13"/>
                      </a:lnTo>
                      <a:lnTo>
                        <a:pt x="16" y="13"/>
                      </a:lnTo>
                      <a:lnTo>
                        <a:pt x="17" y="18"/>
                      </a:lnTo>
                      <a:lnTo>
                        <a:pt x="13" y="19"/>
                      </a:lnTo>
                      <a:lnTo>
                        <a:pt x="4" y="16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2" y="6"/>
                      </a:lnTo>
                      <a:lnTo>
                        <a:pt x="9" y="3"/>
                      </a:lnTo>
                      <a:lnTo>
                        <a:pt x="11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</p:grpSp>
          <p:grpSp>
            <p:nvGrpSpPr>
              <p:cNvPr id="20" name="Mecklenburg Vorpommern">
                <a:extLst>
                  <a:ext uri="{FF2B5EF4-FFF2-40B4-BE49-F238E27FC236}">
                    <a16:creationId xmlns:a16="http://schemas.microsoft.com/office/drawing/2014/main" id="{61B7E2E4-E936-4C1E-AE32-7305008D8B53}"/>
                  </a:ext>
                </a:extLst>
              </p:cNvPr>
              <p:cNvGrpSpPr/>
              <p:nvPr/>
            </p:nvGrpSpPr>
            <p:grpSpPr bwMode="gray">
              <a:xfrm>
                <a:off x="1568420" y="1806575"/>
                <a:ext cx="1030288" cy="749300"/>
                <a:chOff x="1568420" y="1806575"/>
                <a:chExt cx="1030288" cy="749300"/>
              </a:xfrm>
              <a:grpFill/>
            </p:grpSpPr>
            <p:sp>
              <p:nvSpPr>
                <p:cNvPr id="29" name="Freeform 7">
                  <a:extLst>
                    <a:ext uri="{FF2B5EF4-FFF2-40B4-BE49-F238E27FC236}">
                      <a16:creationId xmlns:a16="http://schemas.microsoft.com/office/drawing/2014/main" id="{B8A8C904-1910-4BA3-8902-F1F9E4D6102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568420" y="1806575"/>
                  <a:ext cx="1030288" cy="749300"/>
                </a:xfrm>
                <a:custGeom>
                  <a:avLst/>
                  <a:gdLst/>
                  <a:ahLst/>
                  <a:cxnLst>
                    <a:cxn ang="0">
                      <a:pos x="463" y="26"/>
                    </a:cxn>
                    <a:cxn ang="0">
                      <a:pos x="508" y="36"/>
                    </a:cxn>
                    <a:cxn ang="0">
                      <a:pos x="499" y="76"/>
                    </a:cxn>
                    <a:cxn ang="0">
                      <a:pos x="527" y="96"/>
                    </a:cxn>
                    <a:cxn ang="0">
                      <a:pos x="512" y="114"/>
                    </a:cxn>
                    <a:cxn ang="0">
                      <a:pos x="510" y="98"/>
                    </a:cxn>
                    <a:cxn ang="0">
                      <a:pos x="495" y="97"/>
                    </a:cxn>
                    <a:cxn ang="0">
                      <a:pos x="470" y="112"/>
                    </a:cxn>
                    <a:cxn ang="0">
                      <a:pos x="455" y="131"/>
                    </a:cxn>
                    <a:cxn ang="0">
                      <a:pos x="468" y="153"/>
                    </a:cxn>
                    <a:cxn ang="0">
                      <a:pos x="481" y="172"/>
                    </a:cxn>
                    <a:cxn ang="0">
                      <a:pos x="496" y="155"/>
                    </a:cxn>
                    <a:cxn ang="0">
                      <a:pos x="516" y="155"/>
                    </a:cxn>
                    <a:cxn ang="0">
                      <a:pos x="524" y="190"/>
                    </a:cxn>
                    <a:cxn ang="0">
                      <a:pos x="548" y="216"/>
                    </a:cxn>
                    <a:cxn ang="0">
                      <a:pos x="547" y="244"/>
                    </a:cxn>
                    <a:cxn ang="0">
                      <a:pos x="598" y="272"/>
                    </a:cxn>
                    <a:cxn ang="0">
                      <a:pos x="613" y="273"/>
                    </a:cxn>
                    <a:cxn ang="0">
                      <a:pos x="623" y="292"/>
                    </a:cxn>
                    <a:cxn ang="0">
                      <a:pos x="645" y="376"/>
                    </a:cxn>
                    <a:cxn ang="0">
                      <a:pos x="592" y="412"/>
                    </a:cxn>
                    <a:cxn ang="0">
                      <a:pos x="594" y="361"/>
                    </a:cxn>
                    <a:cxn ang="0">
                      <a:pos x="534" y="350"/>
                    </a:cxn>
                    <a:cxn ang="0">
                      <a:pos x="488" y="411"/>
                    </a:cxn>
                    <a:cxn ang="0">
                      <a:pos x="432" y="427"/>
                    </a:cxn>
                    <a:cxn ang="0">
                      <a:pos x="372" y="438"/>
                    </a:cxn>
                    <a:cxn ang="0">
                      <a:pos x="279" y="405"/>
                    </a:cxn>
                    <a:cxn ang="0">
                      <a:pos x="232" y="413"/>
                    </a:cxn>
                    <a:cxn ang="0">
                      <a:pos x="161" y="437"/>
                    </a:cxn>
                    <a:cxn ang="0">
                      <a:pos x="130" y="470"/>
                    </a:cxn>
                    <a:cxn ang="0">
                      <a:pos x="81" y="435"/>
                    </a:cxn>
                    <a:cxn ang="0">
                      <a:pos x="29" y="411"/>
                    </a:cxn>
                    <a:cxn ang="0">
                      <a:pos x="37" y="353"/>
                    </a:cxn>
                    <a:cxn ang="0">
                      <a:pos x="22" y="284"/>
                    </a:cxn>
                    <a:cxn ang="0">
                      <a:pos x="59" y="226"/>
                    </a:cxn>
                    <a:cxn ang="0">
                      <a:pos x="115" y="220"/>
                    </a:cxn>
                    <a:cxn ang="0">
                      <a:pos x="167" y="185"/>
                    </a:cxn>
                    <a:cxn ang="0">
                      <a:pos x="234" y="146"/>
                    </a:cxn>
                    <a:cxn ang="0">
                      <a:pos x="290" y="106"/>
                    </a:cxn>
                    <a:cxn ang="0">
                      <a:pos x="373" y="71"/>
                    </a:cxn>
                    <a:cxn ang="0">
                      <a:pos x="308" y="93"/>
                    </a:cxn>
                    <a:cxn ang="0">
                      <a:pos x="301" y="107"/>
                    </a:cxn>
                    <a:cxn ang="0">
                      <a:pos x="308" y="117"/>
                    </a:cxn>
                    <a:cxn ang="0">
                      <a:pos x="324" y="94"/>
                    </a:cxn>
                    <a:cxn ang="0">
                      <a:pos x="347" y="89"/>
                    </a:cxn>
                    <a:cxn ang="0">
                      <a:pos x="361" y="94"/>
                    </a:cxn>
                    <a:cxn ang="0">
                      <a:pos x="376" y="98"/>
                    </a:cxn>
                    <a:cxn ang="0">
                      <a:pos x="402" y="76"/>
                    </a:cxn>
                    <a:cxn ang="0">
                      <a:pos x="412" y="105"/>
                    </a:cxn>
                    <a:cxn ang="0">
                      <a:pos x="430" y="117"/>
                    </a:cxn>
                    <a:cxn ang="0">
                      <a:pos x="439" y="85"/>
                    </a:cxn>
                    <a:cxn ang="0">
                      <a:pos x="435" y="67"/>
                    </a:cxn>
                    <a:cxn ang="0">
                      <a:pos x="423" y="52"/>
                    </a:cxn>
                    <a:cxn ang="0">
                      <a:pos x="446" y="48"/>
                    </a:cxn>
                    <a:cxn ang="0">
                      <a:pos x="454" y="34"/>
                    </a:cxn>
                    <a:cxn ang="0">
                      <a:pos x="460" y="43"/>
                    </a:cxn>
                    <a:cxn ang="0">
                      <a:pos x="475" y="61"/>
                    </a:cxn>
                    <a:cxn ang="0">
                      <a:pos x="486" y="70"/>
                    </a:cxn>
                    <a:cxn ang="0">
                      <a:pos x="464" y="34"/>
                    </a:cxn>
                    <a:cxn ang="0">
                      <a:pos x="436" y="34"/>
                    </a:cxn>
                    <a:cxn ang="0">
                      <a:pos x="434" y="26"/>
                    </a:cxn>
                    <a:cxn ang="0">
                      <a:pos x="423" y="33"/>
                    </a:cxn>
                    <a:cxn ang="0">
                      <a:pos x="456" y="4"/>
                    </a:cxn>
                  </a:cxnLst>
                  <a:rect l="0" t="0" r="r" b="b"/>
                  <a:pathLst>
                    <a:path w="649" h="472">
                      <a:moveTo>
                        <a:pt x="461" y="0"/>
                      </a:moveTo>
                      <a:lnTo>
                        <a:pt x="465" y="2"/>
                      </a:lnTo>
                      <a:lnTo>
                        <a:pt x="467" y="5"/>
                      </a:lnTo>
                      <a:lnTo>
                        <a:pt x="467" y="7"/>
                      </a:lnTo>
                      <a:lnTo>
                        <a:pt x="465" y="10"/>
                      </a:lnTo>
                      <a:lnTo>
                        <a:pt x="462" y="12"/>
                      </a:lnTo>
                      <a:lnTo>
                        <a:pt x="461" y="13"/>
                      </a:lnTo>
                      <a:lnTo>
                        <a:pt x="460" y="17"/>
                      </a:lnTo>
                      <a:lnTo>
                        <a:pt x="461" y="20"/>
                      </a:lnTo>
                      <a:lnTo>
                        <a:pt x="461" y="23"/>
                      </a:lnTo>
                      <a:lnTo>
                        <a:pt x="463" y="26"/>
                      </a:lnTo>
                      <a:lnTo>
                        <a:pt x="466" y="28"/>
                      </a:lnTo>
                      <a:lnTo>
                        <a:pt x="470" y="30"/>
                      </a:lnTo>
                      <a:lnTo>
                        <a:pt x="472" y="32"/>
                      </a:lnTo>
                      <a:lnTo>
                        <a:pt x="474" y="32"/>
                      </a:lnTo>
                      <a:lnTo>
                        <a:pt x="479" y="32"/>
                      </a:lnTo>
                      <a:lnTo>
                        <a:pt x="484" y="28"/>
                      </a:lnTo>
                      <a:lnTo>
                        <a:pt x="494" y="28"/>
                      </a:lnTo>
                      <a:lnTo>
                        <a:pt x="499" y="28"/>
                      </a:lnTo>
                      <a:lnTo>
                        <a:pt x="503" y="30"/>
                      </a:lnTo>
                      <a:lnTo>
                        <a:pt x="505" y="32"/>
                      </a:lnTo>
                      <a:lnTo>
                        <a:pt x="508" y="36"/>
                      </a:lnTo>
                      <a:lnTo>
                        <a:pt x="509" y="39"/>
                      </a:lnTo>
                      <a:lnTo>
                        <a:pt x="509" y="42"/>
                      </a:lnTo>
                      <a:lnTo>
                        <a:pt x="507" y="47"/>
                      </a:lnTo>
                      <a:lnTo>
                        <a:pt x="501" y="52"/>
                      </a:lnTo>
                      <a:lnTo>
                        <a:pt x="498" y="56"/>
                      </a:lnTo>
                      <a:lnTo>
                        <a:pt x="496" y="58"/>
                      </a:lnTo>
                      <a:lnTo>
                        <a:pt x="494" y="61"/>
                      </a:lnTo>
                      <a:lnTo>
                        <a:pt x="494" y="64"/>
                      </a:lnTo>
                      <a:lnTo>
                        <a:pt x="494" y="70"/>
                      </a:lnTo>
                      <a:lnTo>
                        <a:pt x="496" y="74"/>
                      </a:lnTo>
                      <a:lnTo>
                        <a:pt x="499" y="76"/>
                      </a:lnTo>
                      <a:lnTo>
                        <a:pt x="503" y="78"/>
                      </a:lnTo>
                      <a:lnTo>
                        <a:pt x="508" y="78"/>
                      </a:lnTo>
                      <a:lnTo>
                        <a:pt x="513" y="83"/>
                      </a:lnTo>
                      <a:lnTo>
                        <a:pt x="515" y="86"/>
                      </a:lnTo>
                      <a:lnTo>
                        <a:pt x="516" y="89"/>
                      </a:lnTo>
                      <a:lnTo>
                        <a:pt x="520" y="92"/>
                      </a:lnTo>
                      <a:lnTo>
                        <a:pt x="520" y="93"/>
                      </a:lnTo>
                      <a:lnTo>
                        <a:pt x="523" y="94"/>
                      </a:lnTo>
                      <a:lnTo>
                        <a:pt x="524" y="94"/>
                      </a:lnTo>
                      <a:lnTo>
                        <a:pt x="527" y="94"/>
                      </a:lnTo>
                      <a:lnTo>
                        <a:pt x="527" y="96"/>
                      </a:lnTo>
                      <a:lnTo>
                        <a:pt x="526" y="99"/>
                      </a:lnTo>
                      <a:lnTo>
                        <a:pt x="521" y="103"/>
                      </a:lnTo>
                      <a:lnTo>
                        <a:pt x="520" y="107"/>
                      </a:lnTo>
                      <a:lnTo>
                        <a:pt x="521" y="111"/>
                      </a:lnTo>
                      <a:lnTo>
                        <a:pt x="521" y="118"/>
                      </a:lnTo>
                      <a:lnTo>
                        <a:pt x="519" y="122"/>
                      </a:lnTo>
                      <a:lnTo>
                        <a:pt x="516" y="122"/>
                      </a:lnTo>
                      <a:lnTo>
                        <a:pt x="514" y="121"/>
                      </a:lnTo>
                      <a:lnTo>
                        <a:pt x="512" y="118"/>
                      </a:lnTo>
                      <a:lnTo>
                        <a:pt x="514" y="115"/>
                      </a:lnTo>
                      <a:lnTo>
                        <a:pt x="512" y="114"/>
                      </a:lnTo>
                      <a:lnTo>
                        <a:pt x="513" y="111"/>
                      </a:lnTo>
                      <a:lnTo>
                        <a:pt x="509" y="113"/>
                      </a:lnTo>
                      <a:lnTo>
                        <a:pt x="506" y="114"/>
                      </a:lnTo>
                      <a:lnTo>
                        <a:pt x="505" y="110"/>
                      </a:lnTo>
                      <a:lnTo>
                        <a:pt x="510" y="106"/>
                      </a:lnTo>
                      <a:lnTo>
                        <a:pt x="513" y="105"/>
                      </a:lnTo>
                      <a:lnTo>
                        <a:pt x="514" y="103"/>
                      </a:lnTo>
                      <a:lnTo>
                        <a:pt x="514" y="101"/>
                      </a:lnTo>
                      <a:lnTo>
                        <a:pt x="510" y="100"/>
                      </a:lnTo>
                      <a:lnTo>
                        <a:pt x="508" y="100"/>
                      </a:lnTo>
                      <a:lnTo>
                        <a:pt x="510" y="98"/>
                      </a:lnTo>
                      <a:lnTo>
                        <a:pt x="511" y="97"/>
                      </a:lnTo>
                      <a:lnTo>
                        <a:pt x="512" y="97"/>
                      </a:lnTo>
                      <a:lnTo>
                        <a:pt x="512" y="96"/>
                      </a:lnTo>
                      <a:lnTo>
                        <a:pt x="512" y="93"/>
                      </a:lnTo>
                      <a:lnTo>
                        <a:pt x="509" y="92"/>
                      </a:lnTo>
                      <a:lnTo>
                        <a:pt x="506" y="94"/>
                      </a:lnTo>
                      <a:lnTo>
                        <a:pt x="505" y="95"/>
                      </a:lnTo>
                      <a:lnTo>
                        <a:pt x="503" y="98"/>
                      </a:lnTo>
                      <a:lnTo>
                        <a:pt x="500" y="99"/>
                      </a:lnTo>
                      <a:lnTo>
                        <a:pt x="496" y="98"/>
                      </a:lnTo>
                      <a:lnTo>
                        <a:pt x="495" y="97"/>
                      </a:lnTo>
                      <a:lnTo>
                        <a:pt x="492" y="96"/>
                      </a:lnTo>
                      <a:lnTo>
                        <a:pt x="489" y="98"/>
                      </a:lnTo>
                      <a:lnTo>
                        <a:pt x="487" y="100"/>
                      </a:lnTo>
                      <a:lnTo>
                        <a:pt x="485" y="100"/>
                      </a:lnTo>
                      <a:lnTo>
                        <a:pt x="482" y="100"/>
                      </a:lnTo>
                      <a:lnTo>
                        <a:pt x="479" y="100"/>
                      </a:lnTo>
                      <a:lnTo>
                        <a:pt x="476" y="101"/>
                      </a:lnTo>
                      <a:lnTo>
                        <a:pt x="476" y="103"/>
                      </a:lnTo>
                      <a:lnTo>
                        <a:pt x="475" y="107"/>
                      </a:lnTo>
                      <a:lnTo>
                        <a:pt x="474" y="109"/>
                      </a:lnTo>
                      <a:lnTo>
                        <a:pt x="470" y="112"/>
                      </a:lnTo>
                      <a:lnTo>
                        <a:pt x="466" y="115"/>
                      </a:lnTo>
                      <a:lnTo>
                        <a:pt x="463" y="116"/>
                      </a:lnTo>
                      <a:lnTo>
                        <a:pt x="461" y="118"/>
                      </a:lnTo>
                      <a:lnTo>
                        <a:pt x="460" y="120"/>
                      </a:lnTo>
                      <a:lnTo>
                        <a:pt x="461" y="123"/>
                      </a:lnTo>
                      <a:lnTo>
                        <a:pt x="465" y="123"/>
                      </a:lnTo>
                      <a:lnTo>
                        <a:pt x="467" y="126"/>
                      </a:lnTo>
                      <a:lnTo>
                        <a:pt x="467" y="128"/>
                      </a:lnTo>
                      <a:lnTo>
                        <a:pt x="466" y="131"/>
                      </a:lnTo>
                      <a:lnTo>
                        <a:pt x="462" y="134"/>
                      </a:lnTo>
                      <a:lnTo>
                        <a:pt x="455" y="131"/>
                      </a:lnTo>
                      <a:lnTo>
                        <a:pt x="452" y="129"/>
                      </a:lnTo>
                      <a:lnTo>
                        <a:pt x="449" y="129"/>
                      </a:lnTo>
                      <a:lnTo>
                        <a:pt x="447" y="131"/>
                      </a:lnTo>
                      <a:lnTo>
                        <a:pt x="447" y="135"/>
                      </a:lnTo>
                      <a:lnTo>
                        <a:pt x="452" y="142"/>
                      </a:lnTo>
                      <a:lnTo>
                        <a:pt x="454" y="146"/>
                      </a:lnTo>
                      <a:lnTo>
                        <a:pt x="455" y="150"/>
                      </a:lnTo>
                      <a:lnTo>
                        <a:pt x="456" y="152"/>
                      </a:lnTo>
                      <a:lnTo>
                        <a:pt x="459" y="152"/>
                      </a:lnTo>
                      <a:lnTo>
                        <a:pt x="463" y="153"/>
                      </a:lnTo>
                      <a:lnTo>
                        <a:pt x="468" y="153"/>
                      </a:lnTo>
                      <a:lnTo>
                        <a:pt x="468" y="153"/>
                      </a:lnTo>
                      <a:lnTo>
                        <a:pt x="466" y="155"/>
                      </a:lnTo>
                      <a:lnTo>
                        <a:pt x="466" y="157"/>
                      </a:lnTo>
                      <a:lnTo>
                        <a:pt x="468" y="160"/>
                      </a:lnTo>
                      <a:lnTo>
                        <a:pt x="471" y="162"/>
                      </a:lnTo>
                      <a:lnTo>
                        <a:pt x="472" y="163"/>
                      </a:lnTo>
                      <a:lnTo>
                        <a:pt x="472" y="168"/>
                      </a:lnTo>
                      <a:lnTo>
                        <a:pt x="473" y="171"/>
                      </a:lnTo>
                      <a:lnTo>
                        <a:pt x="474" y="173"/>
                      </a:lnTo>
                      <a:lnTo>
                        <a:pt x="477" y="173"/>
                      </a:lnTo>
                      <a:lnTo>
                        <a:pt x="481" y="172"/>
                      </a:lnTo>
                      <a:lnTo>
                        <a:pt x="481" y="169"/>
                      </a:lnTo>
                      <a:lnTo>
                        <a:pt x="480" y="167"/>
                      </a:lnTo>
                      <a:lnTo>
                        <a:pt x="478" y="166"/>
                      </a:lnTo>
                      <a:lnTo>
                        <a:pt x="477" y="162"/>
                      </a:lnTo>
                      <a:lnTo>
                        <a:pt x="479" y="160"/>
                      </a:lnTo>
                      <a:lnTo>
                        <a:pt x="481" y="160"/>
                      </a:lnTo>
                      <a:lnTo>
                        <a:pt x="483" y="157"/>
                      </a:lnTo>
                      <a:lnTo>
                        <a:pt x="486" y="157"/>
                      </a:lnTo>
                      <a:lnTo>
                        <a:pt x="490" y="157"/>
                      </a:lnTo>
                      <a:lnTo>
                        <a:pt x="492" y="156"/>
                      </a:lnTo>
                      <a:lnTo>
                        <a:pt x="496" y="155"/>
                      </a:lnTo>
                      <a:lnTo>
                        <a:pt x="498" y="153"/>
                      </a:lnTo>
                      <a:lnTo>
                        <a:pt x="503" y="149"/>
                      </a:lnTo>
                      <a:lnTo>
                        <a:pt x="505" y="147"/>
                      </a:lnTo>
                      <a:lnTo>
                        <a:pt x="508" y="146"/>
                      </a:lnTo>
                      <a:lnTo>
                        <a:pt x="510" y="144"/>
                      </a:lnTo>
                      <a:lnTo>
                        <a:pt x="514" y="142"/>
                      </a:lnTo>
                      <a:lnTo>
                        <a:pt x="515" y="144"/>
                      </a:lnTo>
                      <a:lnTo>
                        <a:pt x="514" y="146"/>
                      </a:lnTo>
                      <a:lnTo>
                        <a:pt x="514" y="149"/>
                      </a:lnTo>
                      <a:lnTo>
                        <a:pt x="514" y="154"/>
                      </a:lnTo>
                      <a:lnTo>
                        <a:pt x="516" y="155"/>
                      </a:lnTo>
                      <a:lnTo>
                        <a:pt x="518" y="155"/>
                      </a:lnTo>
                      <a:lnTo>
                        <a:pt x="521" y="157"/>
                      </a:lnTo>
                      <a:lnTo>
                        <a:pt x="524" y="161"/>
                      </a:lnTo>
                      <a:lnTo>
                        <a:pt x="525" y="163"/>
                      </a:lnTo>
                      <a:lnTo>
                        <a:pt x="525" y="171"/>
                      </a:lnTo>
                      <a:lnTo>
                        <a:pt x="525" y="177"/>
                      </a:lnTo>
                      <a:lnTo>
                        <a:pt x="524" y="181"/>
                      </a:lnTo>
                      <a:lnTo>
                        <a:pt x="522" y="183"/>
                      </a:lnTo>
                      <a:lnTo>
                        <a:pt x="521" y="185"/>
                      </a:lnTo>
                      <a:lnTo>
                        <a:pt x="521" y="188"/>
                      </a:lnTo>
                      <a:lnTo>
                        <a:pt x="524" y="190"/>
                      </a:lnTo>
                      <a:lnTo>
                        <a:pt x="527" y="193"/>
                      </a:lnTo>
                      <a:lnTo>
                        <a:pt x="528" y="195"/>
                      </a:lnTo>
                      <a:lnTo>
                        <a:pt x="531" y="196"/>
                      </a:lnTo>
                      <a:lnTo>
                        <a:pt x="533" y="197"/>
                      </a:lnTo>
                      <a:lnTo>
                        <a:pt x="536" y="199"/>
                      </a:lnTo>
                      <a:lnTo>
                        <a:pt x="538" y="201"/>
                      </a:lnTo>
                      <a:lnTo>
                        <a:pt x="538" y="208"/>
                      </a:lnTo>
                      <a:lnTo>
                        <a:pt x="542" y="208"/>
                      </a:lnTo>
                      <a:lnTo>
                        <a:pt x="545" y="209"/>
                      </a:lnTo>
                      <a:lnTo>
                        <a:pt x="547" y="212"/>
                      </a:lnTo>
                      <a:lnTo>
                        <a:pt x="548" y="216"/>
                      </a:lnTo>
                      <a:lnTo>
                        <a:pt x="547" y="219"/>
                      </a:lnTo>
                      <a:lnTo>
                        <a:pt x="546" y="220"/>
                      </a:lnTo>
                      <a:lnTo>
                        <a:pt x="543" y="221"/>
                      </a:lnTo>
                      <a:lnTo>
                        <a:pt x="541" y="227"/>
                      </a:lnTo>
                      <a:lnTo>
                        <a:pt x="538" y="230"/>
                      </a:lnTo>
                      <a:lnTo>
                        <a:pt x="533" y="233"/>
                      </a:lnTo>
                      <a:lnTo>
                        <a:pt x="531" y="236"/>
                      </a:lnTo>
                      <a:lnTo>
                        <a:pt x="534" y="238"/>
                      </a:lnTo>
                      <a:lnTo>
                        <a:pt x="541" y="242"/>
                      </a:lnTo>
                      <a:lnTo>
                        <a:pt x="544" y="243"/>
                      </a:lnTo>
                      <a:lnTo>
                        <a:pt x="547" y="244"/>
                      </a:lnTo>
                      <a:lnTo>
                        <a:pt x="550" y="246"/>
                      </a:lnTo>
                      <a:lnTo>
                        <a:pt x="551" y="250"/>
                      </a:lnTo>
                      <a:lnTo>
                        <a:pt x="556" y="254"/>
                      </a:lnTo>
                      <a:lnTo>
                        <a:pt x="562" y="257"/>
                      </a:lnTo>
                      <a:lnTo>
                        <a:pt x="573" y="261"/>
                      </a:lnTo>
                      <a:lnTo>
                        <a:pt x="579" y="264"/>
                      </a:lnTo>
                      <a:lnTo>
                        <a:pt x="583" y="267"/>
                      </a:lnTo>
                      <a:lnTo>
                        <a:pt x="587" y="269"/>
                      </a:lnTo>
                      <a:lnTo>
                        <a:pt x="596" y="273"/>
                      </a:lnTo>
                      <a:lnTo>
                        <a:pt x="597" y="272"/>
                      </a:lnTo>
                      <a:lnTo>
                        <a:pt x="598" y="272"/>
                      </a:lnTo>
                      <a:lnTo>
                        <a:pt x="599" y="271"/>
                      </a:lnTo>
                      <a:lnTo>
                        <a:pt x="600" y="271"/>
                      </a:lnTo>
                      <a:lnTo>
                        <a:pt x="600" y="270"/>
                      </a:lnTo>
                      <a:lnTo>
                        <a:pt x="603" y="267"/>
                      </a:lnTo>
                      <a:lnTo>
                        <a:pt x="603" y="266"/>
                      </a:lnTo>
                      <a:lnTo>
                        <a:pt x="605" y="264"/>
                      </a:lnTo>
                      <a:lnTo>
                        <a:pt x="609" y="262"/>
                      </a:lnTo>
                      <a:lnTo>
                        <a:pt x="614" y="262"/>
                      </a:lnTo>
                      <a:lnTo>
                        <a:pt x="616" y="264"/>
                      </a:lnTo>
                      <a:lnTo>
                        <a:pt x="615" y="269"/>
                      </a:lnTo>
                      <a:lnTo>
                        <a:pt x="613" y="273"/>
                      </a:lnTo>
                      <a:lnTo>
                        <a:pt x="610" y="276"/>
                      </a:lnTo>
                      <a:lnTo>
                        <a:pt x="610" y="280"/>
                      </a:lnTo>
                      <a:lnTo>
                        <a:pt x="611" y="280"/>
                      </a:lnTo>
                      <a:lnTo>
                        <a:pt x="612" y="281"/>
                      </a:lnTo>
                      <a:lnTo>
                        <a:pt x="613" y="281"/>
                      </a:lnTo>
                      <a:lnTo>
                        <a:pt x="614" y="281"/>
                      </a:lnTo>
                      <a:lnTo>
                        <a:pt x="614" y="281"/>
                      </a:lnTo>
                      <a:lnTo>
                        <a:pt x="618" y="282"/>
                      </a:lnTo>
                      <a:lnTo>
                        <a:pt x="620" y="282"/>
                      </a:lnTo>
                      <a:lnTo>
                        <a:pt x="623" y="284"/>
                      </a:lnTo>
                      <a:lnTo>
                        <a:pt x="623" y="292"/>
                      </a:lnTo>
                      <a:lnTo>
                        <a:pt x="625" y="296"/>
                      </a:lnTo>
                      <a:lnTo>
                        <a:pt x="627" y="300"/>
                      </a:lnTo>
                      <a:lnTo>
                        <a:pt x="629" y="306"/>
                      </a:lnTo>
                      <a:lnTo>
                        <a:pt x="633" y="314"/>
                      </a:lnTo>
                      <a:lnTo>
                        <a:pt x="635" y="318"/>
                      </a:lnTo>
                      <a:lnTo>
                        <a:pt x="637" y="322"/>
                      </a:lnTo>
                      <a:lnTo>
                        <a:pt x="638" y="328"/>
                      </a:lnTo>
                      <a:lnTo>
                        <a:pt x="638" y="360"/>
                      </a:lnTo>
                      <a:lnTo>
                        <a:pt x="639" y="364"/>
                      </a:lnTo>
                      <a:lnTo>
                        <a:pt x="641" y="369"/>
                      </a:lnTo>
                      <a:lnTo>
                        <a:pt x="645" y="376"/>
                      </a:lnTo>
                      <a:lnTo>
                        <a:pt x="647" y="378"/>
                      </a:lnTo>
                      <a:lnTo>
                        <a:pt x="649" y="382"/>
                      </a:lnTo>
                      <a:lnTo>
                        <a:pt x="649" y="387"/>
                      </a:lnTo>
                      <a:lnTo>
                        <a:pt x="644" y="394"/>
                      </a:lnTo>
                      <a:lnTo>
                        <a:pt x="636" y="402"/>
                      </a:lnTo>
                      <a:lnTo>
                        <a:pt x="623" y="410"/>
                      </a:lnTo>
                      <a:lnTo>
                        <a:pt x="619" y="417"/>
                      </a:lnTo>
                      <a:lnTo>
                        <a:pt x="612" y="421"/>
                      </a:lnTo>
                      <a:lnTo>
                        <a:pt x="604" y="420"/>
                      </a:lnTo>
                      <a:lnTo>
                        <a:pt x="596" y="418"/>
                      </a:lnTo>
                      <a:lnTo>
                        <a:pt x="592" y="412"/>
                      </a:lnTo>
                      <a:lnTo>
                        <a:pt x="592" y="405"/>
                      </a:lnTo>
                      <a:lnTo>
                        <a:pt x="595" y="399"/>
                      </a:lnTo>
                      <a:lnTo>
                        <a:pt x="601" y="395"/>
                      </a:lnTo>
                      <a:lnTo>
                        <a:pt x="605" y="388"/>
                      </a:lnTo>
                      <a:lnTo>
                        <a:pt x="609" y="384"/>
                      </a:lnTo>
                      <a:lnTo>
                        <a:pt x="614" y="377"/>
                      </a:lnTo>
                      <a:lnTo>
                        <a:pt x="614" y="363"/>
                      </a:lnTo>
                      <a:lnTo>
                        <a:pt x="610" y="360"/>
                      </a:lnTo>
                      <a:lnTo>
                        <a:pt x="603" y="360"/>
                      </a:lnTo>
                      <a:lnTo>
                        <a:pt x="598" y="364"/>
                      </a:lnTo>
                      <a:lnTo>
                        <a:pt x="594" y="361"/>
                      </a:lnTo>
                      <a:lnTo>
                        <a:pt x="587" y="362"/>
                      </a:lnTo>
                      <a:lnTo>
                        <a:pt x="586" y="368"/>
                      </a:lnTo>
                      <a:lnTo>
                        <a:pt x="576" y="371"/>
                      </a:lnTo>
                      <a:lnTo>
                        <a:pt x="569" y="371"/>
                      </a:lnTo>
                      <a:lnTo>
                        <a:pt x="558" y="367"/>
                      </a:lnTo>
                      <a:lnTo>
                        <a:pt x="556" y="360"/>
                      </a:lnTo>
                      <a:lnTo>
                        <a:pt x="552" y="352"/>
                      </a:lnTo>
                      <a:lnTo>
                        <a:pt x="549" y="345"/>
                      </a:lnTo>
                      <a:lnTo>
                        <a:pt x="539" y="342"/>
                      </a:lnTo>
                      <a:lnTo>
                        <a:pt x="534" y="344"/>
                      </a:lnTo>
                      <a:lnTo>
                        <a:pt x="534" y="350"/>
                      </a:lnTo>
                      <a:lnTo>
                        <a:pt x="538" y="356"/>
                      </a:lnTo>
                      <a:lnTo>
                        <a:pt x="533" y="360"/>
                      </a:lnTo>
                      <a:lnTo>
                        <a:pt x="524" y="360"/>
                      </a:lnTo>
                      <a:lnTo>
                        <a:pt x="518" y="362"/>
                      </a:lnTo>
                      <a:lnTo>
                        <a:pt x="512" y="368"/>
                      </a:lnTo>
                      <a:lnTo>
                        <a:pt x="507" y="376"/>
                      </a:lnTo>
                      <a:lnTo>
                        <a:pt x="503" y="380"/>
                      </a:lnTo>
                      <a:lnTo>
                        <a:pt x="500" y="387"/>
                      </a:lnTo>
                      <a:lnTo>
                        <a:pt x="500" y="394"/>
                      </a:lnTo>
                      <a:lnTo>
                        <a:pt x="496" y="403"/>
                      </a:lnTo>
                      <a:lnTo>
                        <a:pt x="488" y="411"/>
                      </a:lnTo>
                      <a:lnTo>
                        <a:pt x="484" y="412"/>
                      </a:lnTo>
                      <a:lnTo>
                        <a:pt x="478" y="415"/>
                      </a:lnTo>
                      <a:lnTo>
                        <a:pt x="473" y="424"/>
                      </a:lnTo>
                      <a:lnTo>
                        <a:pt x="467" y="421"/>
                      </a:lnTo>
                      <a:lnTo>
                        <a:pt x="463" y="417"/>
                      </a:lnTo>
                      <a:lnTo>
                        <a:pt x="456" y="415"/>
                      </a:lnTo>
                      <a:lnTo>
                        <a:pt x="451" y="420"/>
                      </a:lnTo>
                      <a:lnTo>
                        <a:pt x="450" y="427"/>
                      </a:lnTo>
                      <a:lnTo>
                        <a:pt x="445" y="428"/>
                      </a:lnTo>
                      <a:lnTo>
                        <a:pt x="439" y="427"/>
                      </a:lnTo>
                      <a:lnTo>
                        <a:pt x="432" y="427"/>
                      </a:lnTo>
                      <a:lnTo>
                        <a:pt x="427" y="435"/>
                      </a:lnTo>
                      <a:lnTo>
                        <a:pt x="422" y="435"/>
                      </a:lnTo>
                      <a:lnTo>
                        <a:pt x="417" y="439"/>
                      </a:lnTo>
                      <a:lnTo>
                        <a:pt x="411" y="444"/>
                      </a:lnTo>
                      <a:lnTo>
                        <a:pt x="405" y="443"/>
                      </a:lnTo>
                      <a:lnTo>
                        <a:pt x="403" y="438"/>
                      </a:lnTo>
                      <a:lnTo>
                        <a:pt x="399" y="434"/>
                      </a:lnTo>
                      <a:lnTo>
                        <a:pt x="391" y="434"/>
                      </a:lnTo>
                      <a:lnTo>
                        <a:pt x="387" y="439"/>
                      </a:lnTo>
                      <a:lnTo>
                        <a:pt x="379" y="441"/>
                      </a:lnTo>
                      <a:lnTo>
                        <a:pt x="372" y="438"/>
                      </a:lnTo>
                      <a:lnTo>
                        <a:pt x="363" y="432"/>
                      </a:lnTo>
                      <a:lnTo>
                        <a:pt x="355" y="430"/>
                      </a:lnTo>
                      <a:lnTo>
                        <a:pt x="348" y="426"/>
                      </a:lnTo>
                      <a:lnTo>
                        <a:pt x="342" y="421"/>
                      </a:lnTo>
                      <a:lnTo>
                        <a:pt x="334" y="420"/>
                      </a:lnTo>
                      <a:lnTo>
                        <a:pt x="319" y="420"/>
                      </a:lnTo>
                      <a:lnTo>
                        <a:pt x="314" y="415"/>
                      </a:lnTo>
                      <a:lnTo>
                        <a:pt x="307" y="409"/>
                      </a:lnTo>
                      <a:lnTo>
                        <a:pt x="297" y="406"/>
                      </a:lnTo>
                      <a:lnTo>
                        <a:pt x="291" y="406"/>
                      </a:lnTo>
                      <a:lnTo>
                        <a:pt x="279" y="405"/>
                      </a:lnTo>
                      <a:lnTo>
                        <a:pt x="277" y="404"/>
                      </a:lnTo>
                      <a:lnTo>
                        <a:pt x="270" y="399"/>
                      </a:lnTo>
                      <a:lnTo>
                        <a:pt x="269" y="396"/>
                      </a:lnTo>
                      <a:lnTo>
                        <a:pt x="262" y="395"/>
                      </a:lnTo>
                      <a:lnTo>
                        <a:pt x="256" y="396"/>
                      </a:lnTo>
                      <a:lnTo>
                        <a:pt x="250" y="397"/>
                      </a:lnTo>
                      <a:lnTo>
                        <a:pt x="246" y="395"/>
                      </a:lnTo>
                      <a:lnTo>
                        <a:pt x="241" y="398"/>
                      </a:lnTo>
                      <a:lnTo>
                        <a:pt x="238" y="405"/>
                      </a:lnTo>
                      <a:lnTo>
                        <a:pt x="241" y="412"/>
                      </a:lnTo>
                      <a:lnTo>
                        <a:pt x="232" y="413"/>
                      </a:lnTo>
                      <a:lnTo>
                        <a:pt x="230" y="417"/>
                      </a:lnTo>
                      <a:lnTo>
                        <a:pt x="223" y="417"/>
                      </a:lnTo>
                      <a:lnTo>
                        <a:pt x="218" y="419"/>
                      </a:lnTo>
                      <a:lnTo>
                        <a:pt x="210" y="424"/>
                      </a:lnTo>
                      <a:lnTo>
                        <a:pt x="198" y="428"/>
                      </a:lnTo>
                      <a:lnTo>
                        <a:pt x="190" y="430"/>
                      </a:lnTo>
                      <a:lnTo>
                        <a:pt x="185" y="434"/>
                      </a:lnTo>
                      <a:lnTo>
                        <a:pt x="181" y="436"/>
                      </a:lnTo>
                      <a:lnTo>
                        <a:pt x="174" y="433"/>
                      </a:lnTo>
                      <a:lnTo>
                        <a:pt x="169" y="433"/>
                      </a:lnTo>
                      <a:lnTo>
                        <a:pt x="161" y="437"/>
                      </a:lnTo>
                      <a:lnTo>
                        <a:pt x="153" y="443"/>
                      </a:lnTo>
                      <a:lnTo>
                        <a:pt x="155" y="448"/>
                      </a:lnTo>
                      <a:lnTo>
                        <a:pt x="159" y="452"/>
                      </a:lnTo>
                      <a:lnTo>
                        <a:pt x="159" y="458"/>
                      </a:lnTo>
                      <a:lnTo>
                        <a:pt x="157" y="460"/>
                      </a:lnTo>
                      <a:lnTo>
                        <a:pt x="152" y="464"/>
                      </a:lnTo>
                      <a:lnTo>
                        <a:pt x="148" y="466"/>
                      </a:lnTo>
                      <a:lnTo>
                        <a:pt x="144" y="466"/>
                      </a:lnTo>
                      <a:lnTo>
                        <a:pt x="139" y="462"/>
                      </a:lnTo>
                      <a:lnTo>
                        <a:pt x="132" y="463"/>
                      </a:lnTo>
                      <a:lnTo>
                        <a:pt x="130" y="470"/>
                      </a:lnTo>
                      <a:lnTo>
                        <a:pt x="124" y="470"/>
                      </a:lnTo>
                      <a:lnTo>
                        <a:pt x="117" y="470"/>
                      </a:lnTo>
                      <a:lnTo>
                        <a:pt x="112" y="472"/>
                      </a:lnTo>
                      <a:lnTo>
                        <a:pt x="108" y="462"/>
                      </a:lnTo>
                      <a:lnTo>
                        <a:pt x="104" y="456"/>
                      </a:lnTo>
                      <a:lnTo>
                        <a:pt x="97" y="456"/>
                      </a:lnTo>
                      <a:lnTo>
                        <a:pt x="94" y="452"/>
                      </a:lnTo>
                      <a:lnTo>
                        <a:pt x="94" y="446"/>
                      </a:lnTo>
                      <a:lnTo>
                        <a:pt x="91" y="439"/>
                      </a:lnTo>
                      <a:lnTo>
                        <a:pt x="87" y="435"/>
                      </a:lnTo>
                      <a:lnTo>
                        <a:pt x="81" y="435"/>
                      </a:lnTo>
                      <a:lnTo>
                        <a:pt x="77" y="434"/>
                      </a:lnTo>
                      <a:lnTo>
                        <a:pt x="70" y="432"/>
                      </a:lnTo>
                      <a:lnTo>
                        <a:pt x="68" y="425"/>
                      </a:lnTo>
                      <a:lnTo>
                        <a:pt x="68" y="417"/>
                      </a:lnTo>
                      <a:lnTo>
                        <a:pt x="67" y="408"/>
                      </a:lnTo>
                      <a:lnTo>
                        <a:pt x="64" y="406"/>
                      </a:lnTo>
                      <a:lnTo>
                        <a:pt x="61" y="404"/>
                      </a:lnTo>
                      <a:lnTo>
                        <a:pt x="57" y="401"/>
                      </a:lnTo>
                      <a:lnTo>
                        <a:pt x="50" y="405"/>
                      </a:lnTo>
                      <a:lnTo>
                        <a:pt x="40" y="410"/>
                      </a:lnTo>
                      <a:lnTo>
                        <a:pt x="29" y="411"/>
                      </a:lnTo>
                      <a:lnTo>
                        <a:pt x="22" y="409"/>
                      </a:lnTo>
                      <a:lnTo>
                        <a:pt x="20" y="404"/>
                      </a:lnTo>
                      <a:lnTo>
                        <a:pt x="13" y="397"/>
                      </a:lnTo>
                      <a:lnTo>
                        <a:pt x="8" y="396"/>
                      </a:lnTo>
                      <a:lnTo>
                        <a:pt x="1" y="394"/>
                      </a:lnTo>
                      <a:lnTo>
                        <a:pt x="0" y="383"/>
                      </a:lnTo>
                      <a:lnTo>
                        <a:pt x="5" y="375"/>
                      </a:lnTo>
                      <a:lnTo>
                        <a:pt x="16" y="364"/>
                      </a:lnTo>
                      <a:lnTo>
                        <a:pt x="22" y="363"/>
                      </a:lnTo>
                      <a:lnTo>
                        <a:pt x="35" y="360"/>
                      </a:lnTo>
                      <a:lnTo>
                        <a:pt x="37" y="353"/>
                      </a:lnTo>
                      <a:lnTo>
                        <a:pt x="35" y="342"/>
                      </a:lnTo>
                      <a:lnTo>
                        <a:pt x="42" y="336"/>
                      </a:lnTo>
                      <a:lnTo>
                        <a:pt x="50" y="335"/>
                      </a:lnTo>
                      <a:lnTo>
                        <a:pt x="50" y="331"/>
                      </a:lnTo>
                      <a:lnTo>
                        <a:pt x="52" y="321"/>
                      </a:lnTo>
                      <a:lnTo>
                        <a:pt x="55" y="312"/>
                      </a:lnTo>
                      <a:lnTo>
                        <a:pt x="50" y="309"/>
                      </a:lnTo>
                      <a:lnTo>
                        <a:pt x="39" y="305"/>
                      </a:lnTo>
                      <a:lnTo>
                        <a:pt x="30" y="300"/>
                      </a:lnTo>
                      <a:lnTo>
                        <a:pt x="26" y="290"/>
                      </a:lnTo>
                      <a:lnTo>
                        <a:pt x="22" y="284"/>
                      </a:lnTo>
                      <a:lnTo>
                        <a:pt x="23" y="278"/>
                      </a:lnTo>
                      <a:lnTo>
                        <a:pt x="24" y="272"/>
                      </a:lnTo>
                      <a:lnTo>
                        <a:pt x="19" y="269"/>
                      </a:lnTo>
                      <a:lnTo>
                        <a:pt x="24" y="254"/>
                      </a:lnTo>
                      <a:lnTo>
                        <a:pt x="28" y="248"/>
                      </a:lnTo>
                      <a:lnTo>
                        <a:pt x="37" y="241"/>
                      </a:lnTo>
                      <a:lnTo>
                        <a:pt x="41" y="234"/>
                      </a:lnTo>
                      <a:lnTo>
                        <a:pt x="45" y="232"/>
                      </a:lnTo>
                      <a:lnTo>
                        <a:pt x="52" y="232"/>
                      </a:lnTo>
                      <a:lnTo>
                        <a:pt x="59" y="230"/>
                      </a:lnTo>
                      <a:lnTo>
                        <a:pt x="59" y="226"/>
                      </a:lnTo>
                      <a:lnTo>
                        <a:pt x="51" y="221"/>
                      </a:lnTo>
                      <a:lnTo>
                        <a:pt x="50" y="217"/>
                      </a:lnTo>
                      <a:lnTo>
                        <a:pt x="54" y="211"/>
                      </a:lnTo>
                      <a:lnTo>
                        <a:pt x="66" y="205"/>
                      </a:lnTo>
                      <a:lnTo>
                        <a:pt x="78" y="199"/>
                      </a:lnTo>
                      <a:lnTo>
                        <a:pt x="89" y="201"/>
                      </a:lnTo>
                      <a:lnTo>
                        <a:pt x="97" y="204"/>
                      </a:lnTo>
                      <a:lnTo>
                        <a:pt x="103" y="210"/>
                      </a:lnTo>
                      <a:lnTo>
                        <a:pt x="105" y="221"/>
                      </a:lnTo>
                      <a:lnTo>
                        <a:pt x="109" y="223"/>
                      </a:lnTo>
                      <a:lnTo>
                        <a:pt x="115" y="220"/>
                      </a:lnTo>
                      <a:lnTo>
                        <a:pt x="117" y="216"/>
                      </a:lnTo>
                      <a:lnTo>
                        <a:pt x="123" y="217"/>
                      </a:lnTo>
                      <a:lnTo>
                        <a:pt x="129" y="221"/>
                      </a:lnTo>
                      <a:lnTo>
                        <a:pt x="137" y="227"/>
                      </a:lnTo>
                      <a:lnTo>
                        <a:pt x="142" y="227"/>
                      </a:lnTo>
                      <a:lnTo>
                        <a:pt x="143" y="221"/>
                      </a:lnTo>
                      <a:lnTo>
                        <a:pt x="145" y="212"/>
                      </a:lnTo>
                      <a:lnTo>
                        <a:pt x="150" y="204"/>
                      </a:lnTo>
                      <a:lnTo>
                        <a:pt x="152" y="195"/>
                      </a:lnTo>
                      <a:lnTo>
                        <a:pt x="161" y="195"/>
                      </a:lnTo>
                      <a:lnTo>
                        <a:pt x="167" y="185"/>
                      </a:lnTo>
                      <a:lnTo>
                        <a:pt x="168" y="177"/>
                      </a:lnTo>
                      <a:lnTo>
                        <a:pt x="163" y="175"/>
                      </a:lnTo>
                      <a:lnTo>
                        <a:pt x="170" y="167"/>
                      </a:lnTo>
                      <a:lnTo>
                        <a:pt x="176" y="160"/>
                      </a:lnTo>
                      <a:lnTo>
                        <a:pt x="185" y="160"/>
                      </a:lnTo>
                      <a:lnTo>
                        <a:pt x="196" y="162"/>
                      </a:lnTo>
                      <a:lnTo>
                        <a:pt x="206" y="162"/>
                      </a:lnTo>
                      <a:lnTo>
                        <a:pt x="217" y="160"/>
                      </a:lnTo>
                      <a:lnTo>
                        <a:pt x="223" y="153"/>
                      </a:lnTo>
                      <a:lnTo>
                        <a:pt x="230" y="148"/>
                      </a:lnTo>
                      <a:lnTo>
                        <a:pt x="234" y="146"/>
                      </a:lnTo>
                      <a:lnTo>
                        <a:pt x="238" y="145"/>
                      </a:lnTo>
                      <a:lnTo>
                        <a:pt x="241" y="146"/>
                      </a:lnTo>
                      <a:lnTo>
                        <a:pt x="244" y="147"/>
                      </a:lnTo>
                      <a:lnTo>
                        <a:pt x="245" y="148"/>
                      </a:lnTo>
                      <a:lnTo>
                        <a:pt x="252" y="146"/>
                      </a:lnTo>
                      <a:lnTo>
                        <a:pt x="257" y="137"/>
                      </a:lnTo>
                      <a:lnTo>
                        <a:pt x="263" y="132"/>
                      </a:lnTo>
                      <a:lnTo>
                        <a:pt x="272" y="125"/>
                      </a:lnTo>
                      <a:lnTo>
                        <a:pt x="279" y="121"/>
                      </a:lnTo>
                      <a:lnTo>
                        <a:pt x="285" y="116"/>
                      </a:lnTo>
                      <a:lnTo>
                        <a:pt x="290" y="106"/>
                      </a:lnTo>
                      <a:lnTo>
                        <a:pt x="296" y="99"/>
                      </a:lnTo>
                      <a:lnTo>
                        <a:pt x="299" y="88"/>
                      </a:lnTo>
                      <a:lnTo>
                        <a:pt x="303" y="80"/>
                      </a:lnTo>
                      <a:lnTo>
                        <a:pt x="311" y="71"/>
                      </a:lnTo>
                      <a:lnTo>
                        <a:pt x="317" y="66"/>
                      </a:lnTo>
                      <a:lnTo>
                        <a:pt x="328" y="66"/>
                      </a:lnTo>
                      <a:lnTo>
                        <a:pt x="339" y="70"/>
                      </a:lnTo>
                      <a:lnTo>
                        <a:pt x="347" y="72"/>
                      </a:lnTo>
                      <a:lnTo>
                        <a:pt x="355" y="70"/>
                      </a:lnTo>
                      <a:lnTo>
                        <a:pt x="361" y="70"/>
                      </a:lnTo>
                      <a:lnTo>
                        <a:pt x="373" y="71"/>
                      </a:lnTo>
                      <a:lnTo>
                        <a:pt x="386" y="74"/>
                      </a:lnTo>
                      <a:lnTo>
                        <a:pt x="381" y="78"/>
                      </a:lnTo>
                      <a:lnTo>
                        <a:pt x="350" y="78"/>
                      </a:lnTo>
                      <a:lnTo>
                        <a:pt x="343" y="76"/>
                      </a:lnTo>
                      <a:lnTo>
                        <a:pt x="340" y="81"/>
                      </a:lnTo>
                      <a:lnTo>
                        <a:pt x="334" y="81"/>
                      </a:lnTo>
                      <a:lnTo>
                        <a:pt x="328" y="85"/>
                      </a:lnTo>
                      <a:lnTo>
                        <a:pt x="321" y="89"/>
                      </a:lnTo>
                      <a:lnTo>
                        <a:pt x="319" y="91"/>
                      </a:lnTo>
                      <a:lnTo>
                        <a:pt x="312" y="89"/>
                      </a:lnTo>
                      <a:lnTo>
                        <a:pt x="308" y="93"/>
                      </a:lnTo>
                      <a:lnTo>
                        <a:pt x="305" y="95"/>
                      </a:lnTo>
                      <a:lnTo>
                        <a:pt x="305" y="97"/>
                      </a:lnTo>
                      <a:lnTo>
                        <a:pt x="305" y="98"/>
                      </a:lnTo>
                      <a:lnTo>
                        <a:pt x="304" y="102"/>
                      </a:lnTo>
                      <a:lnTo>
                        <a:pt x="304" y="103"/>
                      </a:lnTo>
                      <a:lnTo>
                        <a:pt x="303" y="103"/>
                      </a:lnTo>
                      <a:lnTo>
                        <a:pt x="303" y="104"/>
                      </a:lnTo>
                      <a:lnTo>
                        <a:pt x="303" y="105"/>
                      </a:lnTo>
                      <a:lnTo>
                        <a:pt x="303" y="105"/>
                      </a:lnTo>
                      <a:lnTo>
                        <a:pt x="302" y="106"/>
                      </a:lnTo>
                      <a:lnTo>
                        <a:pt x="301" y="107"/>
                      </a:lnTo>
                      <a:lnTo>
                        <a:pt x="297" y="108"/>
                      </a:lnTo>
                      <a:lnTo>
                        <a:pt x="297" y="109"/>
                      </a:lnTo>
                      <a:lnTo>
                        <a:pt x="296" y="110"/>
                      </a:lnTo>
                      <a:lnTo>
                        <a:pt x="295" y="111"/>
                      </a:lnTo>
                      <a:lnTo>
                        <a:pt x="295" y="111"/>
                      </a:lnTo>
                      <a:lnTo>
                        <a:pt x="294" y="112"/>
                      </a:lnTo>
                      <a:lnTo>
                        <a:pt x="294" y="114"/>
                      </a:lnTo>
                      <a:lnTo>
                        <a:pt x="294" y="116"/>
                      </a:lnTo>
                      <a:lnTo>
                        <a:pt x="297" y="120"/>
                      </a:lnTo>
                      <a:lnTo>
                        <a:pt x="301" y="120"/>
                      </a:lnTo>
                      <a:lnTo>
                        <a:pt x="308" y="117"/>
                      </a:lnTo>
                      <a:lnTo>
                        <a:pt x="311" y="114"/>
                      </a:lnTo>
                      <a:lnTo>
                        <a:pt x="312" y="111"/>
                      </a:lnTo>
                      <a:lnTo>
                        <a:pt x="312" y="107"/>
                      </a:lnTo>
                      <a:lnTo>
                        <a:pt x="313" y="106"/>
                      </a:lnTo>
                      <a:lnTo>
                        <a:pt x="319" y="105"/>
                      </a:lnTo>
                      <a:lnTo>
                        <a:pt x="320" y="103"/>
                      </a:lnTo>
                      <a:lnTo>
                        <a:pt x="321" y="100"/>
                      </a:lnTo>
                      <a:lnTo>
                        <a:pt x="321" y="97"/>
                      </a:lnTo>
                      <a:lnTo>
                        <a:pt x="321" y="96"/>
                      </a:lnTo>
                      <a:lnTo>
                        <a:pt x="321" y="95"/>
                      </a:lnTo>
                      <a:lnTo>
                        <a:pt x="324" y="94"/>
                      </a:lnTo>
                      <a:lnTo>
                        <a:pt x="327" y="93"/>
                      </a:lnTo>
                      <a:lnTo>
                        <a:pt x="332" y="97"/>
                      </a:lnTo>
                      <a:lnTo>
                        <a:pt x="334" y="96"/>
                      </a:lnTo>
                      <a:lnTo>
                        <a:pt x="337" y="93"/>
                      </a:lnTo>
                      <a:lnTo>
                        <a:pt x="339" y="92"/>
                      </a:lnTo>
                      <a:lnTo>
                        <a:pt x="342" y="89"/>
                      </a:lnTo>
                      <a:lnTo>
                        <a:pt x="342" y="86"/>
                      </a:lnTo>
                      <a:lnTo>
                        <a:pt x="345" y="85"/>
                      </a:lnTo>
                      <a:lnTo>
                        <a:pt x="349" y="84"/>
                      </a:lnTo>
                      <a:lnTo>
                        <a:pt x="351" y="85"/>
                      </a:lnTo>
                      <a:lnTo>
                        <a:pt x="347" y="89"/>
                      </a:lnTo>
                      <a:lnTo>
                        <a:pt x="347" y="92"/>
                      </a:lnTo>
                      <a:lnTo>
                        <a:pt x="348" y="92"/>
                      </a:lnTo>
                      <a:lnTo>
                        <a:pt x="351" y="92"/>
                      </a:lnTo>
                      <a:lnTo>
                        <a:pt x="354" y="89"/>
                      </a:lnTo>
                      <a:lnTo>
                        <a:pt x="356" y="92"/>
                      </a:lnTo>
                      <a:lnTo>
                        <a:pt x="358" y="94"/>
                      </a:lnTo>
                      <a:lnTo>
                        <a:pt x="359" y="94"/>
                      </a:lnTo>
                      <a:lnTo>
                        <a:pt x="359" y="94"/>
                      </a:lnTo>
                      <a:lnTo>
                        <a:pt x="360" y="94"/>
                      </a:lnTo>
                      <a:lnTo>
                        <a:pt x="361" y="94"/>
                      </a:lnTo>
                      <a:lnTo>
                        <a:pt x="361" y="94"/>
                      </a:lnTo>
                      <a:lnTo>
                        <a:pt x="361" y="89"/>
                      </a:lnTo>
                      <a:lnTo>
                        <a:pt x="363" y="89"/>
                      </a:lnTo>
                      <a:lnTo>
                        <a:pt x="364" y="90"/>
                      </a:lnTo>
                      <a:lnTo>
                        <a:pt x="364" y="91"/>
                      </a:lnTo>
                      <a:lnTo>
                        <a:pt x="365" y="92"/>
                      </a:lnTo>
                      <a:lnTo>
                        <a:pt x="365" y="92"/>
                      </a:lnTo>
                      <a:lnTo>
                        <a:pt x="366" y="96"/>
                      </a:lnTo>
                      <a:lnTo>
                        <a:pt x="367" y="100"/>
                      </a:lnTo>
                      <a:lnTo>
                        <a:pt x="369" y="101"/>
                      </a:lnTo>
                      <a:lnTo>
                        <a:pt x="374" y="100"/>
                      </a:lnTo>
                      <a:lnTo>
                        <a:pt x="376" y="98"/>
                      </a:lnTo>
                      <a:lnTo>
                        <a:pt x="379" y="95"/>
                      </a:lnTo>
                      <a:lnTo>
                        <a:pt x="381" y="93"/>
                      </a:lnTo>
                      <a:lnTo>
                        <a:pt x="381" y="89"/>
                      </a:lnTo>
                      <a:lnTo>
                        <a:pt x="382" y="87"/>
                      </a:lnTo>
                      <a:lnTo>
                        <a:pt x="385" y="84"/>
                      </a:lnTo>
                      <a:lnTo>
                        <a:pt x="390" y="82"/>
                      </a:lnTo>
                      <a:lnTo>
                        <a:pt x="394" y="79"/>
                      </a:lnTo>
                      <a:lnTo>
                        <a:pt x="396" y="78"/>
                      </a:lnTo>
                      <a:lnTo>
                        <a:pt x="398" y="76"/>
                      </a:lnTo>
                      <a:lnTo>
                        <a:pt x="400" y="74"/>
                      </a:lnTo>
                      <a:lnTo>
                        <a:pt x="402" y="76"/>
                      </a:lnTo>
                      <a:lnTo>
                        <a:pt x="405" y="77"/>
                      </a:lnTo>
                      <a:lnTo>
                        <a:pt x="404" y="79"/>
                      </a:lnTo>
                      <a:lnTo>
                        <a:pt x="403" y="83"/>
                      </a:lnTo>
                      <a:lnTo>
                        <a:pt x="403" y="85"/>
                      </a:lnTo>
                      <a:lnTo>
                        <a:pt x="404" y="87"/>
                      </a:lnTo>
                      <a:lnTo>
                        <a:pt x="407" y="89"/>
                      </a:lnTo>
                      <a:lnTo>
                        <a:pt x="410" y="90"/>
                      </a:lnTo>
                      <a:lnTo>
                        <a:pt x="412" y="92"/>
                      </a:lnTo>
                      <a:lnTo>
                        <a:pt x="412" y="98"/>
                      </a:lnTo>
                      <a:lnTo>
                        <a:pt x="412" y="102"/>
                      </a:lnTo>
                      <a:lnTo>
                        <a:pt x="412" y="105"/>
                      </a:lnTo>
                      <a:lnTo>
                        <a:pt x="413" y="108"/>
                      </a:lnTo>
                      <a:lnTo>
                        <a:pt x="413" y="112"/>
                      </a:lnTo>
                      <a:lnTo>
                        <a:pt x="416" y="114"/>
                      </a:lnTo>
                      <a:lnTo>
                        <a:pt x="419" y="116"/>
                      </a:lnTo>
                      <a:lnTo>
                        <a:pt x="423" y="120"/>
                      </a:lnTo>
                      <a:lnTo>
                        <a:pt x="426" y="122"/>
                      </a:lnTo>
                      <a:lnTo>
                        <a:pt x="427" y="125"/>
                      </a:lnTo>
                      <a:lnTo>
                        <a:pt x="433" y="126"/>
                      </a:lnTo>
                      <a:lnTo>
                        <a:pt x="434" y="123"/>
                      </a:lnTo>
                      <a:lnTo>
                        <a:pt x="432" y="119"/>
                      </a:lnTo>
                      <a:lnTo>
                        <a:pt x="430" y="117"/>
                      </a:lnTo>
                      <a:lnTo>
                        <a:pt x="425" y="116"/>
                      </a:lnTo>
                      <a:lnTo>
                        <a:pt x="422" y="114"/>
                      </a:lnTo>
                      <a:lnTo>
                        <a:pt x="422" y="108"/>
                      </a:lnTo>
                      <a:lnTo>
                        <a:pt x="421" y="105"/>
                      </a:lnTo>
                      <a:lnTo>
                        <a:pt x="421" y="100"/>
                      </a:lnTo>
                      <a:lnTo>
                        <a:pt x="423" y="96"/>
                      </a:lnTo>
                      <a:lnTo>
                        <a:pt x="425" y="93"/>
                      </a:lnTo>
                      <a:lnTo>
                        <a:pt x="431" y="90"/>
                      </a:lnTo>
                      <a:lnTo>
                        <a:pt x="442" y="90"/>
                      </a:lnTo>
                      <a:lnTo>
                        <a:pt x="442" y="87"/>
                      </a:lnTo>
                      <a:lnTo>
                        <a:pt x="439" y="85"/>
                      </a:lnTo>
                      <a:lnTo>
                        <a:pt x="435" y="81"/>
                      </a:lnTo>
                      <a:lnTo>
                        <a:pt x="434" y="78"/>
                      </a:lnTo>
                      <a:lnTo>
                        <a:pt x="432" y="76"/>
                      </a:lnTo>
                      <a:lnTo>
                        <a:pt x="430" y="76"/>
                      </a:lnTo>
                      <a:lnTo>
                        <a:pt x="427" y="75"/>
                      </a:lnTo>
                      <a:lnTo>
                        <a:pt x="425" y="76"/>
                      </a:lnTo>
                      <a:lnTo>
                        <a:pt x="422" y="76"/>
                      </a:lnTo>
                      <a:lnTo>
                        <a:pt x="425" y="72"/>
                      </a:lnTo>
                      <a:lnTo>
                        <a:pt x="427" y="70"/>
                      </a:lnTo>
                      <a:lnTo>
                        <a:pt x="430" y="67"/>
                      </a:lnTo>
                      <a:lnTo>
                        <a:pt x="435" y="67"/>
                      </a:lnTo>
                      <a:lnTo>
                        <a:pt x="436" y="66"/>
                      </a:lnTo>
                      <a:lnTo>
                        <a:pt x="438" y="64"/>
                      </a:lnTo>
                      <a:lnTo>
                        <a:pt x="439" y="62"/>
                      </a:lnTo>
                      <a:lnTo>
                        <a:pt x="437" y="60"/>
                      </a:lnTo>
                      <a:lnTo>
                        <a:pt x="436" y="57"/>
                      </a:lnTo>
                      <a:lnTo>
                        <a:pt x="436" y="54"/>
                      </a:lnTo>
                      <a:lnTo>
                        <a:pt x="435" y="52"/>
                      </a:lnTo>
                      <a:lnTo>
                        <a:pt x="431" y="52"/>
                      </a:lnTo>
                      <a:lnTo>
                        <a:pt x="429" y="53"/>
                      </a:lnTo>
                      <a:lnTo>
                        <a:pt x="426" y="53"/>
                      </a:lnTo>
                      <a:lnTo>
                        <a:pt x="423" y="52"/>
                      </a:lnTo>
                      <a:lnTo>
                        <a:pt x="423" y="50"/>
                      </a:lnTo>
                      <a:lnTo>
                        <a:pt x="421" y="48"/>
                      </a:lnTo>
                      <a:lnTo>
                        <a:pt x="421" y="45"/>
                      </a:lnTo>
                      <a:lnTo>
                        <a:pt x="422" y="43"/>
                      </a:lnTo>
                      <a:lnTo>
                        <a:pt x="424" y="42"/>
                      </a:lnTo>
                      <a:lnTo>
                        <a:pt x="427" y="41"/>
                      </a:lnTo>
                      <a:lnTo>
                        <a:pt x="432" y="41"/>
                      </a:lnTo>
                      <a:lnTo>
                        <a:pt x="439" y="41"/>
                      </a:lnTo>
                      <a:lnTo>
                        <a:pt x="441" y="42"/>
                      </a:lnTo>
                      <a:lnTo>
                        <a:pt x="444" y="44"/>
                      </a:lnTo>
                      <a:lnTo>
                        <a:pt x="446" y="48"/>
                      </a:lnTo>
                      <a:lnTo>
                        <a:pt x="447" y="50"/>
                      </a:lnTo>
                      <a:lnTo>
                        <a:pt x="450" y="47"/>
                      </a:lnTo>
                      <a:lnTo>
                        <a:pt x="450" y="45"/>
                      </a:lnTo>
                      <a:lnTo>
                        <a:pt x="449" y="43"/>
                      </a:lnTo>
                      <a:lnTo>
                        <a:pt x="448" y="43"/>
                      </a:lnTo>
                      <a:lnTo>
                        <a:pt x="448" y="42"/>
                      </a:lnTo>
                      <a:lnTo>
                        <a:pt x="449" y="41"/>
                      </a:lnTo>
                      <a:lnTo>
                        <a:pt x="449" y="40"/>
                      </a:lnTo>
                      <a:lnTo>
                        <a:pt x="451" y="38"/>
                      </a:lnTo>
                      <a:lnTo>
                        <a:pt x="452" y="35"/>
                      </a:lnTo>
                      <a:lnTo>
                        <a:pt x="454" y="34"/>
                      </a:lnTo>
                      <a:lnTo>
                        <a:pt x="457" y="34"/>
                      </a:lnTo>
                      <a:lnTo>
                        <a:pt x="457" y="37"/>
                      </a:lnTo>
                      <a:lnTo>
                        <a:pt x="455" y="39"/>
                      </a:lnTo>
                      <a:lnTo>
                        <a:pt x="454" y="41"/>
                      </a:lnTo>
                      <a:lnTo>
                        <a:pt x="454" y="43"/>
                      </a:lnTo>
                      <a:lnTo>
                        <a:pt x="456" y="46"/>
                      </a:lnTo>
                      <a:lnTo>
                        <a:pt x="458" y="48"/>
                      </a:lnTo>
                      <a:lnTo>
                        <a:pt x="460" y="48"/>
                      </a:lnTo>
                      <a:lnTo>
                        <a:pt x="462" y="47"/>
                      </a:lnTo>
                      <a:lnTo>
                        <a:pt x="461" y="44"/>
                      </a:lnTo>
                      <a:lnTo>
                        <a:pt x="460" y="43"/>
                      </a:lnTo>
                      <a:lnTo>
                        <a:pt x="460" y="41"/>
                      </a:lnTo>
                      <a:lnTo>
                        <a:pt x="461" y="39"/>
                      </a:lnTo>
                      <a:lnTo>
                        <a:pt x="463" y="39"/>
                      </a:lnTo>
                      <a:lnTo>
                        <a:pt x="465" y="43"/>
                      </a:lnTo>
                      <a:lnTo>
                        <a:pt x="466" y="46"/>
                      </a:lnTo>
                      <a:lnTo>
                        <a:pt x="466" y="50"/>
                      </a:lnTo>
                      <a:lnTo>
                        <a:pt x="468" y="52"/>
                      </a:lnTo>
                      <a:lnTo>
                        <a:pt x="470" y="59"/>
                      </a:lnTo>
                      <a:lnTo>
                        <a:pt x="472" y="61"/>
                      </a:lnTo>
                      <a:lnTo>
                        <a:pt x="474" y="61"/>
                      </a:lnTo>
                      <a:lnTo>
                        <a:pt x="475" y="61"/>
                      </a:lnTo>
                      <a:lnTo>
                        <a:pt x="476" y="61"/>
                      </a:lnTo>
                      <a:lnTo>
                        <a:pt x="476" y="66"/>
                      </a:lnTo>
                      <a:lnTo>
                        <a:pt x="480" y="68"/>
                      </a:lnTo>
                      <a:lnTo>
                        <a:pt x="481" y="70"/>
                      </a:lnTo>
                      <a:lnTo>
                        <a:pt x="478" y="74"/>
                      </a:lnTo>
                      <a:lnTo>
                        <a:pt x="478" y="76"/>
                      </a:lnTo>
                      <a:lnTo>
                        <a:pt x="481" y="79"/>
                      </a:lnTo>
                      <a:lnTo>
                        <a:pt x="484" y="80"/>
                      </a:lnTo>
                      <a:lnTo>
                        <a:pt x="488" y="76"/>
                      </a:lnTo>
                      <a:lnTo>
                        <a:pt x="489" y="72"/>
                      </a:lnTo>
                      <a:lnTo>
                        <a:pt x="486" y="70"/>
                      </a:lnTo>
                      <a:lnTo>
                        <a:pt x="483" y="67"/>
                      </a:lnTo>
                      <a:lnTo>
                        <a:pt x="481" y="62"/>
                      </a:lnTo>
                      <a:lnTo>
                        <a:pt x="481" y="48"/>
                      </a:lnTo>
                      <a:lnTo>
                        <a:pt x="482" y="44"/>
                      </a:lnTo>
                      <a:lnTo>
                        <a:pt x="482" y="39"/>
                      </a:lnTo>
                      <a:lnTo>
                        <a:pt x="480" y="38"/>
                      </a:lnTo>
                      <a:lnTo>
                        <a:pt x="476" y="38"/>
                      </a:lnTo>
                      <a:lnTo>
                        <a:pt x="473" y="39"/>
                      </a:lnTo>
                      <a:lnTo>
                        <a:pt x="469" y="37"/>
                      </a:lnTo>
                      <a:lnTo>
                        <a:pt x="467" y="35"/>
                      </a:lnTo>
                      <a:lnTo>
                        <a:pt x="464" y="34"/>
                      </a:lnTo>
                      <a:lnTo>
                        <a:pt x="461" y="33"/>
                      </a:lnTo>
                      <a:lnTo>
                        <a:pt x="460" y="30"/>
                      </a:lnTo>
                      <a:lnTo>
                        <a:pt x="459" y="27"/>
                      </a:lnTo>
                      <a:lnTo>
                        <a:pt x="457" y="26"/>
                      </a:lnTo>
                      <a:lnTo>
                        <a:pt x="456" y="26"/>
                      </a:lnTo>
                      <a:lnTo>
                        <a:pt x="453" y="27"/>
                      </a:lnTo>
                      <a:lnTo>
                        <a:pt x="450" y="29"/>
                      </a:lnTo>
                      <a:lnTo>
                        <a:pt x="446" y="33"/>
                      </a:lnTo>
                      <a:lnTo>
                        <a:pt x="443" y="35"/>
                      </a:lnTo>
                      <a:lnTo>
                        <a:pt x="439" y="35"/>
                      </a:lnTo>
                      <a:lnTo>
                        <a:pt x="436" y="34"/>
                      </a:lnTo>
                      <a:lnTo>
                        <a:pt x="436" y="32"/>
                      </a:lnTo>
                      <a:lnTo>
                        <a:pt x="438" y="30"/>
                      </a:lnTo>
                      <a:lnTo>
                        <a:pt x="439" y="26"/>
                      </a:lnTo>
                      <a:lnTo>
                        <a:pt x="441" y="23"/>
                      </a:lnTo>
                      <a:lnTo>
                        <a:pt x="441" y="20"/>
                      </a:lnTo>
                      <a:lnTo>
                        <a:pt x="441" y="18"/>
                      </a:lnTo>
                      <a:lnTo>
                        <a:pt x="439" y="16"/>
                      </a:lnTo>
                      <a:lnTo>
                        <a:pt x="436" y="17"/>
                      </a:lnTo>
                      <a:lnTo>
                        <a:pt x="435" y="19"/>
                      </a:lnTo>
                      <a:lnTo>
                        <a:pt x="434" y="22"/>
                      </a:lnTo>
                      <a:lnTo>
                        <a:pt x="434" y="26"/>
                      </a:lnTo>
                      <a:lnTo>
                        <a:pt x="434" y="29"/>
                      </a:lnTo>
                      <a:lnTo>
                        <a:pt x="434" y="30"/>
                      </a:lnTo>
                      <a:lnTo>
                        <a:pt x="433" y="31"/>
                      </a:lnTo>
                      <a:lnTo>
                        <a:pt x="432" y="32"/>
                      </a:lnTo>
                      <a:lnTo>
                        <a:pt x="431" y="32"/>
                      </a:lnTo>
                      <a:lnTo>
                        <a:pt x="430" y="34"/>
                      </a:lnTo>
                      <a:lnTo>
                        <a:pt x="429" y="34"/>
                      </a:lnTo>
                      <a:lnTo>
                        <a:pt x="424" y="37"/>
                      </a:lnTo>
                      <a:lnTo>
                        <a:pt x="421" y="39"/>
                      </a:lnTo>
                      <a:lnTo>
                        <a:pt x="421" y="36"/>
                      </a:lnTo>
                      <a:lnTo>
                        <a:pt x="423" y="33"/>
                      </a:lnTo>
                      <a:lnTo>
                        <a:pt x="429" y="29"/>
                      </a:lnTo>
                      <a:lnTo>
                        <a:pt x="430" y="26"/>
                      </a:lnTo>
                      <a:lnTo>
                        <a:pt x="430" y="23"/>
                      </a:lnTo>
                      <a:lnTo>
                        <a:pt x="431" y="17"/>
                      </a:lnTo>
                      <a:lnTo>
                        <a:pt x="432" y="14"/>
                      </a:lnTo>
                      <a:lnTo>
                        <a:pt x="434" y="11"/>
                      </a:lnTo>
                      <a:lnTo>
                        <a:pt x="437" y="8"/>
                      </a:lnTo>
                      <a:lnTo>
                        <a:pt x="441" y="6"/>
                      </a:lnTo>
                      <a:lnTo>
                        <a:pt x="445" y="4"/>
                      </a:lnTo>
                      <a:lnTo>
                        <a:pt x="454" y="4"/>
                      </a:lnTo>
                      <a:lnTo>
                        <a:pt x="456" y="4"/>
                      </a:lnTo>
                      <a:lnTo>
                        <a:pt x="459" y="2"/>
                      </a:lnTo>
                      <a:lnTo>
                        <a:pt x="461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30" name="Freeform 26">
                  <a:extLst>
                    <a:ext uri="{FF2B5EF4-FFF2-40B4-BE49-F238E27FC236}">
                      <a16:creationId xmlns:a16="http://schemas.microsoft.com/office/drawing/2014/main" id="{79BC8224-5DB5-4FFC-896B-6C300C549FE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763683" y="2119313"/>
                  <a:ext cx="31750" cy="30163"/>
                </a:xfrm>
                <a:custGeom>
                  <a:avLst/>
                  <a:gdLst/>
                  <a:ahLst/>
                  <a:cxnLst>
                    <a:cxn ang="0">
                      <a:pos x="20" y="0"/>
                    </a:cxn>
                    <a:cxn ang="0">
                      <a:pos x="20" y="5"/>
                    </a:cxn>
                    <a:cxn ang="0">
                      <a:pos x="19" y="9"/>
                    </a:cxn>
                    <a:cxn ang="0">
                      <a:pos x="16" y="11"/>
                    </a:cxn>
                    <a:cxn ang="0">
                      <a:pos x="16" y="15"/>
                    </a:cxn>
                    <a:cxn ang="0">
                      <a:pos x="12" y="19"/>
                    </a:cxn>
                    <a:cxn ang="0">
                      <a:pos x="9" y="18"/>
                    </a:cxn>
                    <a:cxn ang="0">
                      <a:pos x="11" y="14"/>
                    </a:cxn>
                    <a:cxn ang="0">
                      <a:pos x="12" y="11"/>
                    </a:cxn>
                    <a:cxn ang="0">
                      <a:pos x="7" y="12"/>
                    </a:cxn>
                    <a:cxn ang="0">
                      <a:pos x="5" y="15"/>
                    </a:cxn>
                    <a:cxn ang="0">
                      <a:pos x="3" y="18"/>
                    </a:cxn>
                    <a:cxn ang="0">
                      <a:pos x="0" y="16"/>
                    </a:cxn>
                    <a:cxn ang="0">
                      <a:pos x="0" y="14"/>
                    </a:cxn>
                    <a:cxn ang="0">
                      <a:pos x="3" y="8"/>
                    </a:cxn>
                    <a:cxn ang="0">
                      <a:pos x="5" y="6"/>
                    </a:cxn>
                    <a:cxn ang="0">
                      <a:pos x="15" y="1"/>
                    </a:cxn>
                    <a:cxn ang="0">
                      <a:pos x="20" y="0"/>
                    </a:cxn>
                  </a:cxnLst>
                  <a:rect l="0" t="0" r="r" b="b"/>
                  <a:pathLst>
                    <a:path w="20" h="19">
                      <a:moveTo>
                        <a:pt x="20" y="0"/>
                      </a:moveTo>
                      <a:lnTo>
                        <a:pt x="20" y="5"/>
                      </a:lnTo>
                      <a:lnTo>
                        <a:pt x="19" y="9"/>
                      </a:lnTo>
                      <a:lnTo>
                        <a:pt x="16" y="11"/>
                      </a:lnTo>
                      <a:lnTo>
                        <a:pt x="16" y="15"/>
                      </a:lnTo>
                      <a:lnTo>
                        <a:pt x="12" y="19"/>
                      </a:lnTo>
                      <a:lnTo>
                        <a:pt x="9" y="18"/>
                      </a:lnTo>
                      <a:lnTo>
                        <a:pt x="11" y="14"/>
                      </a:lnTo>
                      <a:lnTo>
                        <a:pt x="12" y="11"/>
                      </a:lnTo>
                      <a:lnTo>
                        <a:pt x="7" y="12"/>
                      </a:lnTo>
                      <a:lnTo>
                        <a:pt x="5" y="15"/>
                      </a:lnTo>
                      <a:lnTo>
                        <a:pt x="3" y="18"/>
                      </a:lnTo>
                      <a:lnTo>
                        <a:pt x="0" y="16"/>
                      </a:lnTo>
                      <a:lnTo>
                        <a:pt x="0" y="14"/>
                      </a:lnTo>
                      <a:lnTo>
                        <a:pt x="3" y="8"/>
                      </a:lnTo>
                      <a:lnTo>
                        <a:pt x="5" y="6"/>
                      </a:lnTo>
                      <a:lnTo>
                        <a:pt x="15" y="1"/>
                      </a:lnTo>
                      <a:lnTo>
                        <a:pt x="20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31" name="Freeform 27">
                  <a:extLst>
                    <a:ext uri="{FF2B5EF4-FFF2-40B4-BE49-F238E27FC236}">
                      <a16:creationId xmlns:a16="http://schemas.microsoft.com/office/drawing/2014/main" id="{F8DB49EA-AF7A-4987-8055-24010537BD0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84370" y="1916113"/>
                  <a:ext cx="15875" cy="6350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5" y="0"/>
                    </a:cxn>
                    <a:cxn ang="0">
                      <a:pos x="10" y="1"/>
                    </a:cxn>
                    <a:cxn ang="0">
                      <a:pos x="6" y="4"/>
                    </a:cxn>
                    <a:cxn ang="0">
                      <a:pos x="2" y="3"/>
                    </a:cxn>
                    <a:cxn ang="0">
                      <a:pos x="0" y="3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" h="4">
                      <a:moveTo>
                        <a:pt x="1" y="0"/>
                      </a:moveTo>
                      <a:lnTo>
                        <a:pt x="5" y="0"/>
                      </a:lnTo>
                      <a:lnTo>
                        <a:pt x="10" y="1"/>
                      </a:lnTo>
                      <a:lnTo>
                        <a:pt x="6" y="4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32" name="Freeform 28">
                  <a:extLst>
                    <a:ext uri="{FF2B5EF4-FFF2-40B4-BE49-F238E27FC236}">
                      <a16:creationId xmlns:a16="http://schemas.microsoft.com/office/drawing/2014/main" id="{E0ECF036-17F3-465B-A731-486DAE2E95F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09770" y="1846263"/>
                  <a:ext cx="25400" cy="61913"/>
                </a:xfrm>
                <a:custGeom>
                  <a:avLst/>
                  <a:gdLst/>
                  <a:ahLst/>
                  <a:cxnLst>
                    <a:cxn ang="0">
                      <a:pos x="9" y="0"/>
                    </a:cxn>
                    <a:cxn ang="0">
                      <a:pos x="13" y="1"/>
                    </a:cxn>
                    <a:cxn ang="0">
                      <a:pos x="16" y="6"/>
                    </a:cxn>
                    <a:cxn ang="0">
                      <a:pos x="14" y="9"/>
                    </a:cxn>
                    <a:cxn ang="0">
                      <a:pos x="10" y="12"/>
                    </a:cxn>
                    <a:cxn ang="0">
                      <a:pos x="10" y="15"/>
                    </a:cxn>
                    <a:cxn ang="0">
                      <a:pos x="9" y="17"/>
                    </a:cxn>
                    <a:cxn ang="0">
                      <a:pos x="6" y="19"/>
                    </a:cxn>
                    <a:cxn ang="0">
                      <a:pos x="6" y="24"/>
                    </a:cxn>
                    <a:cxn ang="0">
                      <a:pos x="5" y="30"/>
                    </a:cxn>
                    <a:cxn ang="0">
                      <a:pos x="4" y="34"/>
                    </a:cxn>
                    <a:cxn ang="0">
                      <a:pos x="2" y="39"/>
                    </a:cxn>
                    <a:cxn ang="0">
                      <a:pos x="1" y="36"/>
                    </a:cxn>
                    <a:cxn ang="0">
                      <a:pos x="0" y="30"/>
                    </a:cxn>
                    <a:cxn ang="0">
                      <a:pos x="0" y="17"/>
                    </a:cxn>
                    <a:cxn ang="0">
                      <a:pos x="4" y="9"/>
                    </a:cxn>
                    <a:cxn ang="0">
                      <a:pos x="6" y="2"/>
                    </a:cxn>
                    <a:cxn ang="0">
                      <a:pos x="9" y="0"/>
                    </a:cxn>
                  </a:cxnLst>
                  <a:rect l="0" t="0" r="r" b="b"/>
                  <a:pathLst>
                    <a:path w="16" h="39">
                      <a:moveTo>
                        <a:pt x="9" y="0"/>
                      </a:moveTo>
                      <a:lnTo>
                        <a:pt x="13" y="1"/>
                      </a:lnTo>
                      <a:lnTo>
                        <a:pt x="16" y="6"/>
                      </a:lnTo>
                      <a:lnTo>
                        <a:pt x="14" y="9"/>
                      </a:lnTo>
                      <a:lnTo>
                        <a:pt x="10" y="12"/>
                      </a:lnTo>
                      <a:lnTo>
                        <a:pt x="10" y="15"/>
                      </a:lnTo>
                      <a:lnTo>
                        <a:pt x="9" y="17"/>
                      </a:lnTo>
                      <a:lnTo>
                        <a:pt x="6" y="19"/>
                      </a:lnTo>
                      <a:lnTo>
                        <a:pt x="6" y="24"/>
                      </a:lnTo>
                      <a:lnTo>
                        <a:pt x="5" y="30"/>
                      </a:lnTo>
                      <a:lnTo>
                        <a:pt x="4" y="34"/>
                      </a:lnTo>
                      <a:lnTo>
                        <a:pt x="2" y="39"/>
                      </a:lnTo>
                      <a:lnTo>
                        <a:pt x="1" y="36"/>
                      </a:lnTo>
                      <a:lnTo>
                        <a:pt x="0" y="30"/>
                      </a:lnTo>
                      <a:lnTo>
                        <a:pt x="0" y="17"/>
                      </a:lnTo>
                      <a:lnTo>
                        <a:pt x="4" y="9"/>
                      </a:lnTo>
                      <a:lnTo>
                        <a:pt x="6" y="2"/>
                      </a:lnTo>
                      <a:lnTo>
                        <a:pt x="9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33" name="Freeform 29">
                  <a:extLst>
                    <a:ext uri="{FF2B5EF4-FFF2-40B4-BE49-F238E27FC236}">
                      <a16:creationId xmlns:a16="http://schemas.microsoft.com/office/drawing/2014/main" id="{31217A45-89A5-4CED-8B7B-79B5E640748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25645" y="1898650"/>
                  <a:ext cx="28575" cy="23813"/>
                </a:xfrm>
                <a:custGeom>
                  <a:avLst/>
                  <a:gdLst/>
                  <a:ahLst/>
                  <a:cxnLst>
                    <a:cxn ang="0">
                      <a:pos x="6" y="0"/>
                    </a:cxn>
                    <a:cxn ang="0">
                      <a:pos x="11" y="0"/>
                    </a:cxn>
                    <a:cxn ang="0">
                      <a:pos x="14" y="1"/>
                    </a:cxn>
                    <a:cxn ang="0">
                      <a:pos x="18" y="3"/>
                    </a:cxn>
                    <a:cxn ang="0">
                      <a:pos x="16" y="7"/>
                    </a:cxn>
                    <a:cxn ang="0">
                      <a:pos x="11" y="8"/>
                    </a:cxn>
                    <a:cxn ang="0">
                      <a:pos x="8" y="11"/>
                    </a:cxn>
                    <a:cxn ang="0">
                      <a:pos x="2" y="15"/>
                    </a:cxn>
                    <a:cxn ang="0">
                      <a:pos x="0" y="12"/>
                    </a:cxn>
                    <a:cxn ang="0">
                      <a:pos x="3" y="9"/>
                    </a:cxn>
                    <a:cxn ang="0">
                      <a:pos x="5" y="3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18" h="15">
                      <a:moveTo>
                        <a:pt x="6" y="0"/>
                      </a:moveTo>
                      <a:lnTo>
                        <a:pt x="11" y="0"/>
                      </a:lnTo>
                      <a:lnTo>
                        <a:pt x="14" y="1"/>
                      </a:lnTo>
                      <a:lnTo>
                        <a:pt x="18" y="3"/>
                      </a:lnTo>
                      <a:lnTo>
                        <a:pt x="16" y="7"/>
                      </a:lnTo>
                      <a:lnTo>
                        <a:pt x="11" y="8"/>
                      </a:lnTo>
                      <a:lnTo>
                        <a:pt x="8" y="11"/>
                      </a:lnTo>
                      <a:lnTo>
                        <a:pt x="2" y="15"/>
                      </a:lnTo>
                      <a:lnTo>
                        <a:pt x="0" y="12"/>
                      </a:lnTo>
                      <a:lnTo>
                        <a:pt x="3" y="9"/>
                      </a:lnTo>
                      <a:lnTo>
                        <a:pt x="5" y="3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34" name="Freeform 30">
                  <a:extLst>
                    <a:ext uri="{FF2B5EF4-FFF2-40B4-BE49-F238E27FC236}">
                      <a16:creationId xmlns:a16="http://schemas.microsoft.com/office/drawing/2014/main" id="{6A710BC8-1AD3-497A-9658-D515B5108B6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92333" y="2035175"/>
                  <a:ext cx="128588" cy="153988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19" y="8"/>
                    </a:cxn>
                    <a:cxn ang="0">
                      <a:pos x="24" y="22"/>
                    </a:cxn>
                    <a:cxn ang="0">
                      <a:pos x="35" y="29"/>
                    </a:cxn>
                    <a:cxn ang="0">
                      <a:pos x="50" y="34"/>
                    </a:cxn>
                    <a:cxn ang="0">
                      <a:pos x="59" y="43"/>
                    </a:cxn>
                    <a:cxn ang="0">
                      <a:pos x="66" y="51"/>
                    </a:cxn>
                    <a:cxn ang="0">
                      <a:pos x="77" y="60"/>
                    </a:cxn>
                    <a:cxn ang="0">
                      <a:pos x="77" y="69"/>
                    </a:cxn>
                    <a:cxn ang="0">
                      <a:pos x="71" y="77"/>
                    </a:cxn>
                    <a:cxn ang="0">
                      <a:pos x="75" y="88"/>
                    </a:cxn>
                    <a:cxn ang="0">
                      <a:pos x="71" y="90"/>
                    </a:cxn>
                    <a:cxn ang="0">
                      <a:pos x="61" y="90"/>
                    </a:cxn>
                    <a:cxn ang="0">
                      <a:pos x="50" y="93"/>
                    </a:cxn>
                    <a:cxn ang="0">
                      <a:pos x="42" y="95"/>
                    </a:cxn>
                    <a:cxn ang="0">
                      <a:pos x="42" y="89"/>
                    </a:cxn>
                    <a:cxn ang="0">
                      <a:pos x="37" y="95"/>
                    </a:cxn>
                    <a:cxn ang="0">
                      <a:pos x="29" y="97"/>
                    </a:cxn>
                    <a:cxn ang="0">
                      <a:pos x="25" y="93"/>
                    </a:cxn>
                    <a:cxn ang="0">
                      <a:pos x="27" y="87"/>
                    </a:cxn>
                    <a:cxn ang="0">
                      <a:pos x="35" y="80"/>
                    </a:cxn>
                    <a:cxn ang="0">
                      <a:pos x="38" y="72"/>
                    </a:cxn>
                    <a:cxn ang="0">
                      <a:pos x="34" y="63"/>
                    </a:cxn>
                    <a:cxn ang="0">
                      <a:pos x="36" y="53"/>
                    </a:cxn>
                    <a:cxn ang="0">
                      <a:pos x="43" y="55"/>
                    </a:cxn>
                    <a:cxn ang="0">
                      <a:pos x="41" y="65"/>
                    </a:cxn>
                    <a:cxn ang="0">
                      <a:pos x="46" y="68"/>
                    </a:cxn>
                    <a:cxn ang="0">
                      <a:pos x="53" y="67"/>
                    </a:cxn>
                    <a:cxn ang="0">
                      <a:pos x="57" y="66"/>
                    </a:cxn>
                    <a:cxn ang="0">
                      <a:pos x="55" y="60"/>
                    </a:cxn>
                    <a:cxn ang="0">
                      <a:pos x="55" y="49"/>
                    </a:cxn>
                    <a:cxn ang="0">
                      <a:pos x="48" y="44"/>
                    </a:cxn>
                    <a:cxn ang="0">
                      <a:pos x="39" y="37"/>
                    </a:cxn>
                    <a:cxn ang="0">
                      <a:pos x="32" y="40"/>
                    </a:cxn>
                    <a:cxn ang="0">
                      <a:pos x="31" y="49"/>
                    </a:cxn>
                    <a:cxn ang="0">
                      <a:pos x="22" y="53"/>
                    </a:cxn>
                    <a:cxn ang="0">
                      <a:pos x="26" y="46"/>
                    </a:cxn>
                    <a:cxn ang="0">
                      <a:pos x="19" y="41"/>
                    </a:cxn>
                    <a:cxn ang="0">
                      <a:pos x="13" y="46"/>
                    </a:cxn>
                    <a:cxn ang="0">
                      <a:pos x="11" y="38"/>
                    </a:cxn>
                    <a:cxn ang="0">
                      <a:pos x="12" y="29"/>
                    </a:cxn>
                    <a:cxn ang="0">
                      <a:pos x="17" y="25"/>
                    </a:cxn>
                    <a:cxn ang="0">
                      <a:pos x="14" y="20"/>
                    </a:cxn>
                    <a:cxn ang="0">
                      <a:pos x="11" y="15"/>
                    </a:cxn>
                    <a:cxn ang="0">
                      <a:pos x="3" y="9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81" h="97">
                      <a:moveTo>
                        <a:pt x="4" y="0"/>
                      </a:moveTo>
                      <a:lnTo>
                        <a:pt x="11" y="0"/>
                      </a:lnTo>
                      <a:lnTo>
                        <a:pt x="15" y="3"/>
                      </a:lnTo>
                      <a:lnTo>
                        <a:pt x="19" y="8"/>
                      </a:lnTo>
                      <a:lnTo>
                        <a:pt x="21" y="16"/>
                      </a:lnTo>
                      <a:lnTo>
                        <a:pt x="24" y="22"/>
                      </a:lnTo>
                      <a:lnTo>
                        <a:pt x="28" y="26"/>
                      </a:lnTo>
                      <a:lnTo>
                        <a:pt x="35" y="29"/>
                      </a:lnTo>
                      <a:lnTo>
                        <a:pt x="42" y="34"/>
                      </a:lnTo>
                      <a:lnTo>
                        <a:pt x="50" y="34"/>
                      </a:lnTo>
                      <a:lnTo>
                        <a:pt x="54" y="38"/>
                      </a:lnTo>
                      <a:lnTo>
                        <a:pt x="59" y="43"/>
                      </a:lnTo>
                      <a:lnTo>
                        <a:pt x="62" y="47"/>
                      </a:lnTo>
                      <a:lnTo>
                        <a:pt x="66" y="51"/>
                      </a:lnTo>
                      <a:lnTo>
                        <a:pt x="71" y="55"/>
                      </a:lnTo>
                      <a:lnTo>
                        <a:pt x="77" y="60"/>
                      </a:lnTo>
                      <a:lnTo>
                        <a:pt x="81" y="64"/>
                      </a:lnTo>
                      <a:lnTo>
                        <a:pt x="77" y="69"/>
                      </a:lnTo>
                      <a:lnTo>
                        <a:pt x="73" y="73"/>
                      </a:lnTo>
                      <a:lnTo>
                        <a:pt x="71" y="77"/>
                      </a:lnTo>
                      <a:lnTo>
                        <a:pt x="71" y="82"/>
                      </a:lnTo>
                      <a:lnTo>
                        <a:pt x="75" y="88"/>
                      </a:lnTo>
                      <a:lnTo>
                        <a:pt x="75" y="89"/>
                      </a:lnTo>
                      <a:lnTo>
                        <a:pt x="71" y="90"/>
                      </a:lnTo>
                      <a:lnTo>
                        <a:pt x="66" y="90"/>
                      </a:lnTo>
                      <a:lnTo>
                        <a:pt x="61" y="90"/>
                      </a:lnTo>
                      <a:lnTo>
                        <a:pt x="55" y="92"/>
                      </a:lnTo>
                      <a:lnTo>
                        <a:pt x="50" y="93"/>
                      </a:lnTo>
                      <a:lnTo>
                        <a:pt x="46" y="96"/>
                      </a:lnTo>
                      <a:lnTo>
                        <a:pt x="42" y="95"/>
                      </a:lnTo>
                      <a:lnTo>
                        <a:pt x="44" y="92"/>
                      </a:lnTo>
                      <a:lnTo>
                        <a:pt x="42" y="89"/>
                      </a:lnTo>
                      <a:lnTo>
                        <a:pt x="39" y="90"/>
                      </a:lnTo>
                      <a:lnTo>
                        <a:pt x="37" y="95"/>
                      </a:lnTo>
                      <a:lnTo>
                        <a:pt x="33" y="95"/>
                      </a:lnTo>
                      <a:lnTo>
                        <a:pt x="29" y="97"/>
                      </a:lnTo>
                      <a:lnTo>
                        <a:pt x="27" y="94"/>
                      </a:lnTo>
                      <a:lnTo>
                        <a:pt x="25" y="93"/>
                      </a:lnTo>
                      <a:lnTo>
                        <a:pt x="23" y="90"/>
                      </a:lnTo>
                      <a:lnTo>
                        <a:pt x="27" y="87"/>
                      </a:lnTo>
                      <a:lnTo>
                        <a:pt x="32" y="84"/>
                      </a:lnTo>
                      <a:lnTo>
                        <a:pt x="35" y="80"/>
                      </a:lnTo>
                      <a:lnTo>
                        <a:pt x="37" y="77"/>
                      </a:lnTo>
                      <a:lnTo>
                        <a:pt x="38" y="72"/>
                      </a:lnTo>
                      <a:lnTo>
                        <a:pt x="36" y="68"/>
                      </a:lnTo>
                      <a:lnTo>
                        <a:pt x="34" y="63"/>
                      </a:lnTo>
                      <a:lnTo>
                        <a:pt x="34" y="58"/>
                      </a:lnTo>
                      <a:lnTo>
                        <a:pt x="36" y="53"/>
                      </a:lnTo>
                      <a:lnTo>
                        <a:pt x="40" y="53"/>
                      </a:lnTo>
                      <a:lnTo>
                        <a:pt x="43" y="55"/>
                      </a:lnTo>
                      <a:lnTo>
                        <a:pt x="44" y="61"/>
                      </a:lnTo>
                      <a:lnTo>
                        <a:pt x="41" y="65"/>
                      </a:lnTo>
                      <a:lnTo>
                        <a:pt x="42" y="69"/>
                      </a:lnTo>
                      <a:lnTo>
                        <a:pt x="46" y="68"/>
                      </a:lnTo>
                      <a:lnTo>
                        <a:pt x="50" y="64"/>
                      </a:lnTo>
                      <a:lnTo>
                        <a:pt x="53" y="67"/>
                      </a:lnTo>
                      <a:lnTo>
                        <a:pt x="55" y="69"/>
                      </a:lnTo>
                      <a:lnTo>
                        <a:pt x="57" y="66"/>
                      </a:lnTo>
                      <a:lnTo>
                        <a:pt x="54" y="63"/>
                      </a:lnTo>
                      <a:lnTo>
                        <a:pt x="55" y="60"/>
                      </a:lnTo>
                      <a:lnTo>
                        <a:pt x="57" y="51"/>
                      </a:lnTo>
                      <a:lnTo>
                        <a:pt x="55" y="49"/>
                      </a:lnTo>
                      <a:lnTo>
                        <a:pt x="50" y="48"/>
                      </a:lnTo>
                      <a:lnTo>
                        <a:pt x="48" y="44"/>
                      </a:lnTo>
                      <a:lnTo>
                        <a:pt x="44" y="39"/>
                      </a:lnTo>
                      <a:lnTo>
                        <a:pt x="39" y="37"/>
                      </a:lnTo>
                      <a:lnTo>
                        <a:pt x="34" y="37"/>
                      </a:lnTo>
                      <a:lnTo>
                        <a:pt x="32" y="40"/>
                      </a:lnTo>
                      <a:lnTo>
                        <a:pt x="32" y="45"/>
                      </a:lnTo>
                      <a:lnTo>
                        <a:pt x="31" y="49"/>
                      </a:lnTo>
                      <a:lnTo>
                        <a:pt x="26" y="52"/>
                      </a:lnTo>
                      <a:lnTo>
                        <a:pt x="22" y="53"/>
                      </a:lnTo>
                      <a:lnTo>
                        <a:pt x="22" y="48"/>
                      </a:lnTo>
                      <a:lnTo>
                        <a:pt x="26" y="46"/>
                      </a:lnTo>
                      <a:lnTo>
                        <a:pt x="26" y="41"/>
                      </a:lnTo>
                      <a:lnTo>
                        <a:pt x="19" y="41"/>
                      </a:lnTo>
                      <a:lnTo>
                        <a:pt x="16" y="44"/>
                      </a:lnTo>
                      <a:lnTo>
                        <a:pt x="13" y="46"/>
                      </a:lnTo>
                      <a:lnTo>
                        <a:pt x="10" y="44"/>
                      </a:lnTo>
                      <a:lnTo>
                        <a:pt x="11" y="38"/>
                      </a:lnTo>
                      <a:lnTo>
                        <a:pt x="12" y="33"/>
                      </a:lnTo>
                      <a:lnTo>
                        <a:pt x="12" y="29"/>
                      </a:lnTo>
                      <a:lnTo>
                        <a:pt x="14" y="27"/>
                      </a:lnTo>
                      <a:lnTo>
                        <a:pt x="17" y="25"/>
                      </a:lnTo>
                      <a:lnTo>
                        <a:pt x="17" y="23"/>
                      </a:lnTo>
                      <a:lnTo>
                        <a:pt x="14" y="20"/>
                      </a:lnTo>
                      <a:lnTo>
                        <a:pt x="12" y="18"/>
                      </a:lnTo>
                      <a:lnTo>
                        <a:pt x="11" y="15"/>
                      </a:lnTo>
                      <a:lnTo>
                        <a:pt x="8" y="11"/>
                      </a:lnTo>
                      <a:lnTo>
                        <a:pt x="3" y="9"/>
                      </a:lnTo>
                      <a:lnTo>
                        <a:pt x="0" y="3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grpFill/>
                <a:ln w="3175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</p:grpSp>
          <p:sp>
            <p:nvSpPr>
              <p:cNvPr id="21" name="Hessen">
                <a:extLst>
                  <a:ext uri="{FF2B5EF4-FFF2-40B4-BE49-F238E27FC236}">
                    <a16:creationId xmlns:a16="http://schemas.microsoft.com/office/drawing/2014/main" id="{C4C6F054-1D11-48AF-8BB2-349FF658422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5458" y="3216275"/>
                <a:ext cx="731838" cy="1031875"/>
              </a:xfrm>
              <a:custGeom>
                <a:avLst/>
                <a:gdLst/>
                <a:ahLst/>
                <a:cxnLst>
                  <a:cxn ang="0">
                    <a:pos x="342" y="13"/>
                  </a:cxn>
                  <a:cxn ang="0">
                    <a:pos x="346" y="45"/>
                  </a:cxn>
                  <a:cxn ang="0">
                    <a:pos x="346" y="72"/>
                  </a:cxn>
                  <a:cxn ang="0">
                    <a:pos x="361" y="96"/>
                  </a:cxn>
                  <a:cxn ang="0">
                    <a:pos x="374" y="77"/>
                  </a:cxn>
                  <a:cxn ang="0">
                    <a:pos x="405" y="67"/>
                  </a:cxn>
                  <a:cxn ang="0">
                    <a:pos x="424" y="108"/>
                  </a:cxn>
                  <a:cxn ang="0">
                    <a:pos x="450" y="125"/>
                  </a:cxn>
                  <a:cxn ang="0">
                    <a:pos x="457" y="159"/>
                  </a:cxn>
                  <a:cxn ang="0">
                    <a:pos x="451" y="162"/>
                  </a:cxn>
                  <a:cxn ang="0">
                    <a:pos x="428" y="195"/>
                  </a:cxn>
                  <a:cxn ang="0">
                    <a:pos x="422" y="216"/>
                  </a:cxn>
                  <a:cxn ang="0">
                    <a:pos x="414" y="241"/>
                  </a:cxn>
                  <a:cxn ang="0">
                    <a:pos x="403" y="274"/>
                  </a:cxn>
                  <a:cxn ang="0">
                    <a:pos x="404" y="291"/>
                  </a:cxn>
                  <a:cxn ang="0">
                    <a:pos x="422" y="296"/>
                  </a:cxn>
                  <a:cxn ang="0">
                    <a:pos x="424" y="326"/>
                  </a:cxn>
                  <a:cxn ang="0">
                    <a:pos x="398" y="357"/>
                  </a:cxn>
                  <a:cxn ang="0">
                    <a:pos x="369" y="357"/>
                  </a:cxn>
                  <a:cxn ang="0">
                    <a:pos x="358" y="386"/>
                  </a:cxn>
                  <a:cxn ang="0">
                    <a:pos x="338" y="410"/>
                  </a:cxn>
                  <a:cxn ang="0">
                    <a:pos x="322" y="424"/>
                  </a:cxn>
                  <a:cxn ang="0">
                    <a:pos x="297" y="442"/>
                  </a:cxn>
                  <a:cxn ang="0">
                    <a:pos x="274" y="434"/>
                  </a:cxn>
                  <a:cxn ang="0">
                    <a:pos x="262" y="441"/>
                  </a:cxn>
                  <a:cxn ang="0">
                    <a:pos x="248" y="437"/>
                  </a:cxn>
                  <a:cxn ang="0">
                    <a:pos x="241" y="436"/>
                  </a:cxn>
                  <a:cxn ang="0">
                    <a:pos x="233" y="445"/>
                  </a:cxn>
                  <a:cxn ang="0">
                    <a:pos x="228" y="467"/>
                  </a:cxn>
                  <a:cxn ang="0">
                    <a:pos x="229" y="487"/>
                  </a:cxn>
                  <a:cxn ang="0">
                    <a:pos x="231" y="510"/>
                  </a:cxn>
                  <a:cxn ang="0">
                    <a:pos x="242" y="533"/>
                  </a:cxn>
                  <a:cxn ang="0">
                    <a:pos x="246" y="557"/>
                  </a:cxn>
                  <a:cxn ang="0">
                    <a:pos x="234" y="580"/>
                  </a:cxn>
                  <a:cxn ang="0">
                    <a:pos x="246" y="595"/>
                  </a:cxn>
                  <a:cxn ang="0">
                    <a:pos x="242" y="618"/>
                  </a:cxn>
                  <a:cxn ang="0">
                    <a:pos x="213" y="634"/>
                  </a:cxn>
                  <a:cxn ang="0">
                    <a:pos x="190" y="647"/>
                  </a:cxn>
                  <a:cxn ang="0">
                    <a:pos x="197" y="630"/>
                  </a:cxn>
                  <a:cxn ang="0">
                    <a:pos x="200" y="614"/>
                  </a:cxn>
                  <a:cxn ang="0">
                    <a:pos x="180" y="614"/>
                  </a:cxn>
                  <a:cxn ang="0">
                    <a:pos x="173" y="601"/>
                  </a:cxn>
                  <a:cxn ang="0">
                    <a:pos x="157" y="587"/>
                  </a:cxn>
                  <a:cxn ang="0">
                    <a:pos x="137" y="598"/>
                  </a:cxn>
                  <a:cxn ang="0">
                    <a:pos x="110" y="566"/>
                  </a:cxn>
                  <a:cxn ang="0">
                    <a:pos x="108" y="504"/>
                  </a:cxn>
                  <a:cxn ang="0">
                    <a:pos x="74" y="461"/>
                  </a:cxn>
                  <a:cxn ang="0">
                    <a:pos x="7" y="450"/>
                  </a:cxn>
                  <a:cxn ang="0">
                    <a:pos x="37" y="404"/>
                  </a:cxn>
                  <a:cxn ang="0">
                    <a:pos x="72" y="361"/>
                  </a:cxn>
                  <a:cxn ang="0">
                    <a:pos x="59" y="309"/>
                  </a:cxn>
                  <a:cxn ang="0">
                    <a:pos x="71" y="256"/>
                  </a:cxn>
                  <a:cxn ang="0">
                    <a:pos x="96" y="219"/>
                  </a:cxn>
                  <a:cxn ang="0">
                    <a:pos x="138" y="193"/>
                  </a:cxn>
                  <a:cxn ang="0">
                    <a:pos x="166" y="157"/>
                  </a:cxn>
                  <a:cxn ang="0">
                    <a:pos x="190" y="121"/>
                  </a:cxn>
                  <a:cxn ang="0">
                    <a:pos x="160" y="105"/>
                  </a:cxn>
                  <a:cxn ang="0">
                    <a:pos x="197" y="81"/>
                  </a:cxn>
                  <a:cxn ang="0">
                    <a:pos x="224" y="59"/>
                  </a:cxn>
                  <a:cxn ang="0">
                    <a:pos x="256" y="53"/>
                  </a:cxn>
                  <a:cxn ang="0">
                    <a:pos x="291" y="36"/>
                  </a:cxn>
                  <a:cxn ang="0">
                    <a:pos x="306" y="3"/>
                  </a:cxn>
                </a:cxnLst>
                <a:rect l="0" t="0" r="r" b="b"/>
                <a:pathLst>
                  <a:path w="461" h="650">
                    <a:moveTo>
                      <a:pt x="325" y="0"/>
                    </a:moveTo>
                    <a:lnTo>
                      <a:pt x="328" y="1"/>
                    </a:lnTo>
                    <a:lnTo>
                      <a:pt x="331" y="4"/>
                    </a:lnTo>
                    <a:lnTo>
                      <a:pt x="335" y="4"/>
                    </a:lnTo>
                    <a:lnTo>
                      <a:pt x="339" y="4"/>
                    </a:lnTo>
                    <a:lnTo>
                      <a:pt x="342" y="8"/>
                    </a:lnTo>
                    <a:lnTo>
                      <a:pt x="342" y="13"/>
                    </a:lnTo>
                    <a:lnTo>
                      <a:pt x="344" y="17"/>
                    </a:lnTo>
                    <a:lnTo>
                      <a:pt x="348" y="21"/>
                    </a:lnTo>
                    <a:lnTo>
                      <a:pt x="349" y="26"/>
                    </a:lnTo>
                    <a:lnTo>
                      <a:pt x="348" y="36"/>
                    </a:lnTo>
                    <a:lnTo>
                      <a:pt x="348" y="41"/>
                    </a:lnTo>
                    <a:lnTo>
                      <a:pt x="345" y="43"/>
                    </a:lnTo>
                    <a:lnTo>
                      <a:pt x="346" y="45"/>
                    </a:lnTo>
                    <a:lnTo>
                      <a:pt x="351" y="47"/>
                    </a:lnTo>
                    <a:lnTo>
                      <a:pt x="355" y="50"/>
                    </a:lnTo>
                    <a:lnTo>
                      <a:pt x="357" y="53"/>
                    </a:lnTo>
                    <a:lnTo>
                      <a:pt x="357" y="60"/>
                    </a:lnTo>
                    <a:lnTo>
                      <a:pt x="355" y="65"/>
                    </a:lnTo>
                    <a:lnTo>
                      <a:pt x="351" y="69"/>
                    </a:lnTo>
                    <a:lnTo>
                      <a:pt x="346" y="72"/>
                    </a:lnTo>
                    <a:lnTo>
                      <a:pt x="339" y="72"/>
                    </a:lnTo>
                    <a:lnTo>
                      <a:pt x="339" y="76"/>
                    </a:lnTo>
                    <a:lnTo>
                      <a:pt x="337" y="83"/>
                    </a:lnTo>
                    <a:lnTo>
                      <a:pt x="337" y="87"/>
                    </a:lnTo>
                    <a:lnTo>
                      <a:pt x="346" y="92"/>
                    </a:lnTo>
                    <a:lnTo>
                      <a:pt x="353" y="95"/>
                    </a:lnTo>
                    <a:lnTo>
                      <a:pt x="361" y="96"/>
                    </a:lnTo>
                    <a:lnTo>
                      <a:pt x="367" y="97"/>
                    </a:lnTo>
                    <a:lnTo>
                      <a:pt x="373" y="97"/>
                    </a:lnTo>
                    <a:lnTo>
                      <a:pt x="376" y="90"/>
                    </a:lnTo>
                    <a:lnTo>
                      <a:pt x="372" y="88"/>
                    </a:lnTo>
                    <a:lnTo>
                      <a:pt x="368" y="87"/>
                    </a:lnTo>
                    <a:lnTo>
                      <a:pt x="367" y="84"/>
                    </a:lnTo>
                    <a:lnTo>
                      <a:pt x="374" y="77"/>
                    </a:lnTo>
                    <a:lnTo>
                      <a:pt x="378" y="72"/>
                    </a:lnTo>
                    <a:lnTo>
                      <a:pt x="379" y="69"/>
                    </a:lnTo>
                    <a:lnTo>
                      <a:pt x="385" y="70"/>
                    </a:lnTo>
                    <a:lnTo>
                      <a:pt x="390" y="73"/>
                    </a:lnTo>
                    <a:lnTo>
                      <a:pt x="399" y="72"/>
                    </a:lnTo>
                    <a:lnTo>
                      <a:pt x="402" y="70"/>
                    </a:lnTo>
                    <a:lnTo>
                      <a:pt x="405" y="67"/>
                    </a:lnTo>
                    <a:lnTo>
                      <a:pt x="409" y="67"/>
                    </a:lnTo>
                    <a:lnTo>
                      <a:pt x="414" y="68"/>
                    </a:lnTo>
                    <a:lnTo>
                      <a:pt x="414" y="92"/>
                    </a:lnTo>
                    <a:lnTo>
                      <a:pt x="416" y="96"/>
                    </a:lnTo>
                    <a:lnTo>
                      <a:pt x="416" y="99"/>
                    </a:lnTo>
                    <a:lnTo>
                      <a:pt x="421" y="105"/>
                    </a:lnTo>
                    <a:lnTo>
                      <a:pt x="424" y="108"/>
                    </a:lnTo>
                    <a:lnTo>
                      <a:pt x="427" y="110"/>
                    </a:lnTo>
                    <a:lnTo>
                      <a:pt x="429" y="114"/>
                    </a:lnTo>
                    <a:lnTo>
                      <a:pt x="433" y="118"/>
                    </a:lnTo>
                    <a:lnTo>
                      <a:pt x="434" y="123"/>
                    </a:lnTo>
                    <a:lnTo>
                      <a:pt x="437" y="125"/>
                    </a:lnTo>
                    <a:lnTo>
                      <a:pt x="444" y="125"/>
                    </a:lnTo>
                    <a:lnTo>
                      <a:pt x="450" y="125"/>
                    </a:lnTo>
                    <a:lnTo>
                      <a:pt x="454" y="129"/>
                    </a:lnTo>
                    <a:lnTo>
                      <a:pt x="457" y="131"/>
                    </a:lnTo>
                    <a:lnTo>
                      <a:pt x="458" y="137"/>
                    </a:lnTo>
                    <a:lnTo>
                      <a:pt x="458" y="144"/>
                    </a:lnTo>
                    <a:lnTo>
                      <a:pt x="461" y="151"/>
                    </a:lnTo>
                    <a:lnTo>
                      <a:pt x="460" y="158"/>
                    </a:lnTo>
                    <a:lnTo>
                      <a:pt x="457" y="159"/>
                    </a:lnTo>
                    <a:lnTo>
                      <a:pt x="455" y="158"/>
                    </a:lnTo>
                    <a:lnTo>
                      <a:pt x="453" y="153"/>
                    </a:lnTo>
                    <a:lnTo>
                      <a:pt x="450" y="151"/>
                    </a:lnTo>
                    <a:lnTo>
                      <a:pt x="446" y="153"/>
                    </a:lnTo>
                    <a:lnTo>
                      <a:pt x="446" y="155"/>
                    </a:lnTo>
                    <a:lnTo>
                      <a:pt x="450" y="159"/>
                    </a:lnTo>
                    <a:lnTo>
                      <a:pt x="451" y="162"/>
                    </a:lnTo>
                    <a:lnTo>
                      <a:pt x="450" y="173"/>
                    </a:lnTo>
                    <a:lnTo>
                      <a:pt x="450" y="179"/>
                    </a:lnTo>
                    <a:lnTo>
                      <a:pt x="448" y="182"/>
                    </a:lnTo>
                    <a:lnTo>
                      <a:pt x="444" y="185"/>
                    </a:lnTo>
                    <a:lnTo>
                      <a:pt x="437" y="192"/>
                    </a:lnTo>
                    <a:lnTo>
                      <a:pt x="432" y="193"/>
                    </a:lnTo>
                    <a:lnTo>
                      <a:pt x="428" y="195"/>
                    </a:lnTo>
                    <a:lnTo>
                      <a:pt x="418" y="202"/>
                    </a:lnTo>
                    <a:lnTo>
                      <a:pt x="413" y="205"/>
                    </a:lnTo>
                    <a:lnTo>
                      <a:pt x="411" y="210"/>
                    </a:lnTo>
                    <a:lnTo>
                      <a:pt x="410" y="214"/>
                    </a:lnTo>
                    <a:lnTo>
                      <a:pt x="413" y="217"/>
                    </a:lnTo>
                    <a:lnTo>
                      <a:pt x="418" y="216"/>
                    </a:lnTo>
                    <a:lnTo>
                      <a:pt x="422" y="216"/>
                    </a:lnTo>
                    <a:lnTo>
                      <a:pt x="424" y="218"/>
                    </a:lnTo>
                    <a:lnTo>
                      <a:pt x="425" y="221"/>
                    </a:lnTo>
                    <a:lnTo>
                      <a:pt x="422" y="225"/>
                    </a:lnTo>
                    <a:lnTo>
                      <a:pt x="420" y="230"/>
                    </a:lnTo>
                    <a:lnTo>
                      <a:pt x="420" y="234"/>
                    </a:lnTo>
                    <a:lnTo>
                      <a:pt x="418" y="238"/>
                    </a:lnTo>
                    <a:lnTo>
                      <a:pt x="414" y="241"/>
                    </a:lnTo>
                    <a:lnTo>
                      <a:pt x="409" y="245"/>
                    </a:lnTo>
                    <a:lnTo>
                      <a:pt x="406" y="249"/>
                    </a:lnTo>
                    <a:lnTo>
                      <a:pt x="403" y="254"/>
                    </a:lnTo>
                    <a:lnTo>
                      <a:pt x="403" y="259"/>
                    </a:lnTo>
                    <a:lnTo>
                      <a:pt x="404" y="264"/>
                    </a:lnTo>
                    <a:lnTo>
                      <a:pt x="406" y="269"/>
                    </a:lnTo>
                    <a:lnTo>
                      <a:pt x="403" y="274"/>
                    </a:lnTo>
                    <a:lnTo>
                      <a:pt x="396" y="283"/>
                    </a:lnTo>
                    <a:lnTo>
                      <a:pt x="394" y="287"/>
                    </a:lnTo>
                    <a:lnTo>
                      <a:pt x="395" y="289"/>
                    </a:lnTo>
                    <a:lnTo>
                      <a:pt x="397" y="292"/>
                    </a:lnTo>
                    <a:lnTo>
                      <a:pt x="402" y="296"/>
                    </a:lnTo>
                    <a:lnTo>
                      <a:pt x="406" y="295"/>
                    </a:lnTo>
                    <a:lnTo>
                      <a:pt x="404" y="291"/>
                    </a:lnTo>
                    <a:lnTo>
                      <a:pt x="406" y="288"/>
                    </a:lnTo>
                    <a:lnTo>
                      <a:pt x="411" y="287"/>
                    </a:lnTo>
                    <a:lnTo>
                      <a:pt x="419" y="285"/>
                    </a:lnTo>
                    <a:lnTo>
                      <a:pt x="423" y="286"/>
                    </a:lnTo>
                    <a:lnTo>
                      <a:pt x="426" y="291"/>
                    </a:lnTo>
                    <a:lnTo>
                      <a:pt x="426" y="294"/>
                    </a:lnTo>
                    <a:lnTo>
                      <a:pt x="422" y="296"/>
                    </a:lnTo>
                    <a:lnTo>
                      <a:pt x="424" y="301"/>
                    </a:lnTo>
                    <a:lnTo>
                      <a:pt x="425" y="309"/>
                    </a:lnTo>
                    <a:lnTo>
                      <a:pt x="425" y="313"/>
                    </a:lnTo>
                    <a:lnTo>
                      <a:pt x="426" y="316"/>
                    </a:lnTo>
                    <a:lnTo>
                      <a:pt x="424" y="319"/>
                    </a:lnTo>
                    <a:lnTo>
                      <a:pt x="423" y="322"/>
                    </a:lnTo>
                    <a:lnTo>
                      <a:pt x="424" y="326"/>
                    </a:lnTo>
                    <a:lnTo>
                      <a:pt x="421" y="333"/>
                    </a:lnTo>
                    <a:lnTo>
                      <a:pt x="417" y="335"/>
                    </a:lnTo>
                    <a:lnTo>
                      <a:pt x="413" y="342"/>
                    </a:lnTo>
                    <a:lnTo>
                      <a:pt x="406" y="349"/>
                    </a:lnTo>
                    <a:lnTo>
                      <a:pt x="404" y="353"/>
                    </a:lnTo>
                    <a:lnTo>
                      <a:pt x="399" y="355"/>
                    </a:lnTo>
                    <a:lnTo>
                      <a:pt x="398" y="357"/>
                    </a:lnTo>
                    <a:lnTo>
                      <a:pt x="395" y="359"/>
                    </a:lnTo>
                    <a:lnTo>
                      <a:pt x="389" y="362"/>
                    </a:lnTo>
                    <a:lnTo>
                      <a:pt x="383" y="362"/>
                    </a:lnTo>
                    <a:lnTo>
                      <a:pt x="380" y="359"/>
                    </a:lnTo>
                    <a:lnTo>
                      <a:pt x="377" y="358"/>
                    </a:lnTo>
                    <a:lnTo>
                      <a:pt x="373" y="357"/>
                    </a:lnTo>
                    <a:lnTo>
                      <a:pt x="369" y="357"/>
                    </a:lnTo>
                    <a:lnTo>
                      <a:pt x="367" y="360"/>
                    </a:lnTo>
                    <a:lnTo>
                      <a:pt x="365" y="364"/>
                    </a:lnTo>
                    <a:lnTo>
                      <a:pt x="362" y="370"/>
                    </a:lnTo>
                    <a:lnTo>
                      <a:pt x="360" y="375"/>
                    </a:lnTo>
                    <a:lnTo>
                      <a:pt x="359" y="377"/>
                    </a:lnTo>
                    <a:lnTo>
                      <a:pt x="358" y="384"/>
                    </a:lnTo>
                    <a:lnTo>
                      <a:pt x="358" y="386"/>
                    </a:lnTo>
                    <a:lnTo>
                      <a:pt x="357" y="392"/>
                    </a:lnTo>
                    <a:lnTo>
                      <a:pt x="355" y="395"/>
                    </a:lnTo>
                    <a:lnTo>
                      <a:pt x="349" y="396"/>
                    </a:lnTo>
                    <a:lnTo>
                      <a:pt x="345" y="400"/>
                    </a:lnTo>
                    <a:lnTo>
                      <a:pt x="343" y="408"/>
                    </a:lnTo>
                    <a:lnTo>
                      <a:pt x="342" y="410"/>
                    </a:lnTo>
                    <a:lnTo>
                      <a:pt x="338" y="410"/>
                    </a:lnTo>
                    <a:lnTo>
                      <a:pt x="334" y="408"/>
                    </a:lnTo>
                    <a:lnTo>
                      <a:pt x="328" y="408"/>
                    </a:lnTo>
                    <a:lnTo>
                      <a:pt x="324" y="408"/>
                    </a:lnTo>
                    <a:lnTo>
                      <a:pt x="323" y="410"/>
                    </a:lnTo>
                    <a:lnTo>
                      <a:pt x="322" y="412"/>
                    </a:lnTo>
                    <a:lnTo>
                      <a:pt x="323" y="418"/>
                    </a:lnTo>
                    <a:lnTo>
                      <a:pt x="322" y="424"/>
                    </a:lnTo>
                    <a:lnTo>
                      <a:pt x="322" y="440"/>
                    </a:lnTo>
                    <a:lnTo>
                      <a:pt x="320" y="443"/>
                    </a:lnTo>
                    <a:lnTo>
                      <a:pt x="317" y="446"/>
                    </a:lnTo>
                    <a:lnTo>
                      <a:pt x="312" y="447"/>
                    </a:lnTo>
                    <a:lnTo>
                      <a:pt x="305" y="447"/>
                    </a:lnTo>
                    <a:lnTo>
                      <a:pt x="301" y="446"/>
                    </a:lnTo>
                    <a:lnTo>
                      <a:pt x="297" y="442"/>
                    </a:lnTo>
                    <a:lnTo>
                      <a:pt x="296" y="441"/>
                    </a:lnTo>
                    <a:lnTo>
                      <a:pt x="291" y="439"/>
                    </a:lnTo>
                    <a:lnTo>
                      <a:pt x="288" y="438"/>
                    </a:lnTo>
                    <a:lnTo>
                      <a:pt x="284" y="434"/>
                    </a:lnTo>
                    <a:lnTo>
                      <a:pt x="282" y="433"/>
                    </a:lnTo>
                    <a:lnTo>
                      <a:pt x="278" y="432"/>
                    </a:lnTo>
                    <a:lnTo>
                      <a:pt x="274" y="434"/>
                    </a:lnTo>
                    <a:lnTo>
                      <a:pt x="270" y="434"/>
                    </a:lnTo>
                    <a:lnTo>
                      <a:pt x="266" y="432"/>
                    </a:lnTo>
                    <a:lnTo>
                      <a:pt x="263" y="432"/>
                    </a:lnTo>
                    <a:lnTo>
                      <a:pt x="261" y="432"/>
                    </a:lnTo>
                    <a:lnTo>
                      <a:pt x="261" y="437"/>
                    </a:lnTo>
                    <a:lnTo>
                      <a:pt x="262" y="439"/>
                    </a:lnTo>
                    <a:lnTo>
                      <a:pt x="262" y="441"/>
                    </a:lnTo>
                    <a:lnTo>
                      <a:pt x="260" y="443"/>
                    </a:lnTo>
                    <a:lnTo>
                      <a:pt x="258" y="445"/>
                    </a:lnTo>
                    <a:lnTo>
                      <a:pt x="255" y="446"/>
                    </a:lnTo>
                    <a:lnTo>
                      <a:pt x="250" y="445"/>
                    </a:lnTo>
                    <a:lnTo>
                      <a:pt x="248" y="441"/>
                    </a:lnTo>
                    <a:lnTo>
                      <a:pt x="248" y="438"/>
                    </a:lnTo>
                    <a:lnTo>
                      <a:pt x="248" y="437"/>
                    </a:lnTo>
                    <a:lnTo>
                      <a:pt x="247" y="436"/>
                    </a:lnTo>
                    <a:lnTo>
                      <a:pt x="245" y="434"/>
                    </a:lnTo>
                    <a:lnTo>
                      <a:pt x="244" y="434"/>
                    </a:lnTo>
                    <a:lnTo>
                      <a:pt x="244" y="435"/>
                    </a:lnTo>
                    <a:lnTo>
                      <a:pt x="242" y="435"/>
                    </a:lnTo>
                    <a:lnTo>
                      <a:pt x="242" y="436"/>
                    </a:lnTo>
                    <a:lnTo>
                      <a:pt x="241" y="436"/>
                    </a:lnTo>
                    <a:lnTo>
                      <a:pt x="240" y="436"/>
                    </a:lnTo>
                    <a:lnTo>
                      <a:pt x="240" y="436"/>
                    </a:lnTo>
                    <a:lnTo>
                      <a:pt x="239" y="437"/>
                    </a:lnTo>
                    <a:lnTo>
                      <a:pt x="238" y="437"/>
                    </a:lnTo>
                    <a:lnTo>
                      <a:pt x="235" y="442"/>
                    </a:lnTo>
                    <a:lnTo>
                      <a:pt x="234" y="443"/>
                    </a:lnTo>
                    <a:lnTo>
                      <a:pt x="233" y="445"/>
                    </a:lnTo>
                    <a:lnTo>
                      <a:pt x="230" y="446"/>
                    </a:lnTo>
                    <a:lnTo>
                      <a:pt x="226" y="447"/>
                    </a:lnTo>
                    <a:lnTo>
                      <a:pt x="226" y="450"/>
                    </a:lnTo>
                    <a:lnTo>
                      <a:pt x="226" y="456"/>
                    </a:lnTo>
                    <a:lnTo>
                      <a:pt x="226" y="458"/>
                    </a:lnTo>
                    <a:lnTo>
                      <a:pt x="226" y="461"/>
                    </a:lnTo>
                    <a:lnTo>
                      <a:pt x="228" y="467"/>
                    </a:lnTo>
                    <a:lnTo>
                      <a:pt x="231" y="469"/>
                    </a:lnTo>
                    <a:lnTo>
                      <a:pt x="234" y="473"/>
                    </a:lnTo>
                    <a:lnTo>
                      <a:pt x="234" y="477"/>
                    </a:lnTo>
                    <a:lnTo>
                      <a:pt x="231" y="481"/>
                    </a:lnTo>
                    <a:lnTo>
                      <a:pt x="228" y="483"/>
                    </a:lnTo>
                    <a:lnTo>
                      <a:pt x="228" y="485"/>
                    </a:lnTo>
                    <a:lnTo>
                      <a:pt x="229" y="487"/>
                    </a:lnTo>
                    <a:lnTo>
                      <a:pt x="231" y="489"/>
                    </a:lnTo>
                    <a:lnTo>
                      <a:pt x="233" y="492"/>
                    </a:lnTo>
                    <a:lnTo>
                      <a:pt x="230" y="495"/>
                    </a:lnTo>
                    <a:lnTo>
                      <a:pt x="228" y="498"/>
                    </a:lnTo>
                    <a:lnTo>
                      <a:pt x="229" y="501"/>
                    </a:lnTo>
                    <a:lnTo>
                      <a:pt x="229" y="507"/>
                    </a:lnTo>
                    <a:lnTo>
                      <a:pt x="231" y="510"/>
                    </a:lnTo>
                    <a:lnTo>
                      <a:pt x="233" y="512"/>
                    </a:lnTo>
                    <a:lnTo>
                      <a:pt x="233" y="515"/>
                    </a:lnTo>
                    <a:lnTo>
                      <a:pt x="232" y="523"/>
                    </a:lnTo>
                    <a:lnTo>
                      <a:pt x="234" y="526"/>
                    </a:lnTo>
                    <a:lnTo>
                      <a:pt x="235" y="529"/>
                    </a:lnTo>
                    <a:lnTo>
                      <a:pt x="239" y="530"/>
                    </a:lnTo>
                    <a:lnTo>
                      <a:pt x="242" y="533"/>
                    </a:lnTo>
                    <a:lnTo>
                      <a:pt x="246" y="538"/>
                    </a:lnTo>
                    <a:lnTo>
                      <a:pt x="248" y="540"/>
                    </a:lnTo>
                    <a:lnTo>
                      <a:pt x="248" y="544"/>
                    </a:lnTo>
                    <a:lnTo>
                      <a:pt x="248" y="547"/>
                    </a:lnTo>
                    <a:lnTo>
                      <a:pt x="248" y="552"/>
                    </a:lnTo>
                    <a:lnTo>
                      <a:pt x="248" y="555"/>
                    </a:lnTo>
                    <a:lnTo>
                      <a:pt x="246" y="557"/>
                    </a:lnTo>
                    <a:lnTo>
                      <a:pt x="242" y="562"/>
                    </a:lnTo>
                    <a:lnTo>
                      <a:pt x="240" y="565"/>
                    </a:lnTo>
                    <a:lnTo>
                      <a:pt x="240" y="568"/>
                    </a:lnTo>
                    <a:lnTo>
                      <a:pt x="240" y="571"/>
                    </a:lnTo>
                    <a:lnTo>
                      <a:pt x="238" y="573"/>
                    </a:lnTo>
                    <a:lnTo>
                      <a:pt x="235" y="577"/>
                    </a:lnTo>
                    <a:lnTo>
                      <a:pt x="234" y="580"/>
                    </a:lnTo>
                    <a:lnTo>
                      <a:pt x="233" y="584"/>
                    </a:lnTo>
                    <a:lnTo>
                      <a:pt x="235" y="586"/>
                    </a:lnTo>
                    <a:lnTo>
                      <a:pt x="237" y="588"/>
                    </a:lnTo>
                    <a:lnTo>
                      <a:pt x="241" y="589"/>
                    </a:lnTo>
                    <a:lnTo>
                      <a:pt x="242" y="590"/>
                    </a:lnTo>
                    <a:lnTo>
                      <a:pt x="246" y="592"/>
                    </a:lnTo>
                    <a:lnTo>
                      <a:pt x="246" y="595"/>
                    </a:lnTo>
                    <a:lnTo>
                      <a:pt x="244" y="597"/>
                    </a:lnTo>
                    <a:lnTo>
                      <a:pt x="244" y="601"/>
                    </a:lnTo>
                    <a:lnTo>
                      <a:pt x="243" y="604"/>
                    </a:lnTo>
                    <a:lnTo>
                      <a:pt x="245" y="608"/>
                    </a:lnTo>
                    <a:lnTo>
                      <a:pt x="246" y="611"/>
                    </a:lnTo>
                    <a:lnTo>
                      <a:pt x="244" y="615"/>
                    </a:lnTo>
                    <a:lnTo>
                      <a:pt x="242" y="618"/>
                    </a:lnTo>
                    <a:lnTo>
                      <a:pt x="240" y="619"/>
                    </a:lnTo>
                    <a:lnTo>
                      <a:pt x="225" y="619"/>
                    </a:lnTo>
                    <a:lnTo>
                      <a:pt x="222" y="620"/>
                    </a:lnTo>
                    <a:lnTo>
                      <a:pt x="220" y="625"/>
                    </a:lnTo>
                    <a:lnTo>
                      <a:pt x="220" y="628"/>
                    </a:lnTo>
                    <a:lnTo>
                      <a:pt x="217" y="631"/>
                    </a:lnTo>
                    <a:lnTo>
                      <a:pt x="213" y="634"/>
                    </a:lnTo>
                    <a:lnTo>
                      <a:pt x="211" y="637"/>
                    </a:lnTo>
                    <a:lnTo>
                      <a:pt x="204" y="641"/>
                    </a:lnTo>
                    <a:lnTo>
                      <a:pt x="203" y="643"/>
                    </a:lnTo>
                    <a:lnTo>
                      <a:pt x="201" y="646"/>
                    </a:lnTo>
                    <a:lnTo>
                      <a:pt x="197" y="649"/>
                    </a:lnTo>
                    <a:lnTo>
                      <a:pt x="193" y="650"/>
                    </a:lnTo>
                    <a:lnTo>
                      <a:pt x="190" y="647"/>
                    </a:lnTo>
                    <a:lnTo>
                      <a:pt x="190" y="645"/>
                    </a:lnTo>
                    <a:lnTo>
                      <a:pt x="194" y="642"/>
                    </a:lnTo>
                    <a:lnTo>
                      <a:pt x="197" y="641"/>
                    </a:lnTo>
                    <a:lnTo>
                      <a:pt x="195" y="637"/>
                    </a:lnTo>
                    <a:lnTo>
                      <a:pt x="194" y="636"/>
                    </a:lnTo>
                    <a:lnTo>
                      <a:pt x="197" y="631"/>
                    </a:lnTo>
                    <a:lnTo>
                      <a:pt x="197" y="630"/>
                    </a:lnTo>
                    <a:lnTo>
                      <a:pt x="199" y="630"/>
                    </a:lnTo>
                    <a:lnTo>
                      <a:pt x="202" y="627"/>
                    </a:lnTo>
                    <a:lnTo>
                      <a:pt x="203" y="626"/>
                    </a:lnTo>
                    <a:lnTo>
                      <a:pt x="204" y="625"/>
                    </a:lnTo>
                    <a:lnTo>
                      <a:pt x="204" y="621"/>
                    </a:lnTo>
                    <a:lnTo>
                      <a:pt x="204" y="617"/>
                    </a:lnTo>
                    <a:lnTo>
                      <a:pt x="200" y="614"/>
                    </a:lnTo>
                    <a:lnTo>
                      <a:pt x="196" y="612"/>
                    </a:lnTo>
                    <a:lnTo>
                      <a:pt x="192" y="612"/>
                    </a:lnTo>
                    <a:lnTo>
                      <a:pt x="188" y="614"/>
                    </a:lnTo>
                    <a:lnTo>
                      <a:pt x="185" y="618"/>
                    </a:lnTo>
                    <a:lnTo>
                      <a:pt x="182" y="619"/>
                    </a:lnTo>
                    <a:lnTo>
                      <a:pt x="181" y="618"/>
                    </a:lnTo>
                    <a:lnTo>
                      <a:pt x="180" y="614"/>
                    </a:lnTo>
                    <a:lnTo>
                      <a:pt x="180" y="614"/>
                    </a:lnTo>
                    <a:lnTo>
                      <a:pt x="176" y="614"/>
                    </a:lnTo>
                    <a:lnTo>
                      <a:pt x="173" y="612"/>
                    </a:lnTo>
                    <a:lnTo>
                      <a:pt x="172" y="610"/>
                    </a:lnTo>
                    <a:lnTo>
                      <a:pt x="173" y="608"/>
                    </a:lnTo>
                    <a:lnTo>
                      <a:pt x="174" y="605"/>
                    </a:lnTo>
                    <a:lnTo>
                      <a:pt x="173" y="601"/>
                    </a:lnTo>
                    <a:lnTo>
                      <a:pt x="171" y="599"/>
                    </a:lnTo>
                    <a:lnTo>
                      <a:pt x="169" y="597"/>
                    </a:lnTo>
                    <a:lnTo>
                      <a:pt x="169" y="594"/>
                    </a:lnTo>
                    <a:lnTo>
                      <a:pt x="168" y="588"/>
                    </a:lnTo>
                    <a:lnTo>
                      <a:pt x="165" y="586"/>
                    </a:lnTo>
                    <a:lnTo>
                      <a:pt x="161" y="586"/>
                    </a:lnTo>
                    <a:lnTo>
                      <a:pt x="157" y="587"/>
                    </a:lnTo>
                    <a:lnTo>
                      <a:pt x="155" y="598"/>
                    </a:lnTo>
                    <a:lnTo>
                      <a:pt x="152" y="601"/>
                    </a:lnTo>
                    <a:lnTo>
                      <a:pt x="148" y="603"/>
                    </a:lnTo>
                    <a:lnTo>
                      <a:pt x="144" y="604"/>
                    </a:lnTo>
                    <a:lnTo>
                      <a:pt x="142" y="605"/>
                    </a:lnTo>
                    <a:lnTo>
                      <a:pt x="140" y="599"/>
                    </a:lnTo>
                    <a:lnTo>
                      <a:pt x="137" y="598"/>
                    </a:lnTo>
                    <a:lnTo>
                      <a:pt x="134" y="598"/>
                    </a:lnTo>
                    <a:lnTo>
                      <a:pt x="126" y="599"/>
                    </a:lnTo>
                    <a:lnTo>
                      <a:pt x="124" y="599"/>
                    </a:lnTo>
                    <a:lnTo>
                      <a:pt x="119" y="601"/>
                    </a:lnTo>
                    <a:lnTo>
                      <a:pt x="119" y="588"/>
                    </a:lnTo>
                    <a:lnTo>
                      <a:pt x="111" y="579"/>
                    </a:lnTo>
                    <a:lnTo>
                      <a:pt x="110" y="566"/>
                    </a:lnTo>
                    <a:lnTo>
                      <a:pt x="111" y="553"/>
                    </a:lnTo>
                    <a:lnTo>
                      <a:pt x="122" y="547"/>
                    </a:lnTo>
                    <a:lnTo>
                      <a:pt x="130" y="540"/>
                    </a:lnTo>
                    <a:lnTo>
                      <a:pt x="124" y="527"/>
                    </a:lnTo>
                    <a:lnTo>
                      <a:pt x="115" y="521"/>
                    </a:lnTo>
                    <a:lnTo>
                      <a:pt x="115" y="511"/>
                    </a:lnTo>
                    <a:lnTo>
                      <a:pt x="108" y="504"/>
                    </a:lnTo>
                    <a:lnTo>
                      <a:pt x="109" y="494"/>
                    </a:lnTo>
                    <a:lnTo>
                      <a:pt x="108" y="482"/>
                    </a:lnTo>
                    <a:lnTo>
                      <a:pt x="100" y="467"/>
                    </a:lnTo>
                    <a:lnTo>
                      <a:pt x="97" y="465"/>
                    </a:lnTo>
                    <a:lnTo>
                      <a:pt x="85" y="463"/>
                    </a:lnTo>
                    <a:lnTo>
                      <a:pt x="80" y="461"/>
                    </a:lnTo>
                    <a:lnTo>
                      <a:pt x="74" y="461"/>
                    </a:lnTo>
                    <a:lnTo>
                      <a:pt x="61" y="461"/>
                    </a:lnTo>
                    <a:lnTo>
                      <a:pt x="52" y="467"/>
                    </a:lnTo>
                    <a:lnTo>
                      <a:pt x="40" y="472"/>
                    </a:lnTo>
                    <a:lnTo>
                      <a:pt x="27" y="473"/>
                    </a:lnTo>
                    <a:lnTo>
                      <a:pt x="22" y="469"/>
                    </a:lnTo>
                    <a:lnTo>
                      <a:pt x="15" y="460"/>
                    </a:lnTo>
                    <a:lnTo>
                      <a:pt x="7" y="450"/>
                    </a:lnTo>
                    <a:lnTo>
                      <a:pt x="0" y="439"/>
                    </a:lnTo>
                    <a:lnTo>
                      <a:pt x="11" y="428"/>
                    </a:lnTo>
                    <a:lnTo>
                      <a:pt x="22" y="424"/>
                    </a:lnTo>
                    <a:lnTo>
                      <a:pt x="31" y="430"/>
                    </a:lnTo>
                    <a:lnTo>
                      <a:pt x="33" y="421"/>
                    </a:lnTo>
                    <a:lnTo>
                      <a:pt x="28" y="413"/>
                    </a:lnTo>
                    <a:lnTo>
                      <a:pt x="37" y="404"/>
                    </a:lnTo>
                    <a:lnTo>
                      <a:pt x="44" y="403"/>
                    </a:lnTo>
                    <a:lnTo>
                      <a:pt x="49" y="401"/>
                    </a:lnTo>
                    <a:lnTo>
                      <a:pt x="57" y="390"/>
                    </a:lnTo>
                    <a:lnTo>
                      <a:pt x="63" y="390"/>
                    </a:lnTo>
                    <a:lnTo>
                      <a:pt x="69" y="385"/>
                    </a:lnTo>
                    <a:lnTo>
                      <a:pt x="69" y="374"/>
                    </a:lnTo>
                    <a:lnTo>
                      <a:pt x="72" y="361"/>
                    </a:lnTo>
                    <a:lnTo>
                      <a:pt x="62" y="351"/>
                    </a:lnTo>
                    <a:lnTo>
                      <a:pt x="53" y="350"/>
                    </a:lnTo>
                    <a:lnTo>
                      <a:pt x="46" y="344"/>
                    </a:lnTo>
                    <a:lnTo>
                      <a:pt x="49" y="336"/>
                    </a:lnTo>
                    <a:lnTo>
                      <a:pt x="47" y="325"/>
                    </a:lnTo>
                    <a:lnTo>
                      <a:pt x="50" y="316"/>
                    </a:lnTo>
                    <a:lnTo>
                      <a:pt x="59" y="309"/>
                    </a:lnTo>
                    <a:lnTo>
                      <a:pt x="73" y="304"/>
                    </a:lnTo>
                    <a:lnTo>
                      <a:pt x="74" y="296"/>
                    </a:lnTo>
                    <a:lnTo>
                      <a:pt x="70" y="287"/>
                    </a:lnTo>
                    <a:lnTo>
                      <a:pt x="67" y="276"/>
                    </a:lnTo>
                    <a:lnTo>
                      <a:pt x="64" y="267"/>
                    </a:lnTo>
                    <a:lnTo>
                      <a:pt x="70" y="263"/>
                    </a:lnTo>
                    <a:lnTo>
                      <a:pt x="71" y="256"/>
                    </a:lnTo>
                    <a:lnTo>
                      <a:pt x="72" y="252"/>
                    </a:lnTo>
                    <a:lnTo>
                      <a:pt x="73" y="248"/>
                    </a:lnTo>
                    <a:lnTo>
                      <a:pt x="78" y="243"/>
                    </a:lnTo>
                    <a:lnTo>
                      <a:pt x="82" y="235"/>
                    </a:lnTo>
                    <a:lnTo>
                      <a:pt x="87" y="229"/>
                    </a:lnTo>
                    <a:lnTo>
                      <a:pt x="91" y="224"/>
                    </a:lnTo>
                    <a:lnTo>
                      <a:pt x="96" y="219"/>
                    </a:lnTo>
                    <a:lnTo>
                      <a:pt x="104" y="221"/>
                    </a:lnTo>
                    <a:lnTo>
                      <a:pt x="110" y="223"/>
                    </a:lnTo>
                    <a:lnTo>
                      <a:pt x="115" y="226"/>
                    </a:lnTo>
                    <a:lnTo>
                      <a:pt x="120" y="222"/>
                    </a:lnTo>
                    <a:lnTo>
                      <a:pt x="132" y="207"/>
                    </a:lnTo>
                    <a:lnTo>
                      <a:pt x="136" y="200"/>
                    </a:lnTo>
                    <a:lnTo>
                      <a:pt x="138" y="193"/>
                    </a:lnTo>
                    <a:lnTo>
                      <a:pt x="144" y="184"/>
                    </a:lnTo>
                    <a:lnTo>
                      <a:pt x="149" y="179"/>
                    </a:lnTo>
                    <a:lnTo>
                      <a:pt x="149" y="169"/>
                    </a:lnTo>
                    <a:lnTo>
                      <a:pt x="151" y="164"/>
                    </a:lnTo>
                    <a:lnTo>
                      <a:pt x="154" y="160"/>
                    </a:lnTo>
                    <a:lnTo>
                      <a:pt x="160" y="158"/>
                    </a:lnTo>
                    <a:lnTo>
                      <a:pt x="166" y="157"/>
                    </a:lnTo>
                    <a:lnTo>
                      <a:pt x="182" y="157"/>
                    </a:lnTo>
                    <a:lnTo>
                      <a:pt x="184" y="154"/>
                    </a:lnTo>
                    <a:lnTo>
                      <a:pt x="183" y="149"/>
                    </a:lnTo>
                    <a:lnTo>
                      <a:pt x="183" y="142"/>
                    </a:lnTo>
                    <a:lnTo>
                      <a:pt x="186" y="135"/>
                    </a:lnTo>
                    <a:lnTo>
                      <a:pt x="189" y="131"/>
                    </a:lnTo>
                    <a:lnTo>
                      <a:pt x="190" y="121"/>
                    </a:lnTo>
                    <a:lnTo>
                      <a:pt x="186" y="117"/>
                    </a:lnTo>
                    <a:lnTo>
                      <a:pt x="182" y="115"/>
                    </a:lnTo>
                    <a:lnTo>
                      <a:pt x="176" y="118"/>
                    </a:lnTo>
                    <a:lnTo>
                      <a:pt x="173" y="120"/>
                    </a:lnTo>
                    <a:lnTo>
                      <a:pt x="165" y="118"/>
                    </a:lnTo>
                    <a:lnTo>
                      <a:pt x="160" y="114"/>
                    </a:lnTo>
                    <a:lnTo>
                      <a:pt x="160" y="105"/>
                    </a:lnTo>
                    <a:lnTo>
                      <a:pt x="161" y="100"/>
                    </a:lnTo>
                    <a:lnTo>
                      <a:pt x="167" y="92"/>
                    </a:lnTo>
                    <a:lnTo>
                      <a:pt x="173" y="85"/>
                    </a:lnTo>
                    <a:lnTo>
                      <a:pt x="178" y="81"/>
                    </a:lnTo>
                    <a:lnTo>
                      <a:pt x="183" y="80"/>
                    </a:lnTo>
                    <a:lnTo>
                      <a:pt x="190" y="81"/>
                    </a:lnTo>
                    <a:lnTo>
                      <a:pt x="197" y="81"/>
                    </a:lnTo>
                    <a:lnTo>
                      <a:pt x="208" y="79"/>
                    </a:lnTo>
                    <a:lnTo>
                      <a:pt x="215" y="76"/>
                    </a:lnTo>
                    <a:lnTo>
                      <a:pt x="222" y="74"/>
                    </a:lnTo>
                    <a:lnTo>
                      <a:pt x="226" y="71"/>
                    </a:lnTo>
                    <a:lnTo>
                      <a:pt x="229" y="67"/>
                    </a:lnTo>
                    <a:lnTo>
                      <a:pt x="228" y="64"/>
                    </a:lnTo>
                    <a:lnTo>
                      <a:pt x="224" y="59"/>
                    </a:lnTo>
                    <a:lnTo>
                      <a:pt x="222" y="53"/>
                    </a:lnTo>
                    <a:lnTo>
                      <a:pt x="222" y="48"/>
                    </a:lnTo>
                    <a:lnTo>
                      <a:pt x="226" y="45"/>
                    </a:lnTo>
                    <a:lnTo>
                      <a:pt x="232" y="43"/>
                    </a:lnTo>
                    <a:lnTo>
                      <a:pt x="238" y="43"/>
                    </a:lnTo>
                    <a:lnTo>
                      <a:pt x="245" y="48"/>
                    </a:lnTo>
                    <a:lnTo>
                      <a:pt x="256" y="53"/>
                    </a:lnTo>
                    <a:lnTo>
                      <a:pt x="264" y="58"/>
                    </a:lnTo>
                    <a:lnTo>
                      <a:pt x="268" y="54"/>
                    </a:lnTo>
                    <a:lnTo>
                      <a:pt x="272" y="48"/>
                    </a:lnTo>
                    <a:lnTo>
                      <a:pt x="280" y="47"/>
                    </a:lnTo>
                    <a:lnTo>
                      <a:pt x="284" y="44"/>
                    </a:lnTo>
                    <a:lnTo>
                      <a:pt x="290" y="42"/>
                    </a:lnTo>
                    <a:lnTo>
                      <a:pt x="291" y="36"/>
                    </a:lnTo>
                    <a:lnTo>
                      <a:pt x="294" y="34"/>
                    </a:lnTo>
                    <a:lnTo>
                      <a:pt x="298" y="28"/>
                    </a:lnTo>
                    <a:lnTo>
                      <a:pt x="301" y="23"/>
                    </a:lnTo>
                    <a:lnTo>
                      <a:pt x="303" y="18"/>
                    </a:lnTo>
                    <a:lnTo>
                      <a:pt x="302" y="11"/>
                    </a:lnTo>
                    <a:lnTo>
                      <a:pt x="305" y="6"/>
                    </a:lnTo>
                    <a:lnTo>
                      <a:pt x="306" y="3"/>
                    </a:lnTo>
                    <a:lnTo>
                      <a:pt x="311" y="4"/>
                    </a:lnTo>
                    <a:lnTo>
                      <a:pt x="315" y="4"/>
                    </a:lnTo>
                    <a:lnTo>
                      <a:pt x="322" y="2"/>
                    </a:lnTo>
                    <a:lnTo>
                      <a:pt x="32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2" name="Hamburg">
                <a:extLst>
                  <a:ext uri="{FF2B5EF4-FFF2-40B4-BE49-F238E27FC236}">
                    <a16:creationId xmlns:a16="http://schemas.microsoft.com/office/drawing/2014/main" id="{B67DBAAA-CA2B-43C4-88FC-B534182F492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41408" y="2266950"/>
                <a:ext cx="158750" cy="146050"/>
              </a:xfrm>
              <a:custGeom>
                <a:avLst/>
                <a:gdLst/>
                <a:ahLst/>
                <a:cxnLst>
                  <a:cxn ang="0">
                    <a:pos x="55" y="0"/>
                  </a:cxn>
                  <a:cxn ang="0">
                    <a:pos x="64" y="0"/>
                  </a:cxn>
                  <a:cxn ang="0">
                    <a:pos x="74" y="4"/>
                  </a:cxn>
                  <a:cxn ang="0">
                    <a:pos x="74" y="20"/>
                  </a:cxn>
                  <a:cxn ang="0">
                    <a:pos x="73" y="27"/>
                  </a:cxn>
                  <a:cxn ang="0">
                    <a:pos x="70" y="36"/>
                  </a:cxn>
                  <a:cxn ang="0">
                    <a:pos x="67" y="43"/>
                  </a:cxn>
                  <a:cxn ang="0">
                    <a:pos x="71" y="50"/>
                  </a:cxn>
                  <a:cxn ang="0">
                    <a:pos x="74" y="56"/>
                  </a:cxn>
                  <a:cxn ang="0">
                    <a:pos x="85" y="62"/>
                  </a:cxn>
                  <a:cxn ang="0">
                    <a:pos x="89" y="66"/>
                  </a:cxn>
                  <a:cxn ang="0">
                    <a:pos x="96" y="74"/>
                  </a:cxn>
                  <a:cxn ang="0">
                    <a:pos x="96" y="81"/>
                  </a:cxn>
                  <a:cxn ang="0">
                    <a:pos x="100" y="87"/>
                  </a:cxn>
                  <a:cxn ang="0">
                    <a:pos x="96" y="87"/>
                  </a:cxn>
                  <a:cxn ang="0">
                    <a:pos x="89" y="87"/>
                  </a:cxn>
                  <a:cxn ang="0">
                    <a:pos x="80" y="89"/>
                  </a:cxn>
                  <a:cxn ang="0">
                    <a:pos x="76" y="92"/>
                  </a:cxn>
                  <a:cxn ang="0">
                    <a:pos x="68" y="92"/>
                  </a:cxn>
                  <a:cxn ang="0">
                    <a:pos x="60" y="90"/>
                  </a:cxn>
                  <a:cxn ang="0">
                    <a:pos x="54" y="90"/>
                  </a:cxn>
                  <a:cxn ang="0">
                    <a:pos x="41" y="85"/>
                  </a:cxn>
                  <a:cxn ang="0">
                    <a:pos x="29" y="83"/>
                  </a:cxn>
                  <a:cxn ang="0">
                    <a:pos x="13" y="83"/>
                  </a:cxn>
                  <a:cxn ang="0">
                    <a:pos x="9" y="80"/>
                  </a:cxn>
                  <a:cxn ang="0">
                    <a:pos x="7" y="68"/>
                  </a:cxn>
                  <a:cxn ang="0">
                    <a:pos x="4" y="62"/>
                  </a:cxn>
                  <a:cxn ang="0">
                    <a:pos x="4" y="55"/>
                  </a:cxn>
                  <a:cxn ang="0">
                    <a:pos x="3" y="51"/>
                  </a:cxn>
                  <a:cxn ang="0">
                    <a:pos x="5" y="51"/>
                  </a:cxn>
                  <a:cxn ang="0">
                    <a:pos x="5" y="46"/>
                  </a:cxn>
                  <a:cxn ang="0">
                    <a:pos x="0" y="41"/>
                  </a:cxn>
                  <a:cxn ang="0">
                    <a:pos x="2" y="34"/>
                  </a:cxn>
                  <a:cxn ang="0">
                    <a:pos x="7" y="32"/>
                  </a:cxn>
                  <a:cxn ang="0">
                    <a:pos x="23" y="32"/>
                  </a:cxn>
                  <a:cxn ang="0">
                    <a:pos x="27" y="27"/>
                  </a:cxn>
                  <a:cxn ang="0">
                    <a:pos x="28" y="22"/>
                  </a:cxn>
                  <a:cxn ang="0">
                    <a:pos x="36" y="17"/>
                  </a:cxn>
                  <a:cxn ang="0">
                    <a:pos x="45" y="12"/>
                  </a:cxn>
                  <a:cxn ang="0">
                    <a:pos x="46" y="5"/>
                  </a:cxn>
                  <a:cxn ang="0">
                    <a:pos x="55" y="0"/>
                  </a:cxn>
                </a:cxnLst>
                <a:rect l="0" t="0" r="r" b="b"/>
                <a:pathLst>
                  <a:path w="100" h="92">
                    <a:moveTo>
                      <a:pt x="55" y="0"/>
                    </a:moveTo>
                    <a:lnTo>
                      <a:pt x="64" y="0"/>
                    </a:lnTo>
                    <a:lnTo>
                      <a:pt x="74" y="4"/>
                    </a:lnTo>
                    <a:lnTo>
                      <a:pt x="74" y="20"/>
                    </a:lnTo>
                    <a:lnTo>
                      <a:pt x="73" y="27"/>
                    </a:lnTo>
                    <a:lnTo>
                      <a:pt x="70" y="36"/>
                    </a:lnTo>
                    <a:lnTo>
                      <a:pt x="67" y="43"/>
                    </a:lnTo>
                    <a:lnTo>
                      <a:pt x="71" y="50"/>
                    </a:lnTo>
                    <a:lnTo>
                      <a:pt x="74" y="56"/>
                    </a:lnTo>
                    <a:lnTo>
                      <a:pt x="85" y="62"/>
                    </a:lnTo>
                    <a:lnTo>
                      <a:pt x="89" y="66"/>
                    </a:lnTo>
                    <a:lnTo>
                      <a:pt x="96" y="74"/>
                    </a:lnTo>
                    <a:lnTo>
                      <a:pt x="96" y="81"/>
                    </a:lnTo>
                    <a:lnTo>
                      <a:pt x="100" y="87"/>
                    </a:lnTo>
                    <a:lnTo>
                      <a:pt x="96" y="87"/>
                    </a:lnTo>
                    <a:lnTo>
                      <a:pt x="89" y="87"/>
                    </a:lnTo>
                    <a:lnTo>
                      <a:pt x="80" y="89"/>
                    </a:lnTo>
                    <a:lnTo>
                      <a:pt x="76" y="92"/>
                    </a:lnTo>
                    <a:lnTo>
                      <a:pt x="68" y="92"/>
                    </a:lnTo>
                    <a:lnTo>
                      <a:pt x="60" y="90"/>
                    </a:lnTo>
                    <a:lnTo>
                      <a:pt x="54" y="90"/>
                    </a:lnTo>
                    <a:lnTo>
                      <a:pt x="41" y="85"/>
                    </a:lnTo>
                    <a:lnTo>
                      <a:pt x="29" y="83"/>
                    </a:lnTo>
                    <a:lnTo>
                      <a:pt x="13" y="83"/>
                    </a:lnTo>
                    <a:lnTo>
                      <a:pt x="9" y="80"/>
                    </a:lnTo>
                    <a:lnTo>
                      <a:pt x="7" y="68"/>
                    </a:lnTo>
                    <a:lnTo>
                      <a:pt x="4" y="62"/>
                    </a:lnTo>
                    <a:lnTo>
                      <a:pt x="4" y="55"/>
                    </a:lnTo>
                    <a:lnTo>
                      <a:pt x="3" y="51"/>
                    </a:lnTo>
                    <a:lnTo>
                      <a:pt x="5" y="51"/>
                    </a:lnTo>
                    <a:lnTo>
                      <a:pt x="5" y="46"/>
                    </a:lnTo>
                    <a:lnTo>
                      <a:pt x="0" y="41"/>
                    </a:lnTo>
                    <a:lnTo>
                      <a:pt x="2" y="34"/>
                    </a:lnTo>
                    <a:lnTo>
                      <a:pt x="7" y="32"/>
                    </a:lnTo>
                    <a:lnTo>
                      <a:pt x="23" y="32"/>
                    </a:lnTo>
                    <a:lnTo>
                      <a:pt x="27" y="27"/>
                    </a:lnTo>
                    <a:lnTo>
                      <a:pt x="28" y="22"/>
                    </a:lnTo>
                    <a:lnTo>
                      <a:pt x="36" y="17"/>
                    </a:lnTo>
                    <a:lnTo>
                      <a:pt x="45" y="12"/>
                    </a:lnTo>
                    <a:lnTo>
                      <a:pt x="46" y="5"/>
                    </a:lnTo>
                    <a:lnTo>
                      <a:pt x="5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3" name="Bremerhaven (Bremen)">
                <a:extLst>
                  <a:ext uri="{FF2B5EF4-FFF2-40B4-BE49-F238E27FC236}">
                    <a16:creationId xmlns:a16="http://schemas.microsoft.com/office/drawing/2014/main" id="{B806A6F2-C301-4C31-BDB3-14C1D78DDEE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92158" y="2293938"/>
                <a:ext cx="47625" cy="49213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22" y="0"/>
                  </a:cxn>
                  <a:cxn ang="0">
                    <a:pos x="26" y="4"/>
                  </a:cxn>
                  <a:cxn ang="0">
                    <a:pos x="30" y="6"/>
                  </a:cxn>
                  <a:cxn ang="0">
                    <a:pos x="29" y="12"/>
                  </a:cxn>
                  <a:cxn ang="0">
                    <a:pos x="27" y="15"/>
                  </a:cxn>
                  <a:cxn ang="0">
                    <a:pos x="26" y="21"/>
                  </a:cxn>
                  <a:cxn ang="0">
                    <a:pos x="27" y="26"/>
                  </a:cxn>
                  <a:cxn ang="0">
                    <a:pos x="26" y="30"/>
                  </a:cxn>
                  <a:cxn ang="0">
                    <a:pos x="21" y="31"/>
                  </a:cxn>
                  <a:cxn ang="0">
                    <a:pos x="16" y="31"/>
                  </a:cxn>
                  <a:cxn ang="0">
                    <a:pos x="11" y="30"/>
                  </a:cxn>
                  <a:cxn ang="0">
                    <a:pos x="10" y="25"/>
                  </a:cxn>
                  <a:cxn ang="0">
                    <a:pos x="5" y="22"/>
                  </a:cxn>
                  <a:cxn ang="0">
                    <a:pos x="1" y="17"/>
                  </a:cxn>
                  <a:cxn ang="0">
                    <a:pos x="0" y="9"/>
                  </a:cxn>
                  <a:cxn ang="0">
                    <a:pos x="5" y="8"/>
                  </a:cxn>
                  <a:cxn ang="0">
                    <a:pos x="8" y="6"/>
                  </a:cxn>
                  <a:cxn ang="0">
                    <a:pos x="12" y="2"/>
                  </a:cxn>
                  <a:cxn ang="0">
                    <a:pos x="17" y="0"/>
                  </a:cxn>
                </a:cxnLst>
                <a:rect l="0" t="0" r="r" b="b"/>
                <a:pathLst>
                  <a:path w="30" h="31">
                    <a:moveTo>
                      <a:pt x="17" y="0"/>
                    </a:moveTo>
                    <a:lnTo>
                      <a:pt x="22" y="0"/>
                    </a:lnTo>
                    <a:lnTo>
                      <a:pt x="26" y="4"/>
                    </a:lnTo>
                    <a:lnTo>
                      <a:pt x="30" y="6"/>
                    </a:lnTo>
                    <a:lnTo>
                      <a:pt x="29" y="12"/>
                    </a:lnTo>
                    <a:lnTo>
                      <a:pt x="27" y="15"/>
                    </a:lnTo>
                    <a:lnTo>
                      <a:pt x="26" y="21"/>
                    </a:lnTo>
                    <a:lnTo>
                      <a:pt x="27" y="26"/>
                    </a:lnTo>
                    <a:lnTo>
                      <a:pt x="26" y="30"/>
                    </a:lnTo>
                    <a:lnTo>
                      <a:pt x="21" y="31"/>
                    </a:lnTo>
                    <a:lnTo>
                      <a:pt x="16" y="31"/>
                    </a:lnTo>
                    <a:lnTo>
                      <a:pt x="11" y="30"/>
                    </a:lnTo>
                    <a:lnTo>
                      <a:pt x="10" y="25"/>
                    </a:lnTo>
                    <a:lnTo>
                      <a:pt x="5" y="22"/>
                    </a:lnTo>
                    <a:lnTo>
                      <a:pt x="1" y="17"/>
                    </a:lnTo>
                    <a:lnTo>
                      <a:pt x="0" y="9"/>
                    </a:lnTo>
                    <a:lnTo>
                      <a:pt x="5" y="8"/>
                    </a:lnTo>
                    <a:lnTo>
                      <a:pt x="8" y="6"/>
                    </a:lnTo>
                    <a:lnTo>
                      <a:pt x="12" y="2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4" name="Bremen">
                <a:extLst>
                  <a:ext uri="{FF2B5EF4-FFF2-40B4-BE49-F238E27FC236}">
                    <a16:creationId xmlns:a16="http://schemas.microsoft.com/office/drawing/2014/main" id="{CF2E3718-3C4C-41F9-8B44-3DD3456F7EC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93745" y="2493963"/>
                <a:ext cx="112713" cy="84138"/>
              </a:xfrm>
              <a:custGeom>
                <a:avLst/>
                <a:gdLst/>
                <a:ahLst/>
                <a:cxnLst>
                  <a:cxn ang="0">
                    <a:pos x="13" y="0"/>
                  </a:cxn>
                  <a:cxn ang="0">
                    <a:pos x="20" y="2"/>
                  </a:cxn>
                  <a:cxn ang="0">
                    <a:pos x="24" y="7"/>
                  </a:cxn>
                  <a:cxn ang="0">
                    <a:pos x="33" y="12"/>
                  </a:cxn>
                  <a:cxn ang="0">
                    <a:pos x="38" y="16"/>
                  </a:cxn>
                  <a:cxn ang="0">
                    <a:pos x="42" y="19"/>
                  </a:cxn>
                  <a:cxn ang="0">
                    <a:pos x="53" y="19"/>
                  </a:cxn>
                  <a:cxn ang="0">
                    <a:pos x="57" y="20"/>
                  </a:cxn>
                  <a:cxn ang="0">
                    <a:pos x="62" y="27"/>
                  </a:cxn>
                  <a:cxn ang="0">
                    <a:pos x="68" y="33"/>
                  </a:cxn>
                  <a:cxn ang="0">
                    <a:pos x="71" y="41"/>
                  </a:cxn>
                  <a:cxn ang="0">
                    <a:pos x="68" y="48"/>
                  </a:cxn>
                  <a:cxn ang="0">
                    <a:pos x="62" y="52"/>
                  </a:cxn>
                  <a:cxn ang="0">
                    <a:pos x="55" y="53"/>
                  </a:cxn>
                  <a:cxn ang="0">
                    <a:pos x="43" y="53"/>
                  </a:cxn>
                  <a:cxn ang="0">
                    <a:pos x="36" y="50"/>
                  </a:cxn>
                  <a:cxn ang="0">
                    <a:pos x="26" y="46"/>
                  </a:cxn>
                  <a:cxn ang="0">
                    <a:pos x="19" y="40"/>
                  </a:cxn>
                  <a:cxn ang="0">
                    <a:pos x="17" y="28"/>
                  </a:cxn>
                  <a:cxn ang="0">
                    <a:pos x="15" y="19"/>
                  </a:cxn>
                  <a:cxn ang="0">
                    <a:pos x="11" y="13"/>
                  </a:cxn>
                  <a:cxn ang="0">
                    <a:pos x="7" y="7"/>
                  </a:cxn>
                  <a:cxn ang="0">
                    <a:pos x="2" y="4"/>
                  </a:cxn>
                  <a:cxn ang="0">
                    <a:pos x="0" y="1"/>
                  </a:cxn>
                  <a:cxn ang="0">
                    <a:pos x="7" y="1"/>
                  </a:cxn>
                  <a:cxn ang="0">
                    <a:pos x="13" y="0"/>
                  </a:cxn>
                </a:cxnLst>
                <a:rect l="0" t="0" r="r" b="b"/>
                <a:pathLst>
                  <a:path w="71" h="53">
                    <a:moveTo>
                      <a:pt x="13" y="0"/>
                    </a:moveTo>
                    <a:lnTo>
                      <a:pt x="20" y="2"/>
                    </a:lnTo>
                    <a:lnTo>
                      <a:pt x="24" y="7"/>
                    </a:lnTo>
                    <a:lnTo>
                      <a:pt x="33" y="12"/>
                    </a:lnTo>
                    <a:lnTo>
                      <a:pt x="38" y="16"/>
                    </a:lnTo>
                    <a:lnTo>
                      <a:pt x="42" y="19"/>
                    </a:lnTo>
                    <a:lnTo>
                      <a:pt x="53" y="19"/>
                    </a:lnTo>
                    <a:lnTo>
                      <a:pt x="57" y="20"/>
                    </a:lnTo>
                    <a:lnTo>
                      <a:pt x="62" y="27"/>
                    </a:lnTo>
                    <a:lnTo>
                      <a:pt x="68" y="33"/>
                    </a:lnTo>
                    <a:lnTo>
                      <a:pt x="71" y="41"/>
                    </a:lnTo>
                    <a:lnTo>
                      <a:pt x="68" y="48"/>
                    </a:lnTo>
                    <a:lnTo>
                      <a:pt x="62" y="52"/>
                    </a:lnTo>
                    <a:lnTo>
                      <a:pt x="55" y="53"/>
                    </a:lnTo>
                    <a:lnTo>
                      <a:pt x="43" y="53"/>
                    </a:lnTo>
                    <a:lnTo>
                      <a:pt x="36" y="50"/>
                    </a:lnTo>
                    <a:lnTo>
                      <a:pt x="26" y="46"/>
                    </a:lnTo>
                    <a:lnTo>
                      <a:pt x="19" y="40"/>
                    </a:lnTo>
                    <a:lnTo>
                      <a:pt x="17" y="28"/>
                    </a:lnTo>
                    <a:lnTo>
                      <a:pt x="15" y="19"/>
                    </a:lnTo>
                    <a:lnTo>
                      <a:pt x="11" y="13"/>
                    </a:lnTo>
                    <a:lnTo>
                      <a:pt x="7" y="7"/>
                    </a:lnTo>
                    <a:lnTo>
                      <a:pt x="2" y="4"/>
                    </a:lnTo>
                    <a:lnTo>
                      <a:pt x="0" y="1"/>
                    </a:lnTo>
                    <a:lnTo>
                      <a:pt x="7" y="1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5" name="Brandenburg">
                <a:extLst>
                  <a:ext uri="{FF2B5EF4-FFF2-40B4-BE49-F238E27FC236}">
                    <a16:creationId xmlns:a16="http://schemas.microsoft.com/office/drawing/2014/main" id="{A504AC26-F1E2-4877-B25E-1E17637FD08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46220" y="2349500"/>
                <a:ext cx="990600" cy="971550"/>
              </a:xfrm>
              <a:custGeom>
                <a:avLst/>
                <a:gdLst/>
                <a:ahLst/>
                <a:cxnLst>
                  <a:cxn ang="0">
                    <a:pos x="457" y="29"/>
                  </a:cxn>
                  <a:cxn ang="0">
                    <a:pos x="491" y="18"/>
                  </a:cxn>
                  <a:cxn ang="0">
                    <a:pos x="489" y="53"/>
                  </a:cxn>
                  <a:cxn ang="0">
                    <a:pos x="500" y="79"/>
                  </a:cxn>
                  <a:cxn ang="0">
                    <a:pos x="538" y="54"/>
                  </a:cxn>
                  <a:cxn ang="0">
                    <a:pos x="533" y="88"/>
                  </a:cxn>
                  <a:cxn ang="0">
                    <a:pos x="531" y="115"/>
                  </a:cxn>
                  <a:cxn ang="0">
                    <a:pos x="517" y="127"/>
                  </a:cxn>
                  <a:cxn ang="0">
                    <a:pos x="507" y="148"/>
                  </a:cxn>
                  <a:cxn ang="0">
                    <a:pos x="497" y="179"/>
                  </a:cxn>
                  <a:cxn ang="0">
                    <a:pos x="510" y="196"/>
                  </a:cxn>
                  <a:cxn ang="0">
                    <a:pos x="523" y="213"/>
                  </a:cxn>
                  <a:cxn ang="0">
                    <a:pos x="541" y="225"/>
                  </a:cxn>
                  <a:cxn ang="0">
                    <a:pos x="567" y="245"/>
                  </a:cxn>
                  <a:cxn ang="0">
                    <a:pos x="582" y="264"/>
                  </a:cxn>
                  <a:cxn ang="0">
                    <a:pos x="583" y="284"/>
                  </a:cxn>
                  <a:cxn ang="0">
                    <a:pos x="580" y="303"/>
                  </a:cxn>
                  <a:cxn ang="0">
                    <a:pos x="584" y="331"/>
                  </a:cxn>
                  <a:cxn ang="0">
                    <a:pos x="595" y="352"/>
                  </a:cxn>
                  <a:cxn ang="0">
                    <a:pos x="608" y="379"/>
                  </a:cxn>
                  <a:cxn ang="0">
                    <a:pos x="617" y="409"/>
                  </a:cxn>
                  <a:cxn ang="0">
                    <a:pos x="614" y="446"/>
                  </a:cxn>
                  <a:cxn ang="0">
                    <a:pos x="598" y="472"/>
                  </a:cxn>
                  <a:cxn ang="0">
                    <a:pos x="609" y="501"/>
                  </a:cxn>
                  <a:cxn ang="0">
                    <a:pos x="622" y="525"/>
                  </a:cxn>
                  <a:cxn ang="0">
                    <a:pos x="603" y="547"/>
                  </a:cxn>
                  <a:cxn ang="0">
                    <a:pos x="560" y="561"/>
                  </a:cxn>
                  <a:cxn ang="0">
                    <a:pos x="516" y="563"/>
                  </a:cxn>
                  <a:cxn ang="0">
                    <a:pos x="494" y="594"/>
                  </a:cxn>
                  <a:cxn ang="0">
                    <a:pos x="453" y="611"/>
                  </a:cxn>
                  <a:cxn ang="0">
                    <a:pos x="402" y="600"/>
                  </a:cxn>
                  <a:cxn ang="0">
                    <a:pos x="371" y="598"/>
                  </a:cxn>
                  <a:cxn ang="0">
                    <a:pos x="347" y="600"/>
                  </a:cxn>
                  <a:cxn ang="0">
                    <a:pos x="340" y="550"/>
                  </a:cxn>
                  <a:cxn ang="0">
                    <a:pos x="342" y="521"/>
                  </a:cxn>
                  <a:cxn ang="0">
                    <a:pos x="334" y="481"/>
                  </a:cxn>
                  <a:cxn ang="0">
                    <a:pos x="288" y="455"/>
                  </a:cxn>
                  <a:cxn ang="0">
                    <a:pos x="242" y="435"/>
                  </a:cxn>
                  <a:cxn ang="0">
                    <a:pos x="196" y="418"/>
                  </a:cxn>
                  <a:cxn ang="0">
                    <a:pos x="178" y="377"/>
                  </a:cxn>
                  <a:cxn ang="0">
                    <a:pos x="188" y="317"/>
                  </a:cxn>
                  <a:cxn ang="0">
                    <a:pos x="162" y="281"/>
                  </a:cxn>
                  <a:cxn ang="0">
                    <a:pos x="163" y="229"/>
                  </a:cxn>
                  <a:cxn ang="0">
                    <a:pos x="157" y="192"/>
                  </a:cxn>
                  <a:cxn ang="0">
                    <a:pos x="123" y="188"/>
                  </a:cxn>
                  <a:cxn ang="0">
                    <a:pos x="90" y="161"/>
                  </a:cxn>
                  <a:cxn ang="0">
                    <a:pos x="44" y="139"/>
                  </a:cxn>
                  <a:cxn ang="0">
                    <a:pos x="10" y="139"/>
                  </a:cxn>
                  <a:cxn ang="0">
                    <a:pos x="18" y="128"/>
                  </a:cxn>
                  <a:cxn ang="0">
                    <a:pos x="45" y="118"/>
                  </a:cxn>
                  <a:cxn ang="0">
                    <a:pos x="57" y="91"/>
                  </a:cxn>
                  <a:cxn ang="0">
                    <a:pos x="98" y="82"/>
                  </a:cxn>
                  <a:cxn ang="0">
                    <a:pos x="126" y="63"/>
                  </a:cxn>
                  <a:cxn ang="0">
                    <a:pos x="157" y="54"/>
                  </a:cxn>
                  <a:cxn ang="0">
                    <a:pos x="195" y="67"/>
                  </a:cxn>
                  <a:cxn ang="0">
                    <a:pos x="243" y="88"/>
                  </a:cxn>
                  <a:cxn ang="0">
                    <a:pos x="287" y="92"/>
                  </a:cxn>
                  <a:cxn ang="0">
                    <a:pos x="315" y="93"/>
                  </a:cxn>
                  <a:cxn ang="0">
                    <a:pos x="344" y="73"/>
                  </a:cxn>
                  <a:cxn ang="0">
                    <a:pos x="376" y="69"/>
                  </a:cxn>
                  <a:cxn ang="0">
                    <a:pos x="400" y="26"/>
                  </a:cxn>
                  <a:cxn ang="0">
                    <a:pos x="422" y="2"/>
                  </a:cxn>
                </a:cxnLst>
                <a:rect l="0" t="0" r="r" b="b"/>
                <a:pathLst>
                  <a:path w="624" h="612">
                    <a:moveTo>
                      <a:pt x="427" y="0"/>
                    </a:moveTo>
                    <a:lnTo>
                      <a:pt x="437" y="3"/>
                    </a:lnTo>
                    <a:lnTo>
                      <a:pt x="440" y="10"/>
                    </a:lnTo>
                    <a:lnTo>
                      <a:pt x="444" y="18"/>
                    </a:lnTo>
                    <a:lnTo>
                      <a:pt x="446" y="25"/>
                    </a:lnTo>
                    <a:lnTo>
                      <a:pt x="457" y="29"/>
                    </a:lnTo>
                    <a:lnTo>
                      <a:pt x="464" y="29"/>
                    </a:lnTo>
                    <a:lnTo>
                      <a:pt x="474" y="26"/>
                    </a:lnTo>
                    <a:lnTo>
                      <a:pt x="475" y="20"/>
                    </a:lnTo>
                    <a:lnTo>
                      <a:pt x="482" y="19"/>
                    </a:lnTo>
                    <a:lnTo>
                      <a:pt x="486" y="22"/>
                    </a:lnTo>
                    <a:lnTo>
                      <a:pt x="491" y="18"/>
                    </a:lnTo>
                    <a:lnTo>
                      <a:pt x="498" y="18"/>
                    </a:lnTo>
                    <a:lnTo>
                      <a:pt x="502" y="21"/>
                    </a:lnTo>
                    <a:lnTo>
                      <a:pt x="502" y="35"/>
                    </a:lnTo>
                    <a:lnTo>
                      <a:pt x="497" y="42"/>
                    </a:lnTo>
                    <a:lnTo>
                      <a:pt x="493" y="46"/>
                    </a:lnTo>
                    <a:lnTo>
                      <a:pt x="489" y="53"/>
                    </a:lnTo>
                    <a:lnTo>
                      <a:pt x="483" y="57"/>
                    </a:lnTo>
                    <a:lnTo>
                      <a:pt x="480" y="63"/>
                    </a:lnTo>
                    <a:lnTo>
                      <a:pt x="480" y="70"/>
                    </a:lnTo>
                    <a:lnTo>
                      <a:pt x="484" y="76"/>
                    </a:lnTo>
                    <a:lnTo>
                      <a:pt x="492" y="78"/>
                    </a:lnTo>
                    <a:lnTo>
                      <a:pt x="500" y="79"/>
                    </a:lnTo>
                    <a:lnTo>
                      <a:pt x="507" y="75"/>
                    </a:lnTo>
                    <a:lnTo>
                      <a:pt x="511" y="68"/>
                    </a:lnTo>
                    <a:lnTo>
                      <a:pt x="524" y="60"/>
                    </a:lnTo>
                    <a:lnTo>
                      <a:pt x="532" y="52"/>
                    </a:lnTo>
                    <a:lnTo>
                      <a:pt x="537" y="45"/>
                    </a:lnTo>
                    <a:lnTo>
                      <a:pt x="538" y="54"/>
                    </a:lnTo>
                    <a:lnTo>
                      <a:pt x="537" y="66"/>
                    </a:lnTo>
                    <a:lnTo>
                      <a:pt x="536" y="70"/>
                    </a:lnTo>
                    <a:lnTo>
                      <a:pt x="533" y="73"/>
                    </a:lnTo>
                    <a:lnTo>
                      <a:pt x="533" y="79"/>
                    </a:lnTo>
                    <a:lnTo>
                      <a:pt x="533" y="83"/>
                    </a:lnTo>
                    <a:lnTo>
                      <a:pt x="533" y="88"/>
                    </a:lnTo>
                    <a:lnTo>
                      <a:pt x="533" y="92"/>
                    </a:lnTo>
                    <a:lnTo>
                      <a:pt x="534" y="95"/>
                    </a:lnTo>
                    <a:lnTo>
                      <a:pt x="535" y="106"/>
                    </a:lnTo>
                    <a:lnTo>
                      <a:pt x="533" y="109"/>
                    </a:lnTo>
                    <a:lnTo>
                      <a:pt x="533" y="113"/>
                    </a:lnTo>
                    <a:lnTo>
                      <a:pt x="531" y="115"/>
                    </a:lnTo>
                    <a:lnTo>
                      <a:pt x="526" y="118"/>
                    </a:lnTo>
                    <a:lnTo>
                      <a:pt x="522" y="121"/>
                    </a:lnTo>
                    <a:lnTo>
                      <a:pt x="520" y="123"/>
                    </a:lnTo>
                    <a:lnTo>
                      <a:pt x="518" y="125"/>
                    </a:lnTo>
                    <a:lnTo>
                      <a:pt x="518" y="126"/>
                    </a:lnTo>
                    <a:lnTo>
                      <a:pt x="517" y="127"/>
                    </a:lnTo>
                    <a:lnTo>
                      <a:pt x="517" y="130"/>
                    </a:lnTo>
                    <a:lnTo>
                      <a:pt x="517" y="131"/>
                    </a:lnTo>
                    <a:lnTo>
                      <a:pt x="515" y="135"/>
                    </a:lnTo>
                    <a:lnTo>
                      <a:pt x="515" y="141"/>
                    </a:lnTo>
                    <a:lnTo>
                      <a:pt x="511" y="146"/>
                    </a:lnTo>
                    <a:lnTo>
                      <a:pt x="507" y="148"/>
                    </a:lnTo>
                    <a:lnTo>
                      <a:pt x="499" y="155"/>
                    </a:lnTo>
                    <a:lnTo>
                      <a:pt x="497" y="157"/>
                    </a:lnTo>
                    <a:lnTo>
                      <a:pt x="495" y="161"/>
                    </a:lnTo>
                    <a:lnTo>
                      <a:pt x="497" y="173"/>
                    </a:lnTo>
                    <a:lnTo>
                      <a:pt x="498" y="176"/>
                    </a:lnTo>
                    <a:lnTo>
                      <a:pt x="497" y="179"/>
                    </a:lnTo>
                    <a:lnTo>
                      <a:pt x="496" y="182"/>
                    </a:lnTo>
                    <a:lnTo>
                      <a:pt x="496" y="185"/>
                    </a:lnTo>
                    <a:lnTo>
                      <a:pt x="497" y="189"/>
                    </a:lnTo>
                    <a:lnTo>
                      <a:pt x="500" y="194"/>
                    </a:lnTo>
                    <a:lnTo>
                      <a:pt x="502" y="196"/>
                    </a:lnTo>
                    <a:lnTo>
                      <a:pt x="510" y="196"/>
                    </a:lnTo>
                    <a:lnTo>
                      <a:pt x="513" y="197"/>
                    </a:lnTo>
                    <a:lnTo>
                      <a:pt x="515" y="198"/>
                    </a:lnTo>
                    <a:lnTo>
                      <a:pt x="517" y="202"/>
                    </a:lnTo>
                    <a:lnTo>
                      <a:pt x="519" y="205"/>
                    </a:lnTo>
                    <a:lnTo>
                      <a:pt x="520" y="209"/>
                    </a:lnTo>
                    <a:lnTo>
                      <a:pt x="523" y="213"/>
                    </a:lnTo>
                    <a:lnTo>
                      <a:pt x="526" y="213"/>
                    </a:lnTo>
                    <a:lnTo>
                      <a:pt x="529" y="213"/>
                    </a:lnTo>
                    <a:lnTo>
                      <a:pt x="531" y="214"/>
                    </a:lnTo>
                    <a:lnTo>
                      <a:pt x="534" y="216"/>
                    </a:lnTo>
                    <a:lnTo>
                      <a:pt x="538" y="221"/>
                    </a:lnTo>
                    <a:lnTo>
                      <a:pt x="541" y="225"/>
                    </a:lnTo>
                    <a:lnTo>
                      <a:pt x="544" y="229"/>
                    </a:lnTo>
                    <a:lnTo>
                      <a:pt x="549" y="233"/>
                    </a:lnTo>
                    <a:lnTo>
                      <a:pt x="553" y="236"/>
                    </a:lnTo>
                    <a:lnTo>
                      <a:pt x="555" y="237"/>
                    </a:lnTo>
                    <a:lnTo>
                      <a:pt x="559" y="240"/>
                    </a:lnTo>
                    <a:lnTo>
                      <a:pt x="567" y="245"/>
                    </a:lnTo>
                    <a:lnTo>
                      <a:pt x="571" y="248"/>
                    </a:lnTo>
                    <a:lnTo>
                      <a:pt x="574" y="251"/>
                    </a:lnTo>
                    <a:lnTo>
                      <a:pt x="577" y="254"/>
                    </a:lnTo>
                    <a:lnTo>
                      <a:pt x="580" y="257"/>
                    </a:lnTo>
                    <a:lnTo>
                      <a:pt x="582" y="260"/>
                    </a:lnTo>
                    <a:lnTo>
                      <a:pt x="582" y="264"/>
                    </a:lnTo>
                    <a:lnTo>
                      <a:pt x="582" y="266"/>
                    </a:lnTo>
                    <a:lnTo>
                      <a:pt x="582" y="270"/>
                    </a:lnTo>
                    <a:lnTo>
                      <a:pt x="582" y="273"/>
                    </a:lnTo>
                    <a:lnTo>
                      <a:pt x="582" y="279"/>
                    </a:lnTo>
                    <a:lnTo>
                      <a:pt x="583" y="282"/>
                    </a:lnTo>
                    <a:lnTo>
                      <a:pt x="583" y="284"/>
                    </a:lnTo>
                    <a:lnTo>
                      <a:pt x="584" y="287"/>
                    </a:lnTo>
                    <a:lnTo>
                      <a:pt x="585" y="290"/>
                    </a:lnTo>
                    <a:lnTo>
                      <a:pt x="584" y="294"/>
                    </a:lnTo>
                    <a:lnTo>
                      <a:pt x="582" y="298"/>
                    </a:lnTo>
                    <a:lnTo>
                      <a:pt x="581" y="301"/>
                    </a:lnTo>
                    <a:lnTo>
                      <a:pt x="580" y="303"/>
                    </a:lnTo>
                    <a:lnTo>
                      <a:pt x="579" y="307"/>
                    </a:lnTo>
                    <a:lnTo>
                      <a:pt x="579" y="317"/>
                    </a:lnTo>
                    <a:lnTo>
                      <a:pt x="580" y="319"/>
                    </a:lnTo>
                    <a:lnTo>
                      <a:pt x="582" y="324"/>
                    </a:lnTo>
                    <a:lnTo>
                      <a:pt x="583" y="328"/>
                    </a:lnTo>
                    <a:lnTo>
                      <a:pt x="584" y="331"/>
                    </a:lnTo>
                    <a:lnTo>
                      <a:pt x="584" y="336"/>
                    </a:lnTo>
                    <a:lnTo>
                      <a:pt x="586" y="340"/>
                    </a:lnTo>
                    <a:lnTo>
                      <a:pt x="588" y="345"/>
                    </a:lnTo>
                    <a:lnTo>
                      <a:pt x="590" y="350"/>
                    </a:lnTo>
                    <a:lnTo>
                      <a:pt x="593" y="351"/>
                    </a:lnTo>
                    <a:lnTo>
                      <a:pt x="595" y="352"/>
                    </a:lnTo>
                    <a:lnTo>
                      <a:pt x="599" y="353"/>
                    </a:lnTo>
                    <a:lnTo>
                      <a:pt x="604" y="354"/>
                    </a:lnTo>
                    <a:lnTo>
                      <a:pt x="606" y="356"/>
                    </a:lnTo>
                    <a:lnTo>
                      <a:pt x="607" y="358"/>
                    </a:lnTo>
                    <a:lnTo>
                      <a:pt x="607" y="374"/>
                    </a:lnTo>
                    <a:lnTo>
                      <a:pt x="608" y="379"/>
                    </a:lnTo>
                    <a:lnTo>
                      <a:pt x="607" y="383"/>
                    </a:lnTo>
                    <a:lnTo>
                      <a:pt x="607" y="396"/>
                    </a:lnTo>
                    <a:lnTo>
                      <a:pt x="611" y="400"/>
                    </a:lnTo>
                    <a:lnTo>
                      <a:pt x="614" y="402"/>
                    </a:lnTo>
                    <a:lnTo>
                      <a:pt x="615" y="405"/>
                    </a:lnTo>
                    <a:lnTo>
                      <a:pt x="617" y="409"/>
                    </a:lnTo>
                    <a:lnTo>
                      <a:pt x="617" y="415"/>
                    </a:lnTo>
                    <a:lnTo>
                      <a:pt x="616" y="419"/>
                    </a:lnTo>
                    <a:lnTo>
                      <a:pt x="616" y="422"/>
                    </a:lnTo>
                    <a:lnTo>
                      <a:pt x="615" y="431"/>
                    </a:lnTo>
                    <a:lnTo>
                      <a:pt x="615" y="443"/>
                    </a:lnTo>
                    <a:lnTo>
                      <a:pt x="614" y="446"/>
                    </a:lnTo>
                    <a:lnTo>
                      <a:pt x="613" y="453"/>
                    </a:lnTo>
                    <a:lnTo>
                      <a:pt x="610" y="455"/>
                    </a:lnTo>
                    <a:lnTo>
                      <a:pt x="608" y="458"/>
                    </a:lnTo>
                    <a:lnTo>
                      <a:pt x="605" y="464"/>
                    </a:lnTo>
                    <a:lnTo>
                      <a:pt x="602" y="468"/>
                    </a:lnTo>
                    <a:lnTo>
                      <a:pt x="598" y="472"/>
                    </a:lnTo>
                    <a:lnTo>
                      <a:pt x="597" y="477"/>
                    </a:lnTo>
                    <a:lnTo>
                      <a:pt x="599" y="485"/>
                    </a:lnTo>
                    <a:lnTo>
                      <a:pt x="600" y="493"/>
                    </a:lnTo>
                    <a:lnTo>
                      <a:pt x="603" y="495"/>
                    </a:lnTo>
                    <a:lnTo>
                      <a:pt x="606" y="499"/>
                    </a:lnTo>
                    <a:lnTo>
                      <a:pt x="609" y="501"/>
                    </a:lnTo>
                    <a:lnTo>
                      <a:pt x="612" y="506"/>
                    </a:lnTo>
                    <a:lnTo>
                      <a:pt x="617" y="512"/>
                    </a:lnTo>
                    <a:lnTo>
                      <a:pt x="619" y="514"/>
                    </a:lnTo>
                    <a:lnTo>
                      <a:pt x="620" y="519"/>
                    </a:lnTo>
                    <a:lnTo>
                      <a:pt x="622" y="521"/>
                    </a:lnTo>
                    <a:lnTo>
                      <a:pt x="622" y="525"/>
                    </a:lnTo>
                    <a:lnTo>
                      <a:pt x="624" y="532"/>
                    </a:lnTo>
                    <a:lnTo>
                      <a:pt x="620" y="534"/>
                    </a:lnTo>
                    <a:lnTo>
                      <a:pt x="616" y="539"/>
                    </a:lnTo>
                    <a:lnTo>
                      <a:pt x="612" y="549"/>
                    </a:lnTo>
                    <a:lnTo>
                      <a:pt x="606" y="550"/>
                    </a:lnTo>
                    <a:lnTo>
                      <a:pt x="603" y="547"/>
                    </a:lnTo>
                    <a:lnTo>
                      <a:pt x="595" y="547"/>
                    </a:lnTo>
                    <a:lnTo>
                      <a:pt x="593" y="549"/>
                    </a:lnTo>
                    <a:lnTo>
                      <a:pt x="582" y="550"/>
                    </a:lnTo>
                    <a:lnTo>
                      <a:pt x="572" y="554"/>
                    </a:lnTo>
                    <a:lnTo>
                      <a:pt x="564" y="554"/>
                    </a:lnTo>
                    <a:lnTo>
                      <a:pt x="560" y="561"/>
                    </a:lnTo>
                    <a:lnTo>
                      <a:pt x="554" y="562"/>
                    </a:lnTo>
                    <a:lnTo>
                      <a:pt x="544" y="560"/>
                    </a:lnTo>
                    <a:lnTo>
                      <a:pt x="535" y="556"/>
                    </a:lnTo>
                    <a:lnTo>
                      <a:pt x="529" y="553"/>
                    </a:lnTo>
                    <a:lnTo>
                      <a:pt x="521" y="557"/>
                    </a:lnTo>
                    <a:lnTo>
                      <a:pt x="516" y="563"/>
                    </a:lnTo>
                    <a:lnTo>
                      <a:pt x="509" y="569"/>
                    </a:lnTo>
                    <a:lnTo>
                      <a:pt x="504" y="573"/>
                    </a:lnTo>
                    <a:lnTo>
                      <a:pt x="496" y="572"/>
                    </a:lnTo>
                    <a:lnTo>
                      <a:pt x="495" y="580"/>
                    </a:lnTo>
                    <a:lnTo>
                      <a:pt x="493" y="587"/>
                    </a:lnTo>
                    <a:lnTo>
                      <a:pt x="494" y="594"/>
                    </a:lnTo>
                    <a:lnTo>
                      <a:pt x="498" y="600"/>
                    </a:lnTo>
                    <a:lnTo>
                      <a:pt x="497" y="605"/>
                    </a:lnTo>
                    <a:lnTo>
                      <a:pt x="486" y="607"/>
                    </a:lnTo>
                    <a:lnTo>
                      <a:pt x="471" y="607"/>
                    </a:lnTo>
                    <a:lnTo>
                      <a:pt x="464" y="609"/>
                    </a:lnTo>
                    <a:lnTo>
                      <a:pt x="453" y="611"/>
                    </a:lnTo>
                    <a:lnTo>
                      <a:pt x="441" y="612"/>
                    </a:lnTo>
                    <a:lnTo>
                      <a:pt x="429" y="611"/>
                    </a:lnTo>
                    <a:lnTo>
                      <a:pt x="420" y="609"/>
                    </a:lnTo>
                    <a:lnTo>
                      <a:pt x="414" y="605"/>
                    </a:lnTo>
                    <a:lnTo>
                      <a:pt x="410" y="600"/>
                    </a:lnTo>
                    <a:lnTo>
                      <a:pt x="402" y="600"/>
                    </a:lnTo>
                    <a:lnTo>
                      <a:pt x="393" y="594"/>
                    </a:lnTo>
                    <a:lnTo>
                      <a:pt x="389" y="590"/>
                    </a:lnTo>
                    <a:lnTo>
                      <a:pt x="383" y="589"/>
                    </a:lnTo>
                    <a:lnTo>
                      <a:pt x="381" y="594"/>
                    </a:lnTo>
                    <a:lnTo>
                      <a:pt x="378" y="598"/>
                    </a:lnTo>
                    <a:lnTo>
                      <a:pt x="371" y="598"/>
                    </a:lnTo>
                    <a:lnTo>
                      <a:pt x="369" y="601"/>
                    </a:lnTo>
                    <a:lnTo>
                      <a:pt x="367" y="605"/>
                    </a:lnTo>
                    <a:lnTo>
                      <a:pt x="360" y="609"/>
                    </a:lnTo>
                    <a:lnTo>
                      <a:pt x="353" y="609"/>
                    </a:lnTo>
                    <a:lnTo>
                      <a:pt x="351" y="604"/>
                    </a:lnTo>
                    <a:lnTo>
                      <a:pt x="347" y="600"/>
                    </a:lnTo>
                    <a:lnTo>
                      <a:pt x="348" y="589"/>
                    </a:lnTo>
                    <a:lnTo>
                      <a:pt x="348" y="582"/>
                    </a:lnTo>
                    <a:lnTo>
                      <a:pt x="347" y="574"/>
                    </a:lnTo>
                    <a:lnTo>
                      <a:pt x="350" y="564"/>
                    </a:lnTo>
                    <a:lnTo>
                      <a:pt x="344" y="558"/>
                    </a:lnTo>
                    <a:lnTo>
                      <a:pt x="340" y="550"/>
                    </a:lnTo>
                    <a:lnTo>
                      <a:pt x="335" y="547"/>
                    </a:lnTo>
                    <a:lnTo>
                      <a:pt x="327" y="543"/>
                    </a:lnTo>
                    <a:lnTo>
                      <a:pt x="327" y="538"/>
                    </a:lnTo>
                    <a:lnTo>
                      <a:pt x="329" y="531"/>
                    </a:lnTo>
                    <a:lnTo>
                      <a:pt x="333" y="525"/>
                    </a:lnTo>
                    <a:lnTo>
                      <a:pt x="342" y="521"/>
                    </a:lnTo>
                    <a:lnTo>
                      <a:pt x="350" y="520"/>
                    </a:lnTo>
                    <a:lnTo>
                      <a:pt x="348" y="512"/>
                    </a:lnTo>
                    <a:lnTo>
                      <a:pt x="342" y="499"/>
                    </a:lnTo>
                    <a:lnTo>
                      <a:pt x="338" y="495"/>
                    </a:lnTo>
                    <a:lnTo>
                      <a:pt x="331" y="487"/>
                    </a:lnTo>
                    <a:lnTo>
                      <a:pt x="334" y="481"/>
                    </a:lnTo>
                    <a:lnTo>
                      <a:pt x="333" y="472"/>
                    </a:lnTo>
                    <a:lnTo>
                      <a:pt x="327" y="467"/>
                    </a:lnTo>
                    <a:lnTo>
                      <a:pt x="319" y="462"/>
                    </a:lnTo>
                    <a:lnTo>
                      <a:pt x="310" y="460"/>
                    </a:lnTo>
                    <a:lnTo>
                      <a:pt x="303" y="458"/>
                    </a:lnTo>
                    <a:lnTo>
                      <a:pt x="288" y="455"/>
                    </a:lnTo>
                    <a:lnTo>
                      <a:pt x="276" y="446"/>
                    </a:lnTo>
                    <a:lnTo>
                      <a:pt x="269" y="440"/>
                    </a:lnTo>
                    <a:lnTo>
                      <a:pt x="262" y="433"/>
                    </a:lnTo>
                    <a:lnTo>
                      <a:pt x="255" y="430"/>
                    </a:lnTo>
                    <a:lnTo>
                      <a:pt x="249" y="432"/>
                    </a:lnTo>
                    <a:lnTo>
                      <a:pt x="242" y="435"/>
                    </a:lnTo>
                    <a:lnTo>
                      <a:pt x="233" y="435"/>
                    </a:lnTo>
                    <a:lnTo>
                      <a:pt x="225" y="435"/>
                    </a:lnTo>
                    <a:lnTo>
                      <a:pt x="218" y="433"/>
                    </a:lnTo>
                    <a:lnTo>
                      <a:pt x="202" y="433"/>
                    </a:lnTo>
                    <a:lnTo>
                      <a:pt x="198" y="425"/>
                    </a:lnTo>
                    <a:lnTo>
                      <a:pt x="196" y="418"/>
                    </a:lnTo>
                    <a:lnTo>
                      <a:pt x="191" y="412"/>
                    </a:lnTo>
                    <a:lnTo>
                      <a:pt x="184" y="404"/>
                    </a:lnTo>
                    <a:lnTo>
                      <a:pt x="179" y="398"/>
                    </a:lnTo>
                    <a:lnTo>
                      <a:pt x="174" y="389"/>
                    </a:lnTo>
                    <a:lnTo>
                      <a:pt x="175" y="383"/>
                    </a:lnTo>
                    <a:lnTo>
                      <a:pt x="178" y="377"/>
                    </a:lnTo>
                    <a:lnTo>
                      <a:pt x="178" y="357"/>
                    </a:lnTo>
                    <a:lnTo>
                      <a:pt x="182" y="351"/>
                    </a:lnTo>
                    <a:lnTo>
                      <a:pt x="187" y="345"/>
                    </a:lnTo>
                    <a:lnTo>
                      <a:pt x="186" y="334"/>
                    </a:lnTo>
                    <a:lnTo>
                      <a:pt x="185" y="325"/>
                    </a:lnTo>
                    <a:lnTo>
                      <a:pt x="188" y="317"/>
                    </a:lnTo>
                    <a:lnTo>
                      <a:pt x="193" y="308"/>
                    </a:lnTo>
                    <a:lnTo>
                      <a:pt x="189" y="298"/>
                    </a:lnTo>
                    <a:lnTo>
                      <a:pt x="182" y="296"/>
                    </a:lnTo>
                    <a:lnTo>
                      <a:pt x="170" y="297"/>
                    </a:lnTo>
                    <a:lnTo>
                      <a:pt x="165" y="288"/>
                    </a:lnTo>
                    <a:lnTo>
                      <a:pt x="162" y="281"/>
                    </a:lnTo>
                    <a:lnTo>
                      <a:pt x="165" y="277"/>
                    </a:lnTo>
                    <a:lnTo>
                      <a:pt x="168" y="271"/>
                    </a:lnTo>
                    <a:lnTo>
                      <a:pt x="170" y="264"/>
                    </a:lnTo>
                    <a:lnTo>
                      <a:pt x="169" y="244"/>
                    </a:lnTo>
                    <a:lnTo>
                      <a:pt x="162" y="240"/>
                    </a:lnTo>
                    <a:lnTo>
                      <a:pt x="163" y="229"/>
                    </a:lnTo>
                    <a:lnTo>
                      <a:pt x="164" y="222"/>
                    </a:lnTo>
                    <a:lnTo>
                      <a:pt x="169" y="218"/>
                    </a:lnTo>
                    <a:lnTo>
                      <a:pt x="171" y="209"/>
                    </a:lnTo>
                    <a:lnTo>
                      <a:pt x="168" y="196"/>
                    </a:lnTo>
                    <a:lnTo>
                      <a:pt x="162" y="192"/>
                    </a:lnTo>
                    <a:lnTo>
                      <a:pt x="157" y="192"/>
                    </a:lnTo>
                    <a:lnTo>
                      <a:pt x="151" y="198"/>
                    </a:lnTo>
                    <a:lnTo>
                      <a:pt x="146" y="193"/>
                    </a:lnTo>
                    <a:lnTo>
                      <a:pt x="142" y="188"/>
                    </a:lnTo>
                    <a:lnTo>
                      <a:pt x="135" y="190"/>
                    </a:lnTo>
                    <a:lnTo>
                      <a:pt x="129" y="191"/>
                    </a:lnTo>
                    <a:lnTo>
                      <a:pt x="123" y="188"/>
                    </a:lnTo>
                    <a:lnTo>
                      <a:pt x="117" y="186"/>
                    </a:lnTo>
                    <a:lnTo>
                      <a:pt x="109" y="183"/>
                    </a:lnTo>
                    <a:lnTo>
                      <a:pt x="97" y="178"/>
                    </a:lnTo>
                    <a:lnTo>
                      <a:pt x="94" y="172"/>
                    </a:lnTo>
                    <a:lnTo>
                      <a:pt x="96" y="165"/>
                    </a:lnTo>
                    <a:lnTo>
                      <a:pt x="90" y="161"/>
                    </a:lnTo>
                    <a:lnTo>
                      <a:pt x="79" y="156"/>
                    </a:lnTo>
                    <a:lnTo>
                      <a:pt x="69" y="156"/>
                    </a:lnTo>
                    <a:lnTo>
                      <a:pt x="62" y="149"/>
                    </a:lnTo>
                    <a:lnTo>
                      <a:pt x="59" y="145"/>
                    </a:lnTo>
                    <a:lnTo>
                      <a:pt x="51" y="142"/>
                    </a:lnTo>
                    <a:lnTo>
                      <a:pt x="44" y="139"/>
                    </a:lnTo>
                    <a:lnTo>
                      <a:pt x="33" y="138"/>
                    </a:lnTo>
                    <a:lnTo>
                      <a:pt x="27" y="135"/>
                    </a:lnTo>
                    <a:lnTo>
                      <a:pt x="25" y="132"/>
                    </a:lnTo>
                    <a:lnTo>
                      <a:pt x="20" y="132"/>
                    </a:lnTo>
                    <a:lnTo>
                      <a:pt x="14" y="133"/>
                    </a:lnTo>
                    <a:lnTo>
                      <a:pt x="10" y="139"/>
                    </a:lnTo>
                    <a:lnTo>
                      <a:pt x="4" y="136"/>
                    </a:lnTo>
                    <a:lnTo>
                      <a:pt x="0" y="132"/>
                    </a:lnTo>
                    <a:lnTo>
                      <a:pt x="0" y="130"/>
                    </a:lnTo>
                    <a:lnTo>
                      <a:pt x="5" y="128"/>
                    </a:lnTo>
                    <a:lnTo>
                      <a:pt x="12" y="128"/>
                    </a:lnTo>
                    <a:lnTo>
                      <a:pt x="18" y="128"/>
                    </a:lnTo>
                    <a:lnTo>
                      <a:pt x="20" y="121"/>
                    </a:lnTo>
                    <a:lnTo>
                      <a:pt x="27" y="120"/>
                    </a:lnTo>
                    <a:lnTo>
                      <a:pt x="32" y="124"/>
                    </a:lnTo>
                    <a:lnTo>
                      <a:pt x="36" y="124"/>
                    </a:lnTo>
                    <a:lnTo>
                      <a:pt x="40" y="122"/>
                    </a:lnTo>
                    <a:lnTo>
                      <a:pt x="45" y="118"/>
                    </a:lnTo>
                    <a:lnTo>
                      <a:pt x="47" y="116"/>
                    </a:lnTo>
                    <a:lnTo>
                      <a:pt x="47" y="110"/>
                    </a:lnTo>
                    <a:lnTo>
                      <a:pt x="43" y="106"/>
                    </a:lnTo>
                    <a:lnTo>
                      <a:pt x="41" y="101"/>
                    </a:lnTo>
                    <a:lnTo>
                      <a:pt x="49" y="95"/>
                    </a:lnTo>
                    <a:lnTo>
                      <a:pt x="57" y="91"/>
                    </a:lnTo>
                    <a:lnTo>
                      <a:pt x="62" y="91"/>
                    </a:lnTo>
                    <a:lnTo>
                      <a:pt x="69" y="94"/>
                    </a:lnTo>
                    <a:lnTo>
                      <a:pt x="73" y="92"/>
                    </a:lnTo>
                    <a:lnTo>
                      <a:pt x="78" y="88"/>
                    </a:lnTo>
                    <a:lnTo>
                      <a:pt x="86" y="86"/>
                    </a:lnTo>
                    <a:lnTo>
                      <a:pt x="98" y="82"/>
                    </a:lnTo>
                    <a:lnTo>
                      <a:pt x="106" y="77"/>
                    </a:lnTo>
                    <a:lnTo>
                      <a:pt x="111" y="75"/>
                    </a:lnTo>
                    <a:lnTo>
                      <a:pt x="118" y="75"/>
                    </a:lnTo>
                    <a:lnTo>
                      <a:pt x="120" y="71"/>
                    </a:lnTo>
                    <a:lnTo>
                      <a:pt x="129" y="70"/>
                    </a:lnTo>
                    <a:lnTo>
                      <a:pt x="126" y="63"/>
                    </a:lnTo>
                    <a:lnTo>
                      <a:pt x="129" y="56"/>
                    </a:lnTo>
                    <a:lnTo>
                      <a:pt x="134" y="53"/>
                    </a:lnTo>
                    <a:lnTo>
                      <a:pt x="138" y="55"/>
                    </a:lnTo>
                    <a:lnTo>
                      <a:pt x="144" y="54"/>
                    </a:lnTo>
                    <a:lnTo>
                      <a:pt x="150" y="53"/>
                    </a:lnTo>
                    <a:lnTo>
                      <a:pt x="157" y="54"/>
                    </a:lnTo>
                    <a:lnTo>
                      <a:pt x="158" y="57"/>
                    </a:lnTo>
                    <a:lnTo>
                      <a:pt x="165" y="62"/>
                    </a:lnTo>
                    <a:lnTo>
                      <a:pt x="167" y="63"/>
                    </a:lnTo>
                    <a:lnTo>
                      <a:pt x="179" y="64"/>
                    </a:lnTo>
                    <a:lnTo>
                      <a:pt x="185" y="64"/>
                    </a:lnTo>
                    <a:lnTo>
                      <a:pt x="195" y="67"/>
                    </a:lnTo>
                    <a:lnTo>
                      <a:pt x="202" y="73"/>
                    </a:lnTo>
                    <a:lnTo>
                      <a:pt x="207" y="78"/>
                    </a:lnTo>
                    <a:lnTo>
                      <a:pt x="222" y="78"/>
                    </a:lnTo>
                    <a:lnTo>
                      <a:pt x="230" y="79"/>
                    </a:lnTo>
                    <a:lnTo>
                      <a:pt x="236" y="84"/>
                    </a:lnTo>
                    <a:lnTo>
                      <a:pt x="243" y="88"/>
                    </a:lnTo>
                    <a:lnTo>
                      <a:pt x="251" y="90"/>
                    </a:lnTo>
                    <a:lnTo>
                      <a:pt x="260" y="96"/>
                    </a:lnTo>
                    <a:lnTo>
                      <a:pt x="267" y="99"/>
                    </a:lnTo>
                    <a:lnTo>
                      <a:pt x="275" y="97"/>
                    </a:lnTo>
                    <a:lnTo>
                      <a:pt x="279" y="92"/>
                    </a:lnTo>
                    <a:lnTo>
                      <a:pt x="287" y="92"/>
                    </a:lnTo>
                    <a:lnTo>
                      <a:pt x="291" y="96"/>
                    </a:lnTo>
                    <a:lnTo>
                      <a:pt x="293" y="101"/>
                    </a:lnTo>
                    <a:lnTo>
                      <a:pt x="299" y="102"/>
                    </a:lnTo>
                    <a:lnTo>
                      <a:pt x="305" y="97"/>
                    </a:lnTo>
                    <a:lnTo>
                      <a:pt x="310" y="93"/>
                    </a:lnTo>
                    <a:lnTo>
                      <a:pt x="315" y="93"/>
                    </a:lnTo>
                    <a:lnTo>
                      <a:pt x="320" y="85"/>
                    </a:lnTo>
                    <a:lnTo>
                      <a:pt x="327" y="85"/>
                    </a:lnTo>
                    <a:lnTo>
                      <a:pt x="333" y="86"/>
                    </a:lnTo>
                    <a:lnTo>
                      <a:pt x="338" y="85"/>
                    </a:lnTo>
                    <a:lnTo>
                      <a:pt x="339" y="78"/>
                    </a:lnTo>
                    <a:lnTo>
                      <a:pt x="344" y="73"/>
                    </a:lnTo>
                    <a:lnTo>
                      <a:pt x="351" y="75"/>
                    </a:lnTo>
                    <a:lnTo>
                      <a:pt x="355" y="79"/>
                    </a:lnTo>
                    <a:lnTo>
                      <a:pt x="361" y="82"/>
                    </a:lnTo>
                    <a:lnTo>
                      <a:pt x="366" y="73"/>
                    </a:lnTo>
                    <a:lnTo>
                      <a:pt x="372" y="70"/>
                    </a:lnTo>
                    <a:lnTo>
                      <a:pt x="376" y="69"/>
                    </a:lnTo>
                    <a:lnTo>
                      <a:pt x="384" y="61"/>
                    </a:lnTo>
                    <a:lnTo>
                      <a:pt x="388" y="52"/>
                    </a:lnTo>
                    <a:lnTo>
                      <a:pt x="388" y="45"/>
                    </a:lnTo>
                    <a:lnTo>
                      <a:pt x="391" y="38"/>
                    </a:lnTo>
                    <a:lnTo>
                      <a:pt x="395" y="34"/>
                    </a:lnTo>
                    <a:lnTo>
                      <a:pt x="400" y="26"/>
                    </a:lnTo>
                    <a:lnTo>
                      <a:pt x="406" y="20"/>
                    </a:lnTo>
                    <a:lnTo>
                      <a:pt x="412" y="18"/>
                    </a:lnTo>
                    <a:lnTo>
                      <a:pt x="421" y="18"/>
                    </a:lnTo>
                    <a:lnTo>
                      <a:pt x="426" y="14"/>
                    </a:lnTo>
                    <a:lnTo>
                      <a:pt x="422" y="8"/>
                    </a:lnTo>
                    <a:lnTo>
                      <a:pt x="422" y="2"/>
                    </a:lnTo>
                    <a:lnTo>
                      <a:pt x="427" y="0"/>
                    </a:lnTo>
                    <a:close/>
                  </a:path>
                </a:pathLst>
              </a:custGeom>
              <a:solidFill>
                <a:schemeClr val="accent6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6" name="Berlin">
                <a:extLst>
                  <a:ext uri="{FF2B5EF4-FFF2-40B4-BE49-F238E27FC236}">
                    <a16:creationId xmlns:a16="http://schemas.microsoft.com/office/drawing/2014/main" id="{6F19E377-0DD6-4052-8AD4-4FBDFEEEEDF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60570" y="2725738"/>
                <a:ext cx="184150" cy="139700"/>
              </a:xfrm>
              <a:custGeom>
                <a:avLst/>
                <a:gdLst/>
                <a:ahLst/>
                <a:cxnLst>
                  <a:cxn ang="0">
                    <a:pos x="67" y="1"/>
                  </a:cxn>
                  <a:cxn ang="0">
                    <a:pos x="71" y="6"/>
                  </a:cxn>
                  <a:cxn ang="0">
                    <a:pos x="69" y="18"/>
                  </a:cxn>
                  <a:cxn ang="0">
                    <a:pos x="77" y="24"/>
                  </a:cxn>
                  <a:cxn ang="0">
                    <a:pos x="89" y="30"/>
                  </a:cxn>
                  <a:cxn ang="0">
                    <a:pos x="95" y="41"/>
                  </a:cxn>
                  <a:cxn ang="0">
                    <a:pos x="102" y="53"/>
                  </a:cxn>
                  <a:cxn ang="0">
                    <a:pos x="114" y="67"/>
                  </a:cxn>
                  <a:cxn ang="0">
                    <a:pos x="113" y="82"/>
                  </a:cxn>
                  <a:cxn ang="0">
                    <a:pos x="104" y="88"/>
                  </a:cxn>
                  <a:cxn ang="0">
                    <a:pos x="89" y="84"/>
                  </a:cxn>
                  <a:cxn ang="0">
                    <a:pos x="69" y="77"/>
                  </a:cxn>
                  <a:cxn ang="0">
                    <a:pos x="68" y="77"/>
                  </a:cxn>
                  <a:cxn ang="0">
                    <a:pos x="65" y="78"/>
                  </a:cxn>
                  <a:cxn ang="0">
                    <a:pos x="63" y="79"/>
                  </a:cxn>
                  <a:cxn ang="0">
                    <a:pos x="60" y="81"/>
                  </a:cxn>
                  <a:cxn ang="0">
                    <a:pos x="58" y="82"/>
                  </a:cxn>
                  <a:cxn ang="0">
                    <a:pos x="55" y="84"/>
                  </a:cxn>
                  <a:cxn ang="0">
                    <a:pos x="49" y="86"/>
                  </a:cxn>
                  <a:cxn ang="0">
                    <a:pos x="47" y="84"/>
                  </a:cxn>
                  <a:cxn ang="0">
                    <a:pos x="45" y="82"/>
                  </a:cxn>
                  <a:cxn ang="0">
                    <a:pos x="24" y="82"/>
                  </a:cxn>
                  <a:cxn ang="0">
                    <a:pos x="5" y="79"/>
                  </a:cxn>
                  <a:cxn ang="0">
                    <a:pos x="0" y="65"/>
                  </a:cxn>
                  <a:cxn ang="0">
                    <a:pos x="9" y="58"/>
                  </a:cxn>
                  <a:cxn ang="0">
                    <a:pos x="11" y="48"/>
                  </a:cxn>
                  <a:cxn ang="0">
                    <a:pos x="2" y="42"/>
                  </a:cxn>
                  <a:cxn ang="0">
                    <a:pos x="3" y="25"/>
                  </a:cxn>
                  <a:cxn ang="0">
                    <a:pos x="14" y="23"/>
                  </a:cxn>
                  <a:cxn ang="0">
                    <a:pos x="20" y="17"/>
                  </a:cxn>
                  <a:cxn ang="0">
                    <a:pos x="28" y="5"/>
                  </a:cxn>
                  <a:cxn ang="0">
                    <a:pos x="41" y="6"/>
                  </a:cxn>
                  <a:cxn ang="0">
                    <a:pos x="54" y="8"/>
                  </a:cxn>
                  <a:cxn ang="0">
                    <a:pos x="62" y="0"/>
                  </a:cxn>
                </a:cxnLst>
                <a:rect l="0" t="0" r="r" b="b"/>
                <a:pathLst>
                  <a:path w="116" h="88">
                    <a:moveTo>
                      <a:pt x="62" y="0"/>
                    </a:moveTo>
                    <a:lnTo>
                      <a:pt x="67" y="1"/>
                    </a:lnTo>
                    <a:lnTo>
                      <a:pt x="70" y="3"/>
                    </a:lnTo>
                    <a:lnTo>
                      <a:pt x="71" y="6"/>
                    </a:lnTo>
                    <a:lnTo>
                      <a:pt x="70" y="11"/>
                    </a:lnTo>
                    <a:lnTo>
                      <a:pt x="69" y="18"/>
                    </a:lnTo>
                    <a:lnTo>
                      <a:pt x="70" y="22"/>
                    </a:lnTo>
                    <a:lnTo>
                      <a:pt x="77" y="24"/>
                    </a:lnTo>
                    <a:lnTo>
                      <a:pt x="85" y="27"/>
                    </a:lnTo>
                    <a:lnTo>
                      <a:pt x="89" y="30"/>
                    </a:lnTo>
                    <a:lnTo>
                      <a:pt x="91" y="36"/>
                    </a:lnTo>
                    <a:lnTo>
                      <a:pt x="95" y="41"/>
                    </a:lnTo>
                    <a:lnTo>
                      <a:pt x="98" y="45"/>
                    </a:lnTo>
                    <a:lnTo>
                      <a:pt x="102" y="53"/>
                    </a:lnTo>
                    <a:lnTo>
                      <a:pt x="108" y="61"/>
                    </a:lnTo>
                    <a:lnTo>
                      <a:pt x="114" y="67"/>
                    </a:lnTo>
                    <a:lnTo>
                      <a:pt x="116" y="73"/>
                    </a:lnTo>
                    <a:lnTo>
                      <a:pt x="113" y="82"/>
                    </a:lnTo>
                    <a:lnTo>
                      <a:pt x="107" y="85"/>
                    </a:lnTo>
                    <a:lnTo>
                      <a:pt x="104" y="88"/>
                    </a:lnTo>
                    <a:lnTo>
                      <a:pt x="96" y="87"/>
                    </a:lnTo>
                    <a:lnTo>
                      <a:pt x="89" y="84"/>
                    </a:lnTo>
                    <a:lnTo>
                      <a:pt x="79" y="82"/>
                    </a:lnTo>
                    <a:lnTo>
                      <a:pt x="69" y="77"/>
                    </a:lnTo>
                    <a:lnTo>
                      <a:pt x="69" y="77"/>
                    </a:lnTo>
                    <a:lnTo>
                      <a:pt x="68" y="77"/>
                    </a:lnTo>
                    <a:lnTo>
                      <a:pt x="67" y="77"/>
                    </a:lnTo>
                    <a:lnTo>
                      <a:pt x="65" y="78"/>
                    </a:lnTo>
                    <a:lnTo>
                      <a:pt x="65" y="78"/>
                    </a:lnTo>
                    <a:lnTo>
                      <a:pt x="63" y="79"/>
                    </a:lnTo>
                    <a:lnTo>
                      <a:pt x="62" y="80"/>
                    </a:lnTo>
                    <a:lnTo>
                      <a:pt x="60" y="81"/>
                    </a:lnTo>
                    <a:lnTo>
                      <a:pt x="59" y="82"/>
                    </a:lnTo>
                    <a:lnTo>
                      <a:pt x="58" y="82"/>
                    </a:lnTo>
                    <a:lnTo>
                      <a:pt x="58" y="83"/>
                    </a:lnTo>
                    <a:lnTo>
                      <a:pt x="55" y="84"/>
                    </a:lnTo>
                    <a:lnTo>
                      <a:pt x="54" y="86"/>
                    </a:lnTo>
                    <a:lnTo>
                      <a:pt x="49" y="86"/>
                    </a:lnTo>
                    <a:lnTo>
                      <a:pt x="47" y="85"/>
                    </a:lnTo>
                    <a:lnTo>
                      <a:pt x="47" y="84"/>
                    </a:lnTo>
                    <a:lnTo>
                      <a:pt x="45" y="82"/>
                    </a:lnTo>
                    <a:lnTo>
                      <a:pt x="45" y="82"/>
                    </a:lnTo>
                    <a:lnTo>
                      <a:pt x="43" y="82"/>
                    </a:lnTo>
                    <a:lnTo>
                      <a:pt x="24" y="82"/>
                    </a:lnTo>
                    <a:lnTo>
                      <a:pt x="14" y="81"/>
                    </a:lnTo>
                    <a:lnTo>
                      <a:pt x="5" y="79"/>
                    </a:lnTo>
                    <a:lnTo>
                      <a:pt x="3" y="75"/>
                    </a:lnTo>
                    <a:lnTo>
                      <a:pt x="0" y="65"/>
                    </a:lnTo>
                    <a:lnTo>
                      <a:pt x="0" y="60"/>
                    </a:lnTo>
                    <a:lnTo>
                      <a:pt x="9" y="58"/>
                    </a:lnTo>
                    <a:lnTo>
                      <a:pt x="9" y="53"/>
                    </a:lnTo>
                    <a:lnTo>
                      <a:pt x="11" y="48"/>
                    </a:lnTo>
                    <a:lnTo>
                      <a:pt x="7" y="45"/>
                    </a:lnTo>
                    <a:lnTo>
                      <a:pt x="2" y="42"/>
                    </a:lnTo>
                    <a:lnTo>
                      <a:pt x="3" y="33"/>
                    </a:lnTo>
                    <a:lnTo>
                      <a:pt x="3" y="25"/>
                    </a:lnTo>
                    <a:lnTo>
                      <a:pt x="6" y="23"/>
                    </a:lnTo>
                    <a:lnTo>
                      <a:pt x="14" y="23"/>
                    </a:lnTo>
                    <a:lnTo>
                      <a:pt x="17" y="22"/>
                    </a:lnTo>
                    <a:lnTo>
                      <a:pt x="20" y="17"/>
                    </a:lnTo>
                    <a:lnTo>
                      <a:pt x="26" y="11"/>
                    </a:lnTo>
                    <a:lnTo>
                      <a:pt x="28" y="5"/>
                    </a:lnTo>
                    <a:lnTo>
                      <a:pt x="34" y="5"/>
                    </a:lnTo>
                    <a:lnTo>
                      <a:pt x="41" y="6"/>
                    </a:lnTo>
                    <a:lnTo>
                      <a:pt x="49" y="8"/>
                    </a:lnTo>
                    <a:lnTo>
                      <a:pt x="54" y="8"/>
                    </a:lnTo>
                    <a:lnTo>
                      <a:pt x="59" y="3"/>
                    </a:lnTo>
                    <a:lnTo>
                      <a:pt x="6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7" name="Bayern">
                <a:extLst>
                  <a:ext uri="{FF2B5EF4-FFF2-40B4-BE49-F238E27FC236}">
                    <a16:creationId xmlns:a16="http://schemas.microsoft.com/office/drawing/2014/main" id="{1B0EBCD0-464C-44D2-A0BE-7C23DF26CC4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84233" y="3713163"/>
                <a:ext cx="1458913" cy="1516063"/>
              </a:xfrm>
              <a:custGeom>
                <a:avLst/>
                <a:gdLst/>
                <a:ahLst/>
                <a:cxnLst>
                  <a:cxn ang="0">
                    <a:pos x="249" y="29"/>
                  </a:cxn>
                  <a:cxn ang="0">
                    <a:pos x="293" y="66"/>
                  </a:cxn>
                  <a:cxn ang="0">
                    <a:pos x="325" y="93"/>
                  </a:cxn>
                  <a:cxn ang="0">
                    <a:pos x="340" y="50"/>
                  </a:cxn>
                  <a:cxn ang="0">
                    <a:pos x="404" y="75"/>
                  </a:cxn>
                  <a:cxn ang="0">
                    <a:pos x="424" y="9"/>
                  </a:cxn>
                  <a:cxn ang="0">
                    <a:pos x="458" y="44"/>
                  </a:cxn>
                  <a:cxn ang="0">
                    <a:pos x="524" y="46"/>
                  </a:cxn>
                  <a:cxn ang="0">
                    <a:pos x="580" y="64"/>
                  </a:cxn>
                  <a:cxn ang="0">
                    <a:pos x="593" y="104"/>
                  </a:cxn>
                  <a:cxn ang="0">
                    <a:pos x="657" y="184"/>
                  </a:cxn>
                  <a:cxn ang="0">
                    <a:pos x="673" y="275"/>
                  </a:cxn>
                  <a:cxn ang="0">
                    <a:pos x="710" y="334"/>
                  </a:cxn>
                  <a:cxn ang="0">
                    <a:pos x="772" y="391"/>
                  </a:cxn>
                  <a:cxn ang="0">
                    <a:pos x="852" y="450"/>
                  </a:cxn>
                  <a:cxn ang="0">
                    <a:pos x="903" y="493"/>
                  </a:cxn>
                  <a:cxn ang="0">
                    <a:pos x="919" y="550"/>
                  </a:cxn>
                  <a:cxn ang="0">
                    <a:pos x="857" y="567"/>
                  </a:cxn>
                  <a:cxn ang="0">
                    <a:pos x="827" y="630"/>
                  </a:cxn>
                  <a:cxn ang="0">
                    <a:pos x="751" y="675"/>
                  </a:cxn>
                  <a:cxn ang="0">
                    <a:pos x="719" y="704"/>
                  </a:cxn>
                  <a:cxn ang="0">
                    <a:pos x="751" y="754"/>
                  </a:cxn>
                  <a:cxn ang="0">
                    <a:pos x="776" y="842"/>
                  </a:cxn>
                  <a:cxn ang="0">
                    <a:pos x="719" y="861"/>
                  </a:cxn>
                  <a:cxn ang="0">
                    <a:pos x="669" y="847"/>
                  </a:cxn>
                  <a:cxn ang="0">
                    <a:pos x="611" y="826"/>
                  </a:cxn>
                  <a:cxn ang="0">
                    <a:pos x="566" y="854"/>
                  </a:cxn>
                  <a:cxn ang="0">
                    <a:pos x="489" y="870"/>
                  </a:cxn>
                  <a:cxn ang="0">
                    <a:pos x="442" y="906"/>
                  </a:cxn>
                  <a:cxn ang="0">
                    <a:pos x="404" y="911"/>
                  </a:cxn>
                  <a:cxn ang="0">
                    <a:pos x="324" y="881"/>
                  </a:cxn>
                  <a:cxn ang="0">
                    <a:pos x="267" y="866"/>
                  </a:cxn>
                  <a:cxn ang="0">
                    <a:pos x="251" y="928"/>
                  </a:cxn>
                  <a:cxn ang="0">
                    <a:pos x="216" y="921"/>
                  </a:cxn>
                  <a:cxn ang="0">
                    <a:pos x="157" y="877"/>
                  </a:cxn>
                  <a:cxn ang="0">
                    <a:pos x="122" y="850"/>
                  </a:cxn>
                  <a:cxn ang="0">
                    <a:pos x="200" y="833"/>
                  </a:cxn>
                  <a:cxn ang="0">
                    <a:pos x="202" y="767"/>
                  </a:cxn>
                  <a:cxn ang="0">
                    <a:pos x="206" y="698"/>
                  </a:cxn>
                  <a:cxn ang="0">
                    <a:pos x="214" y="611"/>
                  </a:cxn>
                  <a:cxn ang="0">
                    <a:pos x="250" y="542"/>
                  </a:cxn>
                  <a:cxn ang="0">
                    <a:pos x="280" y="469"/>
                  </a:cxn>
                  <a:cxn ang="0">
                    <a:pos x="220" y="396"/>
                  </a:cxn>
                  <a:cxn ang="0">
                    <a:pos x="202" y="303"/>
                  </a:cxn>
                  <a:cxn ang="0">
                    <a:pos x="169" y="286"/>
                  </a:cxn>
                  <a:cxn ang="0">
                    <a:pos x="134" y="245"/>
                  </a:cxn>
                  <a:cxn ang="0">
                    <a:pos x="78" y="222"/>
                  </a:cxn>
                  <a:cxn ang="0">
                    <a:pos x="74" y="255"/>
                  </a:cxn>
                  <a:cxn ang="0">
                    <a:pos x="11" y="275"/>
                  </a:cxn>
                  <a:cxn ang="0">
                    <a:pos x="22" y="239"/>
                  </a:cxn>
                  <a:cxn ang="0">
                    <a:pos x="5" y="197"/>
                  </a:cxn>
                  <a:cxn ang="0">
                    <a:pos x="8" y="160"/>
                  </a:cxn>
                  <a:cxn ang="0">
                    <a:pos x="12" y="124"/>
                  </a:cxn>
                  <a:cxn ang="0">
                    <a:pos x="22" y="125"/>
                  </a:cxn>
                  <a:cxn ang="0">
                    <a:pos x="44" y="121"/>
                  </a:cxn>
                  <a:cxn ang="0">
                    <a:pos x="91" y="133"/>
                  </a:cxn>
                  <a:cxn ang="0">
                    <a:pos x="117" y="95"/>
                  </a:cxn>
                  <a:cxn ang="0">
                    <a:pos x="143" y="44"/>
                  </a:cxn>
                  <a:cxn ang="0">
                    <a:pos x="191" y="22"/>
                  </a:cxn>
                </a:cxnLst>
                <a:rect l="0" t="0" r="r" b="b"/>
                <a:pathLst>
                  <a:path w="919" h="955">
                    <a:moveTo>
                      <a:pt x="199" y="0"/>
                    </a:moveTo>
                    <a:lnTo>
                      <a:pt x="203" y="1"/>
                    </a:lnTo>
                    <a:lnTo>
                      <a:pt x="210" y="7"/>
                    </a:lnTo>
                    <a:lnTo>
                      <a:pt x="220" y="7"/>
                    </a:lnTo>
                    <a:lnTo>
                      <a:pt x="224" y="7"/>
                    </a:lnTo>
                    <a:lnTo>
                      <a:pt x="225" y="11"/>
                    </a:lnTo>
                    <a:lnTo>
                      <a:pt x="228" y="16"/>
                    </a:lnTo>
                    <a:lnTo>
                      <a:pt x="232" y="20"/>
                    </a:lnTo>
                    <a:lnTo>
                      <a:pt x="236" y="22"/>
                    </a:lnTo>
                    <a:lnTo>
                      <a:pt x="246" y="22"/>
                    </a:lnTo>
                    <a:lnTo>
                      <a:pt x="250" y="25"/>
                    </a:lnTo>
                    <a:lnTo>
                      <a:pt x="249" y="29"/>
                    </a:lnTo>
                    <a:lnTo>
                      <a:pt x="250" y="33"/>
                    </a:lnTo>
                    <a:lnTo>
                      <a:pt x="252" y="36"/>
                    </a:lnTo>
                    <a:lnTo>
                      <a:pt x="258" y="38"/>
                    </a:lnTo>
                    <a:lnTo>
                      <a:pt x="258" y="40"/>
                    </a:lnTo>
                    <a:lnTo>
                      <a:pt x="261" y="46"/>
                    </a:lnTo>
                    <a:lnTo>
                      <a:pt x="262" y="52"/>
                    </a:lnTo>
                    <a:lnTo>
                      <a:pt x="265" y="55"/>
                    </a:lnTo>
                    <a:lnTo>
                      <a:pt x="273" y="54"/>
                    </a:lnTo>
                    <a:lnTo>
                      <a:pt x="278" y="56"/>
                    </a:lnTo>
                    <a:lnTo>
                      <a:pt x="285" y="61"/>
                    </a:lnTo>
                    <a:lnTo>
                      <a:pt x="289" y="63"/>
                    </a:lnTo>
                    <a:lnTo>
                      <a:pt x="293" y="66"/>
                    </a:lnTo>
                    <a:lnTo>
                      <a:pt x="295" y="73"/>
                    </a:lnTo>
                    <a:lnTo>
                      <a:pt x="295" y="79"/>
                    </a:lnTo>
                    <a:lnTo>
                      <a:pt x="296" y="85"/>
                    </a:lnTo>
                    <a:lnTo>
                      <a:pt x="296" y="90"/>
                    </a:lnTo>
                    <a:lnTo>
                      <a:pt x="298" y="96"/>
                    </a:lnTo>
                    <a:lnTo>
                      <a:pt x="303" y="97"/>
                    </a:lnTo>
                    <a:lnTo>
                      <a:pt x="307" y="97"/>
                    </a:lnTo>
                    <a:lnTo>
                      <a:pt x="311" y="99"/>
                    </a:lnTo>
                    <a:lnTo>
                      <a:pt x="316" y="101"/>
                    </a:lnTo>
                    <a:lnTo>
                      <a:pt x="320" y="99"/>
                    </a:lnTo>
                    <a:lnTo>
                      <a:pt x="322" y="94"/>
                    </a:lnTo>
                    <a:lnTo>
                      <a:pt x="325" y="93"/>
                    </a:lnTo>
                    <a:lnTo>
                      <a:pt x="333" y="93"/>
                    </a:lnTo>
                    <a:lnTo>
                      <a:pt x="336" y="90"/>
                    </a:lnTo>
                    <a:lnTo>
                      <a:pt x="338" y="86"/>
                    </a:lnTo>
                    <a:lnTo>
                      <a:pt x="336" y="82"/>
                    </a:lnTo>
                    <a:lnTo>
                      <a:pt x="328" y="77"/>
                    </a:lnTo>
                    <a:lnTo>
                      <a:pt x="322" y="73"/>
                    </a:lnTo>
                    <a:lnTo>
                      <a:pt x="321" y="66"/>
                    </a:lnTo>
                    <a:lnTo>
                      <a:pt x="322" y="61"/>
                    </a:lnTo>
                    <a:lnTo>
                      <a:pt x="324" y="56"/>
                    </a:lnTo>
                    <a:lnTo>
                      <a:pt x="331" y="53"/>
                    </a:lnTo>
                    <a:lnTo>
                      <a:pt x="334" y="51"/>
                    </a:lnTo>
                    <a:lnTo>
                      <a:pt x="340" y="50"/>
                    </a:lnTo>
                    <a:lnTo>
                      <a:pt x="347" y="49"/>
                    </a:lnTo>
                    <a:lnTo>
                      <a:pt x="352" y="51"/>
                    </a:lnTo>
                    <a:lnTo>
                      <a:pt x="355" y="55"/>
                    </a:lnTo>
                    <a:lnTo>
                      <a:pt x="367" y="57"/>
                    </a:lnTo>
                    <a:lnTo>
                      <a:pt x="375" y="57"/>
                    </a:lnTo>
                    <a:lnTo>
                      <a:pt x="380" y="55"/>
                    </a:lnTo>
                    <a:lnTo>
                      <a:pt x="391" y="55"/>
                    </a:lnTo>
                    <a:lnTo>
                      <a:pt x="393" y="60"/>
                    </a:lnTo>
                    <a:lnTo>
                      <a:pt x="392" y="66"/>
                    </a:lnTo>
                    <a:lnTo>
                      <a:pt x="392" y="71"/>
                    </a:lnTo>
                    <a:lnTo>
                      <a:pt x="399" y="73"/>
                    </a:lnTo>
                    <a:lnTo>
                      <a:pt x="404" y="75"/>
                    </a:lnTo>
                    <a:lnTo>
                      <a:pt x="410" y="77"/>
                    </a:lnTo>
                    <a:lnTo>
                      <a:pt x="415" y="71"/>
                    </a:lnTo>
                    <a:lnTo>
                      <a:pt x="413" y="61"/>
                    </a:lnTo>
                    <a:lnTo>
                      <a:pt x="415" y="52"/>
                    </a:lnTo>
                    <a:lnTo>
                      <a:pt x="415" y="45"/>
                    </a:lnTo>
                    <a:lnTo>
                      <a:pt x="415" y="37"/>
                    </a:lnTo>
                    <a:lnTo>
                      <a:pt x="413" y="29"/>
                    </a:lnTo>
                    <a:lnTo>
                      <a:pt x="413" y="24"/>
                    </a:lnTo>
                    <a:lnTo>
                      <a:pt x="419" y="18"/>
                    </a:lnTo>
                    <a:lnTo>
                      <a:pt x="422" y="16"/>
                    </a:lnTo>
                    <a:lnTo>
                      <a:pt x="424" y="15"/>
                    </a:lnTo>
                    <a:lnTo>
                      <a:pt x="424" y="9"/>
                    </a:lnTo>
                    <a:lnTo>
                      <a:pt x="430" y="7"/>
                    </a:lnTo>
                    <a:lnTo>
                      <a:pt x="433" y="7"/>
                    </a:lnTo>
                    <a:lnTo>
                      <a:pt x="439" y="8"/>
                    </a:lnTo>
                    <a:lnTo>
                      <a:pt x="441" y="9"/>
                    </a:lnTo>
                    <a:lnTo>
                      <a:pt x="445" y="11"/>
                    </a:lnTo>
                    <a:lnTo>
                      <a:pt x="448" y="14"/>
                    </a:lnTo>
                    <a:lnTo>
                      <a:pt x="450" y="19"/>
                    </a:lnTo>
                    <a:lnTo>
                      <a:pt x="448" y="24"/>
                    </a:lnTo>
                    <a:lnTo>
                      <a:pt x="446" y="31"/>
                    </a:lnTo>
                    <a:lnTo>
                      <a:pt x="450" y="36"/>
                    </a:lnTo>
                    <a:lnTo>
                      <a:pt x="457" y="40"/>
                    </a:lnTo>
                    <a:lnTo>
                      <a:pt x="458" y="44"/>
                    </a:lnTo>
                    <a:lnTo>
                      <a:pt x="462" y="50"/>
                    </a:lnTo>
                    <a:lnTo>
                      <a:pt x="465" y="51"/>
                    </a:lnTo>
                    <a:lnTo>
                      <a:pt x="473" y="50"/>
                    </a:lnTo>
                    <a:lnTo>
                      <a:pt x="477" y="49"/>
                    </a:lnTo>
                    <a:lnTo>
                      <a:pt x="484" y="51"/>
                    </a:lnTo>
                    <a:lnTo>
                      <a:pt x="488" y="47"/>
                    </a:lnTo>
                    <a:lnTo>
                      <a:pt x="492" y="44"/>
                    </a:lnTo>
                    <a:lnTo>
                      <a:pt x="499" y="42"/>
                    </a:lnTo>
                    <a:lnTo>
                      <a:pt x="503" y="42"/>
                    </a:lnTo>
                    <a:lnTo>
                      <a:pt x="508" y="41"/>
                    </a:lnTo>
                    <a:lnTo>
                      <a:pt x="519" y="45"/>
                    </a:lnTo>
                    <a:lnTo>
                      <a:pt x="524" y="46"/>
                    </a:lnTo>
                    <a:lnTo>
                      <a:pt x="531" y="43"/>
                    </a:lnTo>
                    <a:lnTo>
                      <a:pt x="535" y="36"/>
                    </a:lnTo>
                    <a:lnTo>
                      <a:pt x="537" y="39"/>
                    </a:lnTo>
                    <a:lnTo>
                      <a:pt x="542" y="44"/>
                    </a:lnTo>
                    <a:lnTo>
                      <a:pt x="548" y="51"/>
                    </a:lnTo>
                    <a:lnTo>
                      <a:pt x="546" y="57"/>
                    </a:lnTo>
                    <a:lnTo>
                      <a:pt x="551" y="63"/>
                    </a:lnTo>
                    <a:lnTo>
                      <a:pt x="554" y="67"/>
                    </a:lnTo>
                    <a:lnTo>
                      <a:pt x="562" y="68"/>
                    </a:lnTo>
                    <a:lnTo>
                      <a:pt x="570" y="65"/>
                    </a:lnTo>
                    <a:lnTo>
                      <a:pt x="576" y="65"/>
                    </a:lnTo>
                    <a:lnTo>
                      <a:pt x="580" y="64"/>
                    </a:lnTo>
                    <a:lnTo>
                      <a:pt x="578" y="68"/>
                    </a:lnTo>
                    <a:lnTo>
                      <a:pt x="579" y="73"/>
                    </a:lnTo>
                    <a:lnTo>
                      <a:pt x="582" y="76"/>
                    </a:lnTo>
                    <a:lnTo>
                      <a:pt x="585" y="81"/>
                    </a:lnTo>
                    <a:lnTo>
                      <a:pt x="584" y="85"/>
                    </a:lnTo>
                    <a:lnTo>
                      <a:pt x="582" y="88"/>
                    </a:lnTo>
                    <a:lnTo>
                      <a:pt x="577" y="89"/>
                    </a:lnTo>
                    <a:lnTo>
                      <a:pt x="575" y="92"/>
                    </a:lnTo>
                    <a:lnTo>
                      <a:pt x="580" y="95"/>
                    </a:lnTo>
                    <a:lnTo>
                      <a:pt x="586" y="97"/>
                    </a:lnTo>
                    <a:lnTo>
                      <a:pt x="590" y="100"/>
                    </a:lnTo>
                    <a:lnTo>
                      <a:pt x="593" y="104"/>
                    </a:lnTo>
                    <a:lnTo>
                      <a:pt x="592" y="112"/>
                    </a:lnTo>
                    <a:lnTo>
                      <a:pt x="594" y="125"/>
                    </a:lnTo>
                    <a:lnTo>
                      <a:pt x="596" y="133"/>
                    </a:lnTo>
                    <a:lnTo>
                      <a:pt x="606" y="144"/>
                    </a:lnTo>
                    <a:lnTo>
                      <a:pt x="610" y="150"/>
                    </a:lnTo>
                    <a:lnTo>
                      <a:pt x="622" y="154"/>
                    </a:lnTo>
                    <a:lnTo>
                      <a:pt x="629" y="159"/>
                    </a:lnTo>
                    <a:lnTo>
                      <a:pt x="637" y="162"/>
                    </a:lnTo>
                    <a:lnTo>
                      <a:pt x="646" y="163"/>
                    </a:lnTo>
                    <a:lnTo>
                      <a:pt x="650" y="169"/>
                    </a:lnTo>
                    <a:lnTo>
                      <a:pt x="650" y="182"/>
                    </a:lnTo>
                    <a:lnTo>
                      <a:pt x="657" y="184"/>
                    </a:lnTo>
                    <a:lnTo>
                      <a:pt x="658" y="188"/>
                    </a:lnTo>
                    <a:lnTo>
                      <a:pt x="654" y="207"/>
                    </a:lnTo>
                    <a:lnTo>
                      <a:pt x="648" y="214"/>
                    </a:lnTo>
                    <a:lnTo>
                      <a:pt x="644" y="225"/>
                    </a:lnTo>
                    <a:lnTo>
                      <a:pt x="639" y="231"/>
                    </a:lnTo>
                    <a:lnTo>
                      <a:pt x="635" y="236"/>
                    </a:lnTo>
                    <a:lnTo>
                      <a:pt x="638" y="244"/>
                    </a:lnTo>
                    <a:lnTo>
                      <a:pt x="648" y="251"/>
                    </a:lnTo>
                    <a:lnTo>
                      <a:pt x="655" y="255"/>
                    </a:lnTo>
                    <a:lnTo>
                      <a:pt x="665" y="262"/>
                    </a:lnTo>
                    <a:lnTo>
                      <a:pt x="669" y="269"/>
                    </a:lnTo>
                    <a:lnTo>
                      <a:pt x="673" y="275"/>
                    </a:lnTo>
                    <a:lnTo>
                      <a:pt x="673" y="290"/>
                    </a:lnTo>
                    <a:lnTo>
                      <a:pt x="671" y="298"/>
                    </a:lnTo>
                    <a:lnTo>
                      <a:pt x="674" y="302"/>
                    </a:lnTo>
                    <a:lnTo>
                      <a:pt x="678" y="304"/>
                    </a:lnTo>
                    <a:lnTo>
                      <a:pt x="681" y="299"/>
                    </a:lnTo>
                    <a:lnTo>
                      <a:pt x="686" y="299"/>
                    </a:lnTo>
                    <a:lnTo>
                      <a:pt x="687" y="307"/>
                    </a:lnTo>
                    <a:lnTo>
                      <a:pt x="686" y="318"/>
                    </a:lnTo>
                    <a:lnTo>
                      <a:pt x="694" y="328"/>
                    </a:lnTo>
                    <a:lnTo>
                      <a:pt x="700" y="332"/>
                    </a:lnTo>
                    <a:lnTo>
                      <a:pt x="706" y="334"/>
                    </a:lnTo>
                    <a:lnTo>
                      <a:pt x="710" y="334"/>
                    </a:lnTo>
                    <a:lnTo>
                      <a:pt x="711" y="338"/>
                    </a:lnTo>
                    <a:lnTo>
                      <a:pt x="710" y="348"/>
                    </a:lnTo>
                    <a:lnTo>
                      <a:pt x="714" y="352"/>
                    </a:lnTo>
                    <a:lnTo>
                      <a:pt x="720" y="354"/>
                    </a:lnTo>
                    <a:lnTo>
                      <a:pt x="732" y="355"/>
                    </a:lnTo>
                    <a:lnTo>
                      <a:pt x="736" y="355"/>
                    </a:lnTo>
                    <a:lnTo>
                      <a:pt x="740" y="350"/>
                    </a:lnTo>
                    <a:lnTo>
                      <a:pt x="745" y="351"/>
                    </a:lnTo>
                    <a:lnTo>
                      <a:pt x="750" y="355"/>
                    </a:lnTo>
                    <a:lnTo>
                      <a:pt x="761" y="381"/>
                    </a:lnTo>
                    <a:lnTo>
                      <a:pt x="764" y="385"/>
                    </a:lnTo>
                    <a:lnTo>
                      <a:pt x="772" y="391"/>
                    </a:lnTo>
                    <a:lnTo>
                      <a:pt x="788" y="402"/>
                    </a:lnTo>
                    <a:lnTo>
                      <a:pt x="796" y="407"/>
                    </a:lnTo>
                    <a:lnTo>
                      <a:pt x="806" y="414"/>
                    </a:lnTo>
                    <a:lnTo>
                      <a:pt x="818" y="422"/>
                    </a:lnTo>
                    <a:lnTo>
                      <a:pt x="823" y="427"/>
                    </a:lnTo>
                    <a:lnTo>
                      <a:pt x="832" y="437"/>
                    </a:lnTo>
                    <a:lnTo>
                      <a:pt x="834" y="444"/>
                    </a:lnTo>
                    <a:lnTo>
                      <a:pt x="836" y="451"/>
                    </a:lnTo>
                    <a:lnTo>
                      <a:pt x="837" y="456"/>
                    </a:lnTo>
                    <a:lnTo>
                      <a:pt x="843" y="459"/>
                    </a:lnTo>
                    <a:lnTo>
                      <a:pt x="852" y="458"/>
                    </a:lnTo>
                    <a:lnTo>
                      <a:pt x="852" y="450"/>
                    </a:lnTo>
                    <a:lnTo>
                      <a:pt x="859" y="448"/>
                    </a:lnTo>
                    <a:lnTo>
                      <a:pt x="870" y="451"/>
                    </a:lnTo>
                    <a:lnTo>
                      <a:pt x="875" y="459"/>
                    </a:lnTo>
                    <a:lnTo>
                      <a:pt x="879" y="473"/>
                    </a:lnTo>
                    <a:lnTo>
                      <a:pt x="877" y="476"/>
                    </a:lnTo>
                    <a:lnTo>
                      <a:pt x="878" y="481"/>
                    </a:lnTo>
                    <a:lnTo>
                      <a:pt x="881" y="483"/>
                    </a:lnTo>
                    <a:lnTo>
                      <a:pt x="884" y="480"/>
                    </a:lnTo>
                    <a:lnTo>
                      <a:pt x="891" y="478"/>
                    </a:lnTo>
                    <a:lnTo>
                      <a:pt x="896" y="478"/>
                    </a:lnTo>
                    <a:lnTo>
                      <a:pt x="900" y="484"/>
                    </a:lnTo>
                    <a:lnTo>
                      <a:pt x="903" y="493"/>
                    </a:lnTo>
                    <a:lnTo>
                      <a:pt x="906" y="497"/>
                    </a:lnTo>
                    <a:lnTo>
                      <a:pt x="910" y="499"/>
                    </a:lnTo>
                    <a:lnTo>
                      <a:pt x="914" y="501"/>
                    </a:lnTo>
                    <a:lnTo>
                      <a:pt x="917" y="504"/>
                    </a:lnTo>
                    <a:lnTo>
                      <a:pt x="919" y="510"/>
                    </a:lnTo>
                    <a:lnTo>
                      <a:pt x="916" y="516"/>
                    </a:lnTo>
                    <a:lnTo>
                      <a:pt x="912" y="521"/>
                    </a:lnTo>
                    <a:lnTo>
                      <a:pt x="908" y="523"/>
                    </a:lnTo>
                    <a:lnTo>
                      <a:pt x="912" y="527"/>
                    </a:lnTo>
                    <a:lnTo>
                      <a:pt x="918" y="533"/>
                    </a:lnTo>
                    <a:lnTo>
                      <a:pt x="919" y="542"/>
                    </a:lnTo>
                    <a:lnTo>
                      <a:pt x="919" y="550"/>
                    </a:lnTo>
                    <a:lnTo>
                      <a:pt x="918" y="560"/>
                    </a:lnTo>
                    <a:lnTo>
                      <a:pt x="914" y="565"/>
                    </a:lnTo>
                    <a:lnTo>
                      <a:pt x="908" y="568"/>
                    </a:lnTo>
                    <a:lnTo>
                      <a:pt x="903" y="568"/>
                    </a:lnTo>
                    <a:lnTo>
                      <a:pt x="902" y="575"/>
                    </a:lnTo>
                    <a:lnTo>
                      <a:pt x="903" y="583"/>
                    </a:lnTo>
                    <a:lnTo>
                      <a:pt x="898" y="587"/>
                    </a:lnTo>
                    <a:lnTo>
                      <a:pt x="890" y="585"/>
                    </a:lnTo>
                    <a:lnTo>
                      <a:pt x="888" y="582"/>
                    </a:lnTo>
                    <a:lnTo>
                      <a:pt x="873" y="571"/>
                    </a:lnTo>
                    <a:lnTo>
                      <a:pt x="863" y="567"/>
                    </a:lnTo>
                    <a:lnTo>
                      <a:pt x="857" y="567"/>
                    </a:lnTo>
                    <a:lnTo>
                      <a:pt x="849" y="565"/>
                    </a:lnTo>
                    <a:lnTo>
                      <a:pt x="842" y="568"/>
                    </a:lnTo>
                    <a:lnTo>
                      <a:pt x="840" y="574"/>
                    </a:lnTo>
                    <a:lnTo>
                      <a:pt x="844" y="581"/>
                    </a:lnTo>
                    <a:lnTo>
                      <a:pt x="845" y="587"/>
                    </a:lnTo>
                    <a:lnTo>
                      <a:pt x="841" y="592"/>
                    </a:lnTo>
                    <a:lnTo>
                      <a:pt x="838" y="597"/>
                    </a:lnTo>
                    <a:lnTo>
                      <a:pt x="839" y="606"/>
                    </a:lnTo>
                    <a:lnTo>
                      <a:pt x="840" y="616"/>
                    </a:lnTo>
                    <a:lnTo>
                      <a:pt x="839" y="625"/>
                    </a:lnTo>
                    <a:lnTo>
                      <a:pt x="835" y="627"/>
                    </a:lnTo>
                    <a:lnTo>
                      <a:pt x="827" y="630"/>
                    </a:lnTo>
                    <a:lnTo>
                      <a:pt x="823" y="636"/>
                    </a:lnTo>
                    <a:lnTo>
                      <a:pt x="819" y="641"/>
                    </a:lnTo>
                    <a:lnTo>
                      <a:pt x="817" y="649"/>
                    </a:lnTo>
                    <a:lnTo>
                      <a:pt x="808" y="650"/>
                    </a:lnTo>
                    <a:lnTo>
                      <a:pt x="790" y="650"/>
                    </a:lnTo>
                    <a:lnTo>
                      <a:pt x="781" y="655"/>
                    </a:lnTo>
                    <a:lnTo>
                      <a:pt x="774" y="662"/>
                    </a:lnTo>
                    <a:lnTo>
                      <a:pt x="766" y="663"/>
                    </a:lnTo>
                    <a:lnTo>
                      <a:pt x="760" y="664"/>
                    </a:lnTo>
                    <a:lnTo>
                      <a:pt x="757" y="669"/>
                    </a:lnTo>
                    <a:lnTo>
                      <a:pt x="756" y="673"/>
                    </a:lnTo>
                    <a:lnTo>
                      <a:pt x="751" y="675"/>
                    </a:lnTo>
                    <a:lnTo>
                      <a:pt x="746" y="676"/>
                    </a:lnTo>
                    <a:lnTo>
                      <a:pt x="740" y="677"/>
                    </a:lnTo>
                    <a:lnTo>
                      <a:pt x="737" y="682"/>
                    </a:lnTo>
                    <a:lnTo>
                      <a:pt x="735" y="690"/>
                    </a:lnTo>
                    <a:lnTo>
                      <a:pt x="732" y="694"/>
                    </a:lnTo>
                    <a:lnTo>
                      <a:pt x="728" y="699"/>
                    </a:lnTo>
                    <a:lnTo>
                      <a:pt x="726" y="701"/>
                    </a:lnTo>
                    <a:lnTo>
                      <a:pt x="725" y="702"/>
                    </a:lnTo>
                    <a:lnTo>
                      <a:pt x="724" y="703"/>
                    </a:lnTo>
                    <a:lnTo>
                      <a:pt x="723" y="704"/>
                    </a:lnTo>
                    <a:lnTo>
                      <a:pt x="721" y="704"/>
                    </a:lnTo>
                    <a:lnTo>
                      <a:pt x="719" y="704"/>
                    </a:lnTo>
                    <a:lnTo>
                      <a:pt x="716" y="704"/>
                    </a:lnTo>
                    <a:lnTo>
                      <a:pt x="715" y="705"/>
                    </a:lnTo>
                    <a:lnTo>
                      <a:pt x="715" y="705"/>
                    </a:lnTo>
                    <a:lnTo>
                      <a:pt x="714" y="713"/>
                    </a:lnTo>
                    <a:lnTo>
                      <a:pt x="719" y="719"/>
                    </a:lnTo>
                    <a:lnTo>
                      <a:pt x="724" y="723"/>
                    </a:lnTo>
                    <a:lnTo>
                      <a:pt x="730" y="728"/>
                    </a:lnTo>
                    <a:lnTo>
                      <a:pt x="735" y="732"/>
                    </a:lnTo>
                    <a:lnTo>
                      <a:pt x="737" y="739"/>
                    </a:lnTo>
                    <a:lnTo>
                      <a:pt x="739" y="744"/>
                    </a:lnTo>
                    <a:lnTo>
                      <a:pt x="745" y="750"/>
                    </a:lnTo>
                    <a:lnTo>
                      <a:pt x="751" y="754"/>
                    </a:lnTo>
                    <a:lnTo>
                      <a:pt x="755" y="758"/>
                    </a:lnTo>
                    <a:lnTo>
                      <a:pt x="759" y="765"/>
                    </a:lnTo>
                    <a:lnTo>
                      <a:pt x="763" y="770"/>
                    </a:lnTo>
                    <a:lnTo>
                      <a:pt x="763" y="776"/>
                    </a:lnTo>
                    <a:lnTo>
                      <a:pt x="761" y="785"/>
                    </a:lnTo>
                    <a:lnTo>
                      <a:pt x="761" y="790"/>
                    </a:lnTo>
                    <a:lnTo>
                      <a:pt x="763" y="800"/>
                    </a:lnTo>
                    <a:lnTo>
                      <a:pt x="762" y="812"/>
                    </a:lnTo>
                    <a:lnTo>
                      <a:pt x="765" y="820"/>
                    </a:lnTo>
                    <a:lnTo>
                      <a:pt x="770" y="828"/>
                    </a:lnTo>
                    <a:lnTo>
                      <a:pt x="772" y="833"/>
                    </a:lnTo>
                    <a:lnTo>
                      <a:pt x="776" y="842"/>
                    </a:lnTo>
                    <a:lnTo>
                      <a:pt x="772" y="851"/>
                    </a:lnTo>
                    <a:lnTo>
                      <a:pt x="774" y="860"/>
                    </a:lnTo>
                    <a:lnTo>
                      <a:pt x="775" y="869"/>
                    </a:lnTo>
                    <a:lnTo>
                      <a:pt x="772" y="877"/>
                    </a:lnTo>
                    <a:lnTo>
                      <a:pt x="766" y="884"/>
                    </a:lnTo>
                    <a:lnTo>
                      <a:pt x="759" y="890"/>
                    </a:lnTo>
                    <a:lnTo>
                      <a:pt x="750" y="887"/>
                    </a:lnTo>
                    <a:lnTo>
                      <a:pt x="743" y="884"/>
                    </a:lnTo>
                    <a:lnTo>
                      <a:pt x="733" y="875"/>
                    </a:lnTo>
                    <a:lnTo>
                      <a:pt x="729" y="869"/>
                    </a:lnTo>
                    <a:lnTo>
                      <a:pt x="724" y="864"/>
                    </a:lnTo>
                    <a:lnTo>
                      <a:pt x="719" y="861"/>
                    </a:lnTo>
                    <a:lnTo>
                      <a:pt x="718" y="852"/>
                    </a:lnTo>
                    <a:lnTo>
                      <a:pt x="724" y="849"/>
                    </a:lnTo>
                    <a:lnTo>
                      <a:pt x="725" y="843"/>
                    </a:lnTo>
                    <a:lnTo>
                      <a:pt x="724" y="838"/>
                    </a:lnTo>
                    <a:lnTo>
                      <a:pt x="718" y="833"/>
                    </a:lnTo>
                    <a:lnTo>
                      <a:pt x="712" y="831"/>
                    </a:lnTo>
                    <a:lnTo>
                      <a:pt x="705" y="830"/>
                    </a:lnTo>
                    <a:lnTo>
                      <a:pt x="699" y="831"/>
                    </a:lnTo>
                    <a:lnTo>
                      <a:pt x="692" y="837"/>
                    </a:lnTo>
                    <a:lnTo>
                      <a:pt x="684" y="844"/>
                    </a:lnTo>
                    <a:lnTo>
                      <a:pt x="678" y="848"/>
                    </a:lnTo>
                    <a:lnTo>
                      <a:pt x="669" y="847"/>
                    </a:lnTo>
                    <a:lnTo>
                      <a:pt x="665" y="843"/>
                    </a:lnTo>
                    <a:lnTo>
                      <a:pt x="659" y="834"/>
                    </a:lnTo>
                    <a:lnTo>
                      <a:pt x="653" y="828"/>
                    </a:lnTo>
                    <a:lnTo>
                      <a:pt x="644" y="825"/>
                    </a:lnTo>
                    <a:lnTo>
                      <a:pt x="638" y="829"/>
                    </a:lnTo>
                    <a:lnTo>
                      <a:pt x="632" y="831"/>
                    </a:lnTo>
                    <a:lnTo>
                      <a:pt x="626" y="833"/>
                    </a:lnTo>
                    <a:lnTo>
                      <a:pt x="622" y="829"/>
                    </a:lnTo>
                    <a:lnTo>
                      <a:pt x="623" y="824"/>
                    </a:lnTo>
                    <a:lnTo>
                      <a:pt x="621" y="822"/>
                    </a:lnTo>
                    <a:lnTo>
                      <a:pt x="615" y="823"/>
                    </a:lnTo>
                    <a:lnTo>
                      <a:pt x="611" y="826"/>
                    </a:lnTo>
                    <a:lnTo>
                      <a:pt x="608" y="831"/>
                    </a:lnTo>
                    <a:lnTo>
                      <a:pt x="607" y="838"/>
                    </a:lnTo>
                    <a:lnTo>
                      <a:pt x="608" y="853"/>
                    </a:lnTo>
                    <a:lnTo>
                      <a:pt x="606" y="861"/>
                    </a:lnTo>
                    <a:lnTo>
                      <a:pt x="601" y="864"/>
                    </a:lnTo>
                    <a:lnTo>
                      <a:pt x="595" y="865"/>
                    </a:lnTo>
                    <a:lnTo>
                      <a:pt x="587" y="863"/>
                    </a:lnTo>
                    <a:lnTo>
                      <a:pt x="585" y="858"/>
                    </a:lnTo>
                    <a:lnTo>
                      <a:pt x="579" y="852"/>
                    </a:lnTo>
                    <a:lnTo>
                      <a:pt x="575" y="851"/>
                    </a:lnTo>
                    <a:lnTo>
                      <a:pt x="569" y="852"/>
                    </a:lnTo>
                    <a:lnTo>
                      <a:pt x="566" y="854"/>
                    </a:lnTo>
                    <a:lnTo>
                      <a:pt x="562" y="857"/>
                    </a:lnTo>
                    <a:lnTo>
                      <a:pt x="553" y="860"/>
                    </a:lnTo>
                    <a:lnTo>
                      <a:pt x="548" y="863"/>
                    </a:lnTo>
                    <a:lnTo>
                      <a:pt x="538" y="860"/>
                    </a:lnTo>
                    <a:lnTo>
                      <a:pt x="534" y="858"/>
                    </a:lnTo>
                    <a:lnTo>
                      <a:pt x="530" y="859"/>
                    </a:lnTo>
                    <a:lnTo>
                      <a:pt x="521" y="860"/>
                    </a:lnTo>
                    <a:lnTo>
                      <a:pt x="514" y="864"/>
                    </a:lnTo>
                    <a:lnTo>
                      <a:pt x="504" y="866"/>
                    </a:lnTo>
                    <a:lnTo>
                      <a:pt x="498" y="864"/>
                    </a:lnTo>
                    <a:lnTo>
                      <a:pt x="493" y="866"/>
                    </a:lnTo>
                    <a:lnTo>
                      <a:pt x="489" y="870"/>
                    </a:lnTo>
                    <a:lnTo>
                      <a:pt x="489" y="878"/>
                    </a:lnTo>
                    <a:lnTo>
                      <a:pt x="488" y="884"/>
                    </a:lnTo>
                    <a:lnTo>
                      <a:pt x="486" y="886"/>
                    </a:lnTo>
                    <a:lnTo>
                      <a:pt x="482" y="889"/>
                    </a:lnTo>
                    <a:lnTo>
                      <a:pt x="474" y="888"/>
                    </a:lnTo>
                    <a:lnTo>
                      <a:pt x="464" y="888"/>
                    </a:lnTo>
                    <a:lnTo>
                      <a:pt x="462" y="892"/>
                    </a:lnTo>
                    <a:lnTo>
                      <a:pt x="460" y="896"/>
                    </a:lnTo>
                    <a:lnTo>
                      <a:pt x="459" y="902"/>
                    </a:lnTo>
                    <a:lnTo>
                      <a:pt x="455" y="905"/>
                    </a:lnTo>
                    <a:lnTo>
                      <a:pt x="450" y="906"/>
                    </a:lnTo>
                    <a:lnTo>
                      <a:pt x="442" y="906"/>
                    </a:lnTo>
                    <a:lnTo>
                      <a:pt x="436" y="911"/>
                    </a:lnTo>
                    <a:lnTo>
                      <a:pt x="431" y="911"/>
                    </a:lnTo>
                    <a:lnTo>
                      <a:pt x="434" y="904"/>
                    </a:lnTo>
                    <a:lnTo>
                      <a:pt x="434" y="895"/>
                    </a:lnTo>
                    <a:lnTo>
                      <a:pt x="429" y="893"/>
                    </a:lnTo>
                    <a:lnTo>
                      <a:pt x="422" y="895"/>
                    </a:lnTo>
                    <a:lnTo>
                      <a:pt x="416" y="894"/>
                    </a:lnTo>
                    <a:lnTo>
                      <a:pt x="407" y="895"/>
                    </a:lnTo>
                    <a:lnTo>
                      <a:pt x="401" y="897"/>
                    </a:lnTo>
                    <a:lnTo>
                      <a:pt x="399" y="901"/>
                    </a:lnTo>
                    <a:lnTo>
                      <a:pt x="402" y="903"/>
                    </a:lnTo>
                    <a:lnTo>
                      <a:pt x="404" y="911"/>
                    </a:lnTo>
                    <a:lnTo>
                      <a:pt x="370" y="911"/>
                    </a:lnTo>
                    <a:lnTo>
                      <a:pt x="368" y="903"/>
                    </a:lnTo>
                    <a:lnTo>
                      <a:pt x="368" y="899"/>
                    </a:lnTo>
                    <a:lnTo>
                      <a:pt x="364" y="894"/>
                    </a:lnTo>
                    <a:lnTo>
                      <a:pt x="357" y="893"/>
                    </a:lnTo>
                    <a:lnTo>
                      <a:pt x="355" y="888"/>
                    </a:lnTo>
                    <a:lnTo>
                      <a:pt x="353" y="883"/>
                    </a:lnTo>
                    <a:lnTo>
                      <a:pt x="351" y="879"/>
                    </a:lnTo>
                    <a:lnTo>
                      <a:pt x="344" y="879"/>
                    </a:lnTo>
                    <a:lnTo>
                      <a:pt x="339" y="882"/>
                    </a:lnTo>
                    <a:lnTo>
                      <a:pt x="333" y="882"/>
                    </a:lnTo>
                    <a:lnTo>
                      <a:pt x="324" y="881"/>
                    </a:lnTo>
                    <a:lnTo>
                      <a:pt x="320" y="879"/>
                    </a:lnTo>
                    <a:lnTo>
                      <a:pt x="311" y="881"/>
                    </a:lnTo>
                    <a:lnTo>
                      <a:pt x="306" y="877"/>
                    </a:lnTo>
                    <a:lnTo>
                      <a:pt x="302" y="875"/>
                    </a:lnTo>
                    <a:lnTo>
                      <a:pt x="295" y="871"/>
                    </a:lnTo>
                    <a:lnTo>
                      <a:pt x="289" y="875"/>
                    </a:lnTo>
                    <a:lnTo>
                      <a:pt x="283" y="877"/>
                    </a:lnTo>
                    <a:lnTo>
                      <a:pt x="281" y="872"/>
                    </a:lnTo>
                    <a:lnTo>
                      <a:pt x="283" y="866"/>
                    </a:lnTo>
                    <a:lnTo>
                      <a:pt x="278" y="862"/>
                    </a:lnTo>
                    <a:lnTo>
                      <a:pt x="270" y="862"/>
                    </a:lnTo>
                    <a:lnTo>
                      <a:pt x="267" y="866"/>
                    </a:lnTo>
                    <a:lnTo>
                      <a:pt x="271" y="874"/>
                    </a:lnTo>
                    <a:lnTo>
                      <a:pt x="273" y="879"/>
                    </a:lnTo>
                    <a:lnTo>
                      <a:pt x="276" y="884"/>
                    </a:lnTo>
                    <a:lnTo>
                      <a:pt x="278" y="888"/>
                    </a:lnTo>
                    <a:lnTo>
                      <a:pt x="280" y="895"/>
                    </a:lnTo>
                    <a:lnTo>
                      <a:pt x="279" y="905"/>
                    </a:lnTo>
                    <a:lnTo>
                      <a:pt x="275" y="911"/>
                    </a:lnTo>
                    <a:lnTo>
                      <a:pt x="275" y="919"/>
                    </a:lnTo>
                    <a:lnTo>
                      <a:pt x="269" y="919"/>
                    </a:lnTo>
                    <a:lnTo>
                      <a:pt x="263" y="919"/>
                    </a:lnTo>
                    <a:lnTo>
                      <a:pt x="256" y="923"/>
                    </a:lnTo>
                    <a:lnTo>
                      <a:pt x="251" y="928"/>
                    </a:lnTo>
                    <a:lnTo>
                      <a:pt x="245" y="935"/>
                    </a:lnTo>
                    <a:lnTo>
                      <a:pt x="240" y="941"/>
                    </a:lnTo>
                    <a:lnTo>
                      <a:pt x="235" y="946"/>
                    </a:lnTo>
                    <a:lnTo>
                      <a:pt x="231" y="952"/>
                    </a:lnTo>
                    <a:lnTo>
                      <a:pt x="223" y="955"/>
                    </a:lnTo>
                    <a:lnTo>
                      <a:pt x="217" y="955"/>
                    </a:lnTo>
                    <a:lnTo>
                      <a:pt x="211" y="954"/>
                    </a:lnTo>
                    <a:lnTo>
                      <a:pt x="211" y="948"/>
                    </a:lnTo>
                    <a:lnTo>
                      <a:pt x="211" y="940"/>
                    </a:lnTo>
                    <a:lnTo>
                      <a:pt x="216" y="932"/>
                    </a:lnTo>
                    <a:lnTo>
                      <a:pt x="218" y="926"/>
                    </a:lnTo>
                    <a:lnTo>
                      <a:pt x="216" y="921"/>
                    </a:lnTo>
                    <a:lnTo>
                      <a:pt x="213" y="919"/>
                    </a:lnTo>
                    <a:lnTo>
                      <a:pt x="209" y="911"/>
                    </a:lnTo>
                    <a:lnTo>
                      <a:pt x="204" y="902"/>
                    </a:lnTo>
                    <a:lnTo>
                      <a:pt x="205" y="895"/>
                    </a:lnTo>
                    <a:lnTo>
                      <a:pt x="204" y="890"/>
                    </a:lnTo>
                    <a:lnTo>
                      <a:pt x="196" y="889"/>
                    </a:lnTo>
                    <a:lnTo>
                      <a:pt x="185" y="889"/>
                    </a:lnTo>
                    <a:lnTo>
                      <a:pt x="181" y="884"/>
                    </a:lnTo>
                    <a:lnTo>
                      <a:pt x="175" y="880"/>
                    </a:lnTo>
                    <a:lnTo>
                      <a:pt x="171" y="879"/>
                    </a:lnTo>
                    <a:lnTo>
                      <a:pt x="162" y="880"/>
                    </a:lnTo>
                    <a:lnTo>
                      <a:pt x="157" y="877"/>
                    </a:lnTo>
                    <a:lnTo>
                      <a:pt x="151" y="867"/>
                    </a:lnTo>
                    <a:lnTo>
                      <a:pt x="147" y="866"/>
                    </a:lnTo>
                    <a:lnTo>
                      <a:pt x="142" y="871"/>
                    </a:lnTo>
                    <a:lnTo>
                      <a:pt x="134" y="873"/>
                    </a:lnTo>
                    <a:lnTo>
                      <a:pt x="131" y="874"/>
                    </a:lnTo>
                    <a:lnTo>
                      <a:pt x="124" y="869"/>
                    </a:lnTo>
                    <a:lnTo>
                      <a:pt x="117" y="865"/>
                    </a:lnTo>
                    <a:lnTo>
                      <a:pt x="110" y="866"/>
                    </a:lnTo>
                    <a:lnTo>
                      <a:pt x="110" y="860"/>
                    </a:lnTo>
                    <a:lnTo>
                      <a:pt x="113" y="857"/>
                    </a:lnTo>
                    <a:lnTo>
                      <a:pt x="120" y="853"/>
                    </a:lnTo>
                    <a:lnTo>
                      <a:pt x="122" y="850"/>
                    </a:lnTo>
                    <a:lnTo>
                      <a:pt x="131" y="849"/>
                    </a:lnTo>
                    <a:lnTo>
                      <a:pt x="133" y="842"/>
                    </a:lnTo>
                    <a:lnTo>
                      <a:pt x="135" y="836"/>
                    </a:lnTo>
                    <a:lnTo>
                      <a:pt x="142" y="831"/>
                    </a:lnTo>
                    <a:lnTo>
                      <a:pt x="151" y="828"/>
                    </a:lnTo>
                    <a:lnTo>
                      <a:pt x="157" y="831"/>
                    </a:lnTo>
                    <a:lnTo>
                      <a:pt x="160" y="838"/>
                    </a:lnTo>
                    <a:lnTo>
                      <a:pt x="166" y="842"/>
                    </a:lnTo>
                    <a:lnTo>
                      <a:pt x="176" y="841"/>
                    </a:lnTo>
                    <a:lnTo>
                      <a:pt x="186" y="838"/>
                    </a:lnTo>
                    <a:lnTo>
                      <a:pt x="195" y="838"/>
                    </a:lnTo>
                    <a:lnTo>
                      <a:pt x="200" y="833"/>
                    </a:lnTo>
                    <a:lnTo>
                      <a:pt x="199" y="827"/>
                    </a:lnTo>
                    <a:lnTo>
                      <a:pt x="198" y="823"/>
                    </a:lnTo>
                    <a:lnTo>
                      <a:pt x="202" y="822"/>
                    </a:lnTo>
                    <a:lnTo>
                      <a:pt x="205" y="818"/>
                    </a:lnTo>
                    <a:lnTo>
                      <a:pt x="206" y="811"/>
                    </a:lnTo>
                    <a:lnTo>
                      <a:pt x="201" y="807"/>
                    </a:lnTo>
                    <a:lnTo>
                      <a:pt x="200" y="801"/>
                    </a:lnTo>
                    <a:lnTo>
                      <a:pt x="199" y="794"/>
                    </a:lnTo>
                    <a:lnTo>
                      <a:pt x="204" y="790"/>
                    </a:lnTo>
                    <a:lnTo>
                      <a:pt x="207" y="786"/>
                    </a:lnTo>
                    <a:lnTo>
                      <a:pt x="202" y="776"/>
                    </a:lnTo>
                    <a:lnTo>
                      <a:pt x="202" y="767"/>
                    </a:lnTo>
                    <a:lnTo>
                      <a:pt x="201" y="757"/>
                    </a:lnTo>
                    <a:lnTo>
                      <a:pt x="204" y="748"/>
                    </a:lnTo>
                    <a:lnTo>
                      <a:pt x="207" y="744"/>
                    </a:lnTo>
                    <a:lnTo>
                      <a:pt x="209" y="742"/>
                    </a:lnTo>
                    <a:lnTo>
                      <a:pt x="209" y="741"/>
                    </a:lnTo>
                    <a:lnTo>
                      <a:pt x="210" y="740"/>
                    </a:lnTo>
                    <a:lnTo>
                      <a:pt x="211" y="738"/>
                    </a:lnTo>
                    <a:lnTo>
                      <a:pt x="211" y="734"/>
                    </a:lnTo>
                    <a:lnTo>
                      <a:pt x="211" y="729"/>
                    </a:lnTo>
                    <a:lnTo>
                      <a:pt x="212" y="721"/>
                    </a:lnTo>
                    <a:lnTo>
                      <a:pt x="210" y="708"/>
                    </a:lnTo>
                    <a:lnTo>
                      <a:pt x="206" y="698"/>
                    </a:lnTo>
                    <a:lnTo>
                      <a:pt x="200" y="689"/>
                    </a:lnTo>
                    <a:lnTo>
                      <a:pt x="198" y="677"/>
                    </a:lnTo>
                    <a:lnTo>
                      <a:pt x="199" y="668"/>
                    </a:lnTo>
                    <a:lnTo>
                      <a:pt x="200" y="658"/>
                    </a:lnTo>
                    <a:lnTo>
                      <a:pt x="196" y="647"/>
                    </a:lnTo>
                    <a:lnTo>
                      <a:pt x="191" y="641"/>
                    </a:lnTo>
                    <a:lnTo>
                      <a:pt x="187" y="636"/>
                    </a:lnTo>
                    <a:lnTo>
                      <a:pt x="188" y="629"/>
                    </a:lnTo>
                    <a:lnTo>
                      <a:pt x="191" y="620"/>
                    </a:lnTo>
                    <a:lnTo>
                      <a:pt x="197" y="616"/>
                    </a:lnTo>
                    <a:lnTo>
                      <a:pt x="207" y="615"/>
                    </a:lnTo>
                    <a:lnTo>
                      <a:pt x="214" y="611"/>
                    </a:lnTo>
                    <a:lnTo>
                      <a:pt x="227" y="606"/>
                    </a:lnTo>
                    <a:lnTo>
                      <a:pt x="231" y="600"/>
                    </a:lnTo>
                    <a:lnTo>
                      <a:pt x="232" y="595"/>
                    </a:lnTo>
                    <a:lnTo>
                      <a:pt x="239" y="590"/>
                    </a:lnTo>
                    <a:lnTo>
                      <a:pt x="244" y="583"/>
                    </a:lnTo>
                    <a:lnTo>
                      <a:pt x="246" y="573"/>
                    </a:lnTo>
                    <a:lnTo>
                      <a:pt x="247" y="567"/>
                    </a:lnTo>
                    <a:lnTo>
                      <a:pt x="244" y="559"/>
                    </a:lnTo>
                    <a:lnTo>
                      <a:pt x="240" y="550"/>
                    </a:lnTo>
                    <a:lnTo>
                      <a:pt x="244" y="541"/>
                    </a:lnTo>
                    <a:lnTo>
                      <a:pt x="247" y="535"/>
                    </a:lnTo>
                    <a:lnTo>
                      <a:pt x="250" y="542"/>
                    </a:lnTo>
                    <a:lnTo>
                      <a:pt x="256" y="543"/>
                    </a:lnTo>
                    <a:lnTo>
                      <a:pt x="266" y="543"/>
                    </a:lnTo>
                    <a:lnTo>
                      <a:pt x="274" y="543"/>
                    </a:lnTo>
                    <a:lnTo>
                      <a:pt x="280" y="542"/>
                    </a:lnTo>
                    <a:lnTo>
                      <a:pt x="278" y="535"/>
                    </a:lnTo>
                    <a:lnTo>
                      <a:pt x="273" y="528"/>
                    </a:lnTo>
                    <a:lnTo>
                      <a:pt x="272" y="520"/>
                    </a:lnTo>
                    <a:lnTo>
                      <a:pt x="272" y="510"/>
                    </a:lnTo>
                    <a:lnTo>
                      <a:pt x="275" y="503"/>
                    </a:lnTo>
                    <a:lnTo>
                      <a:pt x="282" y="495"/>
                    </a:lnTo>
                    <a:lnTo>
                      <a:pt x="280" y="482"/>
                    </a:lnTo>
                    <a:lnTo>
                      <a:pt x="280" y="469"/>
                    </a:lnTo>
                    <a:lnTo>
                      <a:pt x="275" y="458"/>
                    </a:lnTo>
                    <a:lnTo>
                      <a:pt x="269" y="452"/>
                    </a:lnTo>
                    <a:lnTo>
                      <a:pt x="264" y="443"/>
                    </a:lnTo>
                    <a:lnTo>
                      <a:pt x="256" y="452"/>
                    </a:lnTo>
                    <a:lnTo>
                      <a:pt x="255" y="442"/>
                    </a:lnTo>
                    <a:lnTo>
                      <a:pt x="250" y="437"/>
                    </a:lnTo>
                    <a:lnTo>
                      <a:pt x="240" y="436"/>
                    </a:lnTo>
                    <a:lnTo>
                      <a:pt x="230" y="429"/>
                    </a:lnTo>
                    <a:lnTo>
                      <a:pt x="230" y="422"/>
                    </a:lnTo>
                    <a:lnTo>
                      <a:pt x="233" y="405"/>
                    </a:lnTo>
                    <a:lnTo>
                      <a:pt x="227" y="400"/>
                    </a:lnTo>
                    <a:lnTo>
                      <a:pt x="220" y="396"/>
                    </a:lnTo>
                    <a:lnTo>
                      <a:pt x="216" y="387"/>
                    </a:lnTo>
                    <a:lnTo>
                      <a:pt x="217" y="376"/>
                    </a:lnTo>
                    <a:lnTo>
                      <a:pt x="221" y="365"/>
                    </a:lnTo>
                    <a:lnTo>
                      <a:pt x="219" y="352"/>
                    </a:lnTo>
                    <a:lnTo>
                      <a:pt x="220" y="343"/>
                    </a:lnTo>
                    <a:lnTo>
                      <a:pt x="224" y="339"/>
                    </a:lnTo>
                    <a:lnTo>
                      <a:pt x="230" y="332"/>
                    </a:lnTo>
                    <a:lnTo>
                      <a:pt x="231" y="321"/>
                    </a:lnTo>
                    <a:lnTo>
                      <a:pt x="228" y="313"/>
                    </a:lnTo>
                    <a:lnTo>
                      <a:pt x="217" y="302"/>
                    </a:lnTo>
                    <a:lnTo>
                      <a:pt x="209" y="297"/>
                    </a:lnTo>
                    <a:lnTo>
                      <a:pt x="202" y="303"/>
                    </a:lnTo>
                    <a:lnTo>
                      <a:pt x="195" y="312"/>
                    </a:lnTo>
                    <a:lnTo>
                      <a:pt x="185" y="312"/>
                    </a:lnTo>
                    <a:lnTo>
                      <a:pt x="182" y="309"/>
                    </a:lnTo>
                    <a:lnTo>
                      <a:pt x="182" y="302"/>
                    </a:lnTo>
                    <a:lnTo>
                      <a:pt x="180" y="295"/>
                    </a:lnTo>
                    <a:lnTo>
                      <a:pt x="176" y="292"/>
                    </a:lnTo>
                    <a:lnTo>
                      <a:pt x="171" y="296"/>
                    </a:lnTo>
                    <a:lnTo>
                      <a:pt x="167" y="298"/>
                    </a:lnTo>
                    <a:lnTo>
                      <a:pt x="162" y="297"/>
                    </a:lnTo>
                    <a:lnTo>
                      <a:pt x="167" y="290"/>
                    </a:lnTo>
                    <a:lnTo>
                      <a:pt x="167" y="288"/>
                    </a:lnTo>
                    <a:lnTo>
                      <a:pt x="169" y="286"/>
                    </a:lnTo>
                    <a:lnTo>
                      <a:pt x="169" y="284"/>
                    </a:lnTo>
                    <a:lnTo>
                      <a:pt x="169" y="283"/>
                    </a:lnTo>
                    <a:lnTo>
                      <a:pt x="169" y="281"/>
                    </a:lnTo>
                    <a:lnTo>
                      <a:pt x="170" y="279"/>
                    </a:lnTo>
                    <a:lnTo>
                      <a:pt x="170" y="277"/>
                    </a:lnTo>
                    <a:lnTo>
                      <a:pt x="173" y="271"/>
                    </a:lnTo>
                    <a:lnTo>
                      <a:pt x="167" y="266"/>
                    </a:lnTo>
                    <a:lnTo>
                      <a:pt x="167" y="259"/>
                    </a:lnTo>
                    <a:lnTo>
                      <a:pt x="167" y="253"/>
                    </a:lnTo>
                    <a:lnTo>
                      <a:pt x="162" y="247"/>
                    </a:lnTo>
                    <a:lnTo>
                      <a:pt x="151" y="247"/>
                    </a:lnTo>
                    <a:lnTo>
                      <a:pt x="134" y="245"/>
                    </a:lnTo>
                    <a:lnTo>
                      <a:pt x="129" y="240"/>
                    </a:lnTo>
                    <a:lnTo>
                      <a:pt x="128" y="234"/>
                    </a:lnTo>
                    <a:lnTo>
                      <a:pt x="122" y="234"/>
                    </a:lnTo>
                    <a:lnTo>
                      <a:pt x="114" y="238"/>
                    </a:lnTo>
                    <a:lnTo>
                      <a:pt x="109" y="237"/>
                    </a:lnTo>
                    <a:lnTo>
                      <a:pt x="104" y="240"/>
                    </a:lnTo>
                    <a:lnTo>
                      <a:pt x="99" y="233"/>
                    </a:lnTo>
                    <a:lnTo>
                      <a:pt x="95" y="230"/>
                    </a:lnTo>
                    <a:lnTo>
                      <a:pt x="95" y="222"/>
                    </a:lnTo>
                    <a:lnTo>
                      <a:pt x="90" y="221"/>
                    </a:lnTo>
                    <a:lnTo>
                      <a:pt x="86" y="226"/>
                    </a:lnTo>
                    <a:lnTo>
                      <a:pt x="78" y="222"/>
                    </a:lnTo>
                    <a:lnTo>
                      <a:pt x="76" y="223"/>
                    </a:lnTo>
                    <a:lnTo>
                      <a:pt x="70" y="225"/>
                    </a:lnTo>
                    <a:lnTo>
                      <a:pt x="65" y="227"/>
                    </a:lnTo>
                    <a:lnTo>
                      <a:pt x="59" y="234"/>
                    </a:lnTo>
                    <a:lnTo>
                      <a:pt x="59" y="237"/>
                    </a:lnTo>
                    <a:lnTo>
                      <a:pt x="60" y="238"/>
                    </a:lnTo>
                    <a:lnTo>
                      <a:pt x="64" y="238"/>
                    </a:lnTo>
                    <a:lnTo>
                      <a:pt x="68" y="240"/>
                    </a:lnTo>
                    <a:lnTo>
                      <a:pt x="72" y="240"/>
                    </a:lnTo>
                    <a:lnTo>
                      <a:pt x="74" y="241"/>
                    </a:lnTo>
                    <a:lnTo>
                      <a:pt x="76" y="250"/>
                    </a:lnTo>
                    <a:lnTo>
                      <a:pt x="74" y="255"/>
                    </a:lnTo>
                    <a:lnTo>
                      <a:pt x="66" y="257"/>
                    </a:lnTo>
                    <a:lnTo>
                      <a:pt x="58" y="257"/>
                    </a:lnTo>
                    <a:lnTo>
                      <a:pt x="53" y="259"/>
                    </a:lnTo>
                    <a:lnTo>
                      <a:pt x="49" y="262"/>
                    </a:lnTo>
                    <a:lnTo>
                      <a:pt x="46" y="266"/>
                    </a:lnTo>
                    <a:lnTo>
                      <a:pt x="42" y="273"/>
                    </a:lnTo>
                    <a:lnTo>
                      <a:pt x="40" y="278"/>
                    </a:lnTo>
                    <a:lnTo>
                      <a:pt x="36" y="279"/>
                    </a:lnTo>
                    <a:lnTo>
                      <a:pt x="20" y="279"/>
                    </a:lnTo>
                    <a:lnTo>
                      <a:pt x="16" y="277"/>
                    </a:lnTo>
                    <a:lnTo>
                      <a:pt x="15" y="276"/>
                    </a:lnTo>
                    <a:lnTo>
                      <a:pt x="11" y="275"/>
                    </a:lnTo>
                    <a:lnTo>
                      <a:pt x="9" y="273"/>
                    </a:lnTo>
                    <a:lnTo>
                      <a:pt x="7" y="271"/>
                    </a:lnTo>
                    <a:lnTo>
                      <a:pt x="8" y="267"/>
                    </a:lnTo>
                    <a:lnTo>
                      <a:pt x="9" y="264"/>
                    </a:lnTo>
                    <a:lnTo>
                      <a:pt x="12" y="260"/>
                    </a:lnTo>
                    <a:lnTo>
                      <a:pt x="14" y="258"/>
                    </a:lnTo>
                    <a:lnTo>
                      <a:pt x="14" y="255"/>
                    </a:lnTo>
                    <a:lnTo>
                      <a:pt x="14" y="252"/>
                    </a:lnTo>
                    <a:lnTo>
                      <a:pt x="16" y="249"/>
                    </a:lnTo>
                    <a:lnTo>
                      <a:pt x="20" y="244"/>
                    </a:lnTo>
                    <a:lnTo>
                      <a:pt x="22" y="242"/>
                    </a:lnTo>
                    <a:lnTo>
                      <a:pt x="22" y="239"/>
                    </a:lnTo>
                    <a:lnTo>
                      <a:pt x="22" y="234"/>
                    </a:lnTo>
                    <a:lnTo>
                      <a:pt x="22" y="231"/>
                    </a:lnTo>
                    <a:lnTo>
                      <a:pt x="22" y="227"/>
                    </a:lnTo>
                    <a:lnTo>
                      <a:pt x="20" y="225"/>
                    </a:lnTo>
                    <a:lnTo>
                      <a:pt x="16" y="220"/>
                    </a:lnTo>
                    <a:lnTo>
                      <a:pt x="13" y="217"/>
                    </a:lnTo>
                    <a:lnTo>
                      <a:pt x="9" y="216"/>
                    </a:lnTo>
                    <a:lnTo>
                      <a:pt x="8" y="213"/>
                    </a:lnTo>
                    <a:lnTo>
                      <a:pt x="6" y="210"/>
                    </a:lnTo>
                    <a:lnTo>
                      <a:pt x="7" y="202"/>
                    </a:lnTo>
                    <a:lnTo>
                      <a:pt x="7" y="199"/>
                    </a:lnTo>
                    <a:lnTo>
                      <a:pt x="5" y="197"/>
                    </a:lnTo>
                    <a:lnTo>
                      <a:pt x="3" y="194"/>
                    </a:lnTo>
                    <a:lnTo>
                      <a:pt x="3" y="188"/>
                    </a:lnTo>
                    <a:lnTo>
                      <a:pt x="2" y="185"/>
                    </a:lnTo>
                    <a:lnTo>
                      <a:pt x="4" y="182"/>
                    </a:lnTo>
                    <a:lnTo>
                      <a:pt x="7" y="179"/>
                    </a:lnTo>
                    <a:lnTo>
                      <a:pt x="5" y="176"/>
                    </a:lnTo>
                    <a:lnTo>
                      <a:pt x="3" y="174"/>
                    </a:lnTo>
                    <a:lnTo>
                      <a:pt x="2" y="172"/>
                    </a:lnTo>
                    <a:lnTo>
                      <a:pt x="2" y="170"/>
                    </a:lnTo>
                    <a:lnTo>
                      <a:pt x="5" y="168"/>
                    </a:lnTo>
                    <a:lnTo>
                      <a:pt x="8" y="164"/>
                    </a:lnTo>
                    <a:lnTo>
                      <a:pt x="8" y="160"/>
                    </a:lnTo>
                    <a:lnTo>
                      <a:pt x="5" y="156"/>
                    </a:lnTo>
                    <a:lnTo>
                      <a:pt x="2" y="154"/>
                    </a:lnTo>
                    <a:lnTo>
                      <a:pt x="0" y="148"/>
                    </a:lnTo>
                    <a:lnTo>
                      <a:pt x="0" y="145"/>
                    </a:lnTo>
                    <a:lnTo>
                      <a:pt x="0" y="143"/>
                    </a:lnTo>
                    <a:lnTo>
                      <a:pt x="0" y="137"/>
                    </a:lnTo>
                    <a:lnTo>
                      <a:pt x="0" y="134"/>
                    </a:lnTo>
                    <a:lnTo>
                      <a:pt x="4" y="133"/>
                    </a:lnTo>
                    <a:lnTo>
                      <a:pt x="7" y="132"/>
                    </a:lnTo>
                    <a:lnTo>
                      <a:pt x="8" y="130"/>
                    </a:lnTo>
                    <a:lnTo>
                      <a:pt x="9" y="129"/>
                    </a:lnTo>
                    <a:lnTo>
                      <a:pt x="12" y="124"/>
                    </a:lnTo>
                    <a:lnTo>
                      <a:pt x="13" y="124"/>
                    </a:lnTo>
                    <a:lnTo>
                      <a:pt x="14" y="123"/>
                    </a:lnTo>
                    <a:lnTo>
                      <a:pt x="14" y="123"/>
                    </a:lnTo>
                    <a:lnTo>
                      <a:pt x="15" y="123"/>
                    </a:lnTo>
                    <a:lnTo>
                      <a:pt x="16" y="123"/>
                    </a:lnTo>
                    <a:lnTo>
                      <a:pt x="16" y="122"/>
                    </a:lnTo>
                    <a:lnTo>
                      <a:pt x="18" y="122"/>
                    </a:lnTo>
                    <a:lnTo>
                      <a:pt x="18" y="121"/>
                    </a:lnTo>
                    <a:lnTo>
                      <a:pt x="19" y="121"/>
                    </a:lnTo>
                    <a:lnTo>
                      <a:pt x="21" y="123"/>
                    </a:lnTo>
                    <a:lnTo>
                      <a:pt x="22" y="124"/>
                    </a:lnTo>
                    <a:lnTo>
                      <a:pt x="22" y="125"/>
                    </a:lnTo>
                    <a:lnTo>
                      <a:pt x="22" y="128"/>
                    </a:lnTo>
                    <a:lnTo>
                      <a:pt x="24" y="132"/>
                    </a:lnTo>
                    <a:lnTo>
                      <a:pt x="29" y="133"/>
                    </a:lnTo>
                    <a:lnTo>
                      <a:pt x="32" y="132"/>
                    </a:lnTo>
                    <a:lnTo>
                      <a:pt x="34" y="130"/>
                    </a:lnTo>
                    <a:lnTo>
                      <a:pt x="36" y="128"/>
                    </a:lnTo>
                    <a:lnTo>
                      <a:pt x="36" y="126"/>
                    </a:lnTo>
                    <a:lnTo>
                      <a:pt x="35" y="124"/>
                    </a:lnTo>
                    <a:lnTo>
                      <a:pt x="35" y="119"/>
                    </a:lnTo>
                    <a:lnTo>
                      <a:pt x="37" y="119"/>
                    </a:lnTo>
                    <a:lnTo>
                      <a:pt x="40" y="119"/>
                    </a:lnTo>
                    <a:lnTo>
                      <a:pt x="44" y="121"/>
                    </a:lnTo>
                    <a:lnTo>
                      <a:pt x="48" y="121"/>
                    </a:lnTo>
                    <a:lnTo>
                      <a:pt x="52" y="119"/>
                    </a:lnTo>
                    <a:lnTo>
                      <a:pt x="56" y="120"/>
                    </a:lnTo>
                    <a:lnTo>
                      <a:pt x="58" y="121"/>
                    </a:lnTo>
                    <a:lnTo>
                      <a:pt x="62" y="125"/>
                    </a:lnTo>
                    <a:lnTo>
                      <a:pt x="65" y="126"/>
                    </a:lnTo>
                    <a:lnTo>
                      <a:pt x="70" y="128"/>
                    </a:lnTo>
                    <a:lnTo>
                      <a:pt x="71" y="129"/>
                    </a:lnTo>
                    <a:lnTo>
                      <a:pt x="75" y="133"/>
                    </a:lnTo>
                    <a:lnTo>
                      <a:pt x="79" y="134"/>
                    </a:lnTo>
                    <a:lnTo>
                      <a:pt x="86" y="134"/>
                    </a:lnTo>
                    <a:lnTo>
                      <a:pt x="91" y="133"/>
                    </a:lnTo>
                    <a:lnTo>
                      <a:pt x="94" y="130"/>
                    </a:lnTo>
                    <a:lnTo>
                      <a:pt x="96" y="127"/>
                    </a:lnTo>
                    <a:lnTo>
                      <a:pt x="96" y="111"/>
                    </a:lnTo>
                    <a:lnTo>
                      <a:pt x="97" y="105"/>
                    </a:lnTo>
                    <a:lnTo>
                      <a:pt x="96" y="99"/>
                    </a:lnTo>
                    <a:lnTo>
                      <a:pt x="97" y="97"/>
                    </a:lnTo>
                    <a:lnTo>
                      <a:pt x="98" y="95"/>
                    </a:lnTo>
                    <a:lnTo>
                      <a:pt x="102" y="95"/>
                    </a:lnTo>
                    <a:lnTo>
                      <a:pt x="108" y="95"/>
                    </a:lnTo>
                    <a:lnTo>
                      <a:pt x="112" y="97"/>
                    </a:lnTo>
                    <a:lnTo>
                      <a:pt x="116" y="97"/>
                    </a:lnTo>
                    <a:lnTo>
                      <a:pt x="117" y="95"/>
                    </a:lnTo>
                    <a:lnTo>
                      <a:pt x="119" y="87"/>
                    </a:lnTo>
                    <a:lnTo>
                      <a:pt x="123" y="83"/>
                    </a:lnTo>
                    <a:lnTo>
                      <a:pt x="129" y="82"/>
                    </a:lnTo>
                    <a:lnTo>
                      <a:pt x="131" y="79"/>
                    </a:lnTo>
                    <a:lnTo>
                      <a:pt x="132" y="73"/>
                    </a:lnTo>
                    <a:lnTo>
                      <a:pt x="132" y="71"/>
                    </a:lnTo>
                    <a:lnTo>
                      <a:pt x="133" y="64"/>
                    </a:lnTo>
                    <a:lnTo>
                      <a:pt x="134" y="62"/>
                    </a:lnTo>
                    <a:lnTo>
                      <a:pt x="136" y="57"/>
                    </a:lnTo>
                    <a:lnTo>
                      <a:pt x="139" y="51"/>
                    </a:lnTo>
                    <a:lnTo>
                      <a:pt x="141" y="47"/>
                    </a:lnTo>
                    <a:lnTo>
                      <a:pt x="143" y="44"/>
                    </a:lnTo>
                    <a:lnTo>
                      <a:pt x="147" y="44"/>
                    </a:lnTo>
                    <a:lnTo>
                      <a:pt x="151" y="45"/>
                    </a:lnTo>
                    <a:lnTo>
                      <a:pt x="154" y="46"/>
                    </a:lnTo>
                    <a:lnTo>
                      <a:pt x="157" y="49"/>
                    </a:lnTo>
                    <a:lnTo>
                      <a:pt x="163" y="49"/>
                    </a:lnTo>
                    <a:lnTo>
                      <a:pt x="169" y="46"/>
                    </a:lnTo>
                    <a:lnTo>
                      <a:pt x="172" y="44"/>
                    </a:lnTo>
                    <a:lnTo>
                      <a:pt x="173" y="42"/>
                    </a:lnTo>
                    <a:lnTo>
                      <a:pt x="178" y="40"/>
                    </a:lnTo>
                    <a:lnTo>
                      <a:pt x="180" y="36"/>
                    </a:lnTo>
                    <a:lnTo>
                      <a:pt x="187" y="29"/>
                    </a:lnTo>
                    <a:lnTo>
                      <a:pt x="191" y="22"/>
                    </a:lnTo>
                    <a:lnTo>
                      <a:pt x="195" y="20"/>
                    </a:lnTo>
                    <a:lnTo>
                      <a:pt x="198" y="13"/>
                    </a:lnTo>
                    <a:lnTo>
                      <a:pt x="197" y="9"/>
                    </a:lnTo>
                    <a:lnTo>
                      <a:pt x="198" y="6"/>
                    </a:lnTo>
                    <a:lnTo>
                      <a:pt x="200" y="3"/>
                    </a:lnTo>
                    <a:lnTo>
                      <a:pt x="19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8" name="Baden Württemberg">
                <a:extLst>
                  <a:ext uri="{FF2B5EF4-FFF2-40B4-BE49-F238E27FC236}">
                    <a16:creationId xmlns:a16="http://schemas.microsoft.com/office/drawing/2014/main" id="{E1A511EE-A5A9-42B4-B136-B06982E237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1633" y="4064000"/>
                <a:ext cx="930275" cy="1025525"/>
              </a:xfrm>
              <a:custGeom>
                <a:avLst/>
                <a:gdLst/>
                <a:ahLst/>
                <a:cxnLst>
                  <a:cxn ang="0">
                    <a:pos x="418" y="17"/>
                  </a:cxn>
                  <a:cxn ang="0">
                    <a:pos x="471" y="32"/>
                  </a:cxn>
                  <a:cxn ang="0">
                    <a:pos x="473" y="62"/>
                  </a:cxn>
                  <a:cxn ang="0">
                    <a:pos x="475" y="75"/>
                  </a:cxn>
                  <a:cxn ang="0">
                    <a:pos x="506" y="82"/>
                  </a:cxn>
                  <a:cxn ang="0">
                    <a:pos x="524" y="122"/>
                  </a:cxn>
                  <a:cxn ang="0">
                    <a:pos x="537" y="184"/>
                  </a:cxn>
                  <a:cxn ang="0">
                    <a:pos x="568" y="222"/>
                  </a:cxn>
                  <a:cxn ang="0">
                    <a:pos x="576" y="289"/>
                  </a:cxn>
                  <a:cxn ang="0">
                    <a:pos x="560" y="322"/>
                  </a:cxn>
                  <a:cxn ang="0">
                    <a:pos x="550" y="352"/>
                  </a:cxn>
                  <a:cxn ang="0">
                    <a:pos x="511" y="394"/>
                  </a:cxn>
                  <a:cxn ang="0">
                    <a:pos x="504" y="437"/>
                  </a:cxn>
                  <a:cxn ang="0">
                    <a:pos x="515" y="508"/>
                  </a:cxn>
                  <a:cxn ang="0">
                    <a:pos x="508" y="527"/>
                  </a:cxn>
                  <a:cxn ang="0">
                    <a:pos x="504" y="580"/>
                  </a:cxn>
                  <a:cxn ang="0">
                    <a:pos x="504" y="612"/>
                  </a:cxn>
                  <a:cxn ang="0">
                    <a:pos x="455" y="607"/>
                  </a:cxn>
                  <a:cxn ang="0">
                    <a:pos x="417" y="636"/>
                  </a:cxn>
                  <a:cxn ang="0">
                    <a:pos x="386" y="626"/>
                  </a:cxn>
                  <a:cxn ang="0">
                    <a:pos x="339" y="608"/>
                  </a:cxn>
                  <a:cxn ang="0">
                    <a:pos x="308" y="583"/>
                  </a:cxn>
                  <a:cxn ang="0">
                    <a:pos x="307" y="590"/>
                  </a:cxn>
                  <a:cxn ang="0">
                    <a:pos x="328" y="618"/>
                  </a:cxn>
                  <a:cxn ang="0">
                    <a:pos x="298" y="600"/>
                  </a:cxn>
                  <a:cxn ang="0">
                    <a:pos x="287" y="611"/>
                  </a:cxn>
                  <a:cxn ang="0">
                    <a:pos x="246" y="604"/>
                  </a:cxn>
                  <a:cxn ang="0">
                    <a:pos x="219" y="578"/>
                  </a:cxn>
                  <a:cxn ang="0">
                    <a:pos x="182" y="591"/>
                  </a:cxn>
                  <a:cxn ang="0">
                    <a:pos x="190" y="617"/>
                  </a:cxn>
                  <a:cxn ang="0">
                    <a:pos x="211" y="630"/>
                  </a:cxn>
                  <a:cxn ang="0">
                    <a:pos x="184" y="642"/>
                  </a:cxn>
                  <a:cxn ang="0">
                    <a:pos x="129" y="632"/>
                  </a:cxn>
                  <a:cxn ang="0">
                    <a:pos x="81" y="642"/>
                  </a:cxn>
                  <a:cxn ang="0">
                    <a:pos x="22" y="644"/>
                  </a:cxn>
                  <a:cxn ang="0">
                    <a:pos x="4" y="604"/>
                  </a:cxn>
                  <a:cxn ang="0">
                    <a:pos x="18" y="531"/>
                  </a:cxn>
                  <a:cxn ang="0">
                    <a:pos x="41" y="451"/>
                  </a:cxn>
                  <a:cxn ang="0">
                    <a:pos x="52" y="421"/>
                  </a:cxn>
                  <a:cxn ang="0">
                    <a:pos x="56" y="408"/>
                  </a:cxn>
                  <a:cxn ang="0">
                    <a:pos x="67" y="355"/>
                  </a:cxn>
                  <a:cxn ang="0">
                    <a:pos x="94" y="308"/>
                  </a:cxn>
                  <a:cxn ang="0">
                    <a:pos x="137" y="260"/>
                  </a:cxn>
                  <a:cxn ang="0">
                    <a:pos x="158" y="231"/>
                  </a:cxn>
                  <a:cxn ang="0">
                    <a:pos x="186" y="173"/>
                  </a:cxn>
                  <a:cxn ang="0">
                    <a:pos x="206" y="118"/>
                  </a:cxn>
                  <a:cxn ang="0">
                    <a:pos x="204" y="65"/>
                  </a:cxn>
                  <a:cxn ang="0">
                    <a:pos x="230" y="67"/>
                  </a:cxn>
                  <a:cxn ang="0">
                    <a:pos x="247" y="63"/>
                  </a:cxn>
                  <a:cxn ang="0">
                    <a:pos x="254" y="80"/>
                  </a:cxn>
                  <a:cxn ang="0">
                    <a:pos x="270" y="78"/>
                  </a:cxn>
                  <a:cxn ang="0">
                    <a:pos x="280" y="93"/>
                  </a:cxn>
                  <a:cxn ang="0">
                    <a:pos x="272" y="108"/>
                  </a:cxn>
                  <a:cxn ang="0">
                    <a:pos x="282" y="107"/>
                  </a:cxn>
                  <a:cxn ang="0">
                    <a:pos x="303" y="85"/>
                  </a:cxn>
                  <a:cxn ang="0">
                    <a:pos x="322" y="67"/>
                  </a:cxn>
                  <a:cxn ang="0">
                    <a:pos x="350" y="45"/>
                  </a:cxn>
                  <a:cxn ang="0">
                    <a:pos x="378" y="20"/>
                  </a:cxn>
                  <a:cxn ang="0">
                    <a:pos x="369" y="6"/>
                  </a:cxn>
                </a:cxnLst>
                <a:rect l="0" t="0" r="r" b="b"/>
                <a:pathLst>
                  <a:path w="586" h="646">
                    <a:moveTo>
                      <a:pt x="394" y="0"/>
                    </a:moveTo>
                    <a:lnTo>
                      <a:pt x="399" y="1"/>
                    </a:lnTo>
                    <a:lnTo>
                      <a:pt x="399" y="9"/>
                    </a:lnTo>
                    <a:lnTo>
                      <a:pt x="403" y="12"/>
                    </a:lnTo>
                    <a:lnTo>
                      <a:pt x="408" y="19"/>
                    </a:lnTo>
                    <a:lnTo>
                      <a:pt x="413" y="16"/>
                    </a:lnTo>
                    <a:lnTo>
                      <a:pt x="418" y="17"/>
                    </a:lnTo>
                    <a:lnTo>
                      <a:pt x="426" y="13"/>
                    </a:lnTo>
                    <a:lnTo>
                      <a:pt x="432" y="13"/>
                    </a:lnTo>
                    <a:lnTo>
                      <a:pt x="433" y="19"/>
                    </a:lnTo>
                    <a:lnTo>
                      <a:pt x="438" y="24"/>
                    </a:lnTo>
                    <a:lnTo>
                      <a:pt x="455" y="26"/>
                    </a:lnTo>
                    <a:lnTo>
                      <a:pt x="466" y="26"/>
                    </a:lnTo>
                    <a:lnTo>
                      <a:pt x="471" y="32"/>
                    </a:lnTo>
                    <a:lnTo>
                      <a:pt x="471" y="38"/>
                    </a:lnTo>
                    <a:lnTo>
                      <a:pt x="471" y="45"/>
                    </a:lnTo>
                    <a:lnTo>
                      <a:pt x="477" y="50"/>
                    </a:lnTo>
                    <a:lnTo>
                      <a:pt x="474" y="56"/>
                    </a:lnTo>
                    <a:lnTo>
                      <a:pt x="474" y="58"/>
                    </a:lnTo>
                    <a:lnTo>
                      <a:pt x="473" y="60"/>
                    </a:lnTo>
                    <a:lnTo>
                      <a:pt x="473" y="62"/>
                    </a:lnTo>
                    <a:lnTo>
                      <a:pt x="473" y="63"/>
                    </a:lnTo>
                    <a:lnTo>
                      <a:pt x="473" y="65"/>
                    </a:lnTo>
                    <a:lnTo>
                      <a:pt x="471" y="67"/>
                    </a:lnTo>
                    <a:lnTo>
                      <a:pt x="471" y="69"/>
                    </a:lnTo>
                    <a:lnTo>
                      <a:pt x="466" y="76"/>
                    </a:lnTo>
                    <a:lnTo>
                      <a:pt x="471" y="77"/>
                    </a:lnTo>
                    <a:lnTo>
                      <a:pt x="475" y="75"/>
                    </a:lnTo>
                    <a:lnTo>
                      <a:pt x="480" y="71"/>
                    </a:lnTo>
                    <a:lnTo>
                      <a:pt x="484" y="74"/>
                    </a:lnTo>
                    <a:lnTo>
                      <a:pt x="486" y="81"/>
                    </a:lnTo>
                    <a:lnTo>
                      <a:pt x="486" y="88"/>
                    </a:lnTo>
                    <a:lnTo>
                      <a:pt x="489" y="91"/>
                    </a:lnTo>
                    <a:lnTo>
                      <a:pt x="499" y="91"/>
                    </a:lnTo>
                    <a:lnTo>
                      <a:pt x="506" y="82"/>
                    </a:lnTo>
                    <a:lnTo>
                      <a:pt x="513" y="76"/>
                    </a:lnTo>
                    <a:lnTo>
                      <a:pt x="521" y="81"/>
                    </a:lnTo>
                    <a:lnTo>
                      <a:pt x="532" y="92"/>
                    </a:lnTo>
                    <a:lnTo>
                      <a:pt x="535" y="100"/>
                    </a:lnTo>
                    <a:lnTo>
                      <a:pt x="534" y="111"/>
                    </a:lnTo>
                    <a:lnTo>
                      <a:pt x="528" y="118"/>
                    </a:lnTo>
                    <a:lnTo>
                      <a:pt x="524" y="122"/>
                    </a:lnTo>
                    <a:lnTo>
                      <a:pt x="523" y="131"/>
                    </a:lnTo>
                    <a:lnTo>
                      <a:pt x="525" y="144"/>
                    </a:lnTo>
                    <a:lnTo>
                      <a:pt x="521" y="155"/>
                    </a:lnTo>
                    <a:lnTo>
                      <a:pt x="520" y="166"/>
                    </a:lnTo>
                    <a:lnTo>
                      <a:pt x="524" y="175"/>
                    </a:lnTo>
                    <a:lnTo>
                      <a:pt x="531" y="179"/>
                    </a:lnTo>
                    <a:lnTo>
                      <a:pt x="537" y="184"/>
                    </a:lnTo>
                    <a:lnTo>
                      <a:pt x="534" y="201"/>
                    </a:lnTo>
                    <a:lnTo>
                      <a:pt x="534" y="208"/>
                    </a:lnTo>
                    <a:lnTo>
                      <a:pt x="544" y="215"/>
                    </a:lnTo>
                    <a:lnTo>
                      <a:pt x="554" y="216"/>
                    </a:lnTo>
                    <a:lnTo>
                      <a:pt x="559" y="221"/>
                    </a:lnTo>
                    <a:lnTo>
                      <a:pt x="560" y="231"/>
                    </a:lnTo>
                    <a:lnTo>
                      <a:pt x="568" y="222"/>
                    </a:lnTo>
                    <a:lnTo>
                      <a:pt x="573" y="231"/>
                    </a:lnTo>
                    <a:lnTo>
                      <a:pt x="579" y="237"/>
                    </a:lnTo>
                    <a:lnTo>
                      <a:pt x="584" y="248"/>
                    </a:lnTo>
                    <a:lnTo>
                      <a:pt x="584" y="261"/>
                    </a:lnTo>
                    <a:lnTo>
                      <a:pt x="586" y="274"/>
                    </a:lnTo>
                    <a:lnTo>
                      <a:pt x="579" y="282"/>
                    </a:lnTo>
                    <a:lnTo>
                      <a:pt x="576" y="289"/>
                    </a:lnTo>
                    <a:lnTo>
                      <a:pt x="576" y="299"/>
                    </a:lnTo>
                    <a:lnTo>
                      <a:pt x="577" y="307"/>
                    </a:lnTo>
                    <a:lnTo>
                      <a:pt x="582" y="314"/>
                    </a:lnTo>
                    <a:lnTo>
                      <a:pt x="584" y="321"/>
                    </a:lnTo>
                    <a:lnTo>
                      <a:pt x="578" y="322"/>
                    </a:lnTo>
                    <a:lnTo>
                      <a:pt x="570" y="322"/>
                    </a:lnTo>
                    <a:lnTo>
                      <a:pt x="560" y="322"/>
                    </a:lnTo>
                    <a:lnTo>
                      <a:pt x="554" y="321"/>
                    </a:lnTo>
                    <a:lnTo>
                      <a:pt x="551" y="314"/>
                    </a:lnTo>
                    <a:lnTo>
                      <a:pt x="548" y="320"/>
                    </a:lnTo>
                    <a:lnTo>
                      <a:pt x="544" y="329"/>
                    </a:lnTo>
                    <a:lnTo>
                      <a:pt x="548" y="338"/>
                    </a:lnTo>
                    <a:lnTo>
                      <a:pt x="551" y="346"/>
                    </a:lnTo>
                    <a:lnTo>
                      <a:pt x="550" y="352"/>
                    </a:lnTo>
                    <a:lnTo>
                      <a:pt x="548" y="362"/>
                    </a:lnTo>
                    <a:lnTo>
                      <a:pt x="543" y="369"/>
                    </a:lnTo>
                    <a:lnTo>
                      <a:pt x="536" y="374"/>
                    </a:lnTo>
                    <a:lnTo>
                      <a:pt x="535" y="379"/>
                    </a:lnTo>
                    <a:lnTo>
                      <a:pt x="531" y="385"/>
                    </a:lnTo>
                    <a:lnTo>
                      <a:pt x="518" y="390"/>
                    </a:lnTo>
                    <a:lnTo>
                      <a:pt x="511" y="394"/>
                    </a:lnTo>
                    <a:lnTo>
                      <a:pt x="501" y="395"/>
                    </a:lnTo>
                    <a:lnTo>
                      <a:pt x="495" y="399"/>
                    </a:lnTo>
                    <a:lnTo>
                      <a:pt x="492" y="408"/>
                    </a:lnTo>
                    <a:lnTo>
                      <a:pt x="491" y="415"/>
                    </a:lnTo>
                    <a:lnTo>
                      <a:pt x="495" y="420"/>
                    </a:lnTo>
                    <a:lnTo>
                      <a:pt x="500" y="426"/>
                    </a:lnTo>
                    <a:lnTo>
                      <a:pt x="504" y="437"/>
                    </a:lnTo>
                    <a:lnTo>
                      <a:pt x="503" y="447"/>
                    </a:lnTo>
                    <a:lnTo>
                      <a:pt x="502" y="456"/>
                    </a:lnTo>
                    <a:lnTo>
                      <a:pt x="504" y="468"/>
                    </a:lnTo>
                    <a:lnTo>
                      <a:pt x="510" y="477"/>
                    </a:lnTo>
                    <a:lnTo>
                      <a:pt x="514" y="487"/>
                    </a:lnTo>
                    <a:lnTo>
                      <a:pt x="516" y="500"/>
                    </a:lnTo>
                    <a:lnTo>
                      <a:pt x="515" y="508"/>
                    </a:lnTo>
                    <a:lnTo>
                      <a:pt x="515" y="513"/>
                    </a:lnTo>
                    <a:lnTo>
                      <a:pt x="515" y="517"/>
                    </a:lnTo>
                    <a:lnTo>
                      <a:pt x="514" y="519"/>
                    </a:lnTo>
                    <a:lnTo>
                      <a:pt x="513" y="520"/>
                    </a:lnTo>
                    <a:lnTo>
                      <a:pt x="513" y="521"/>
                    </a:lnTo>
                    <a:lnTo>
                      <a:pt x="511" y="523"/>
                    </a:lnTo>
                    <a:lnTo>
                      <a:pt x="508" y="527"/>
                    </a:lnTo>
                    <a:lnTo>
                      <a:pt x="505" y="536"/>
                    </a:lnTo>
                    <a:lnTo>
                      <a:pt x="506" y="546"/>
                    </a:lnTo>
                    <a:lnTo>
                      <a:pt x="506" y="555"/>
                    </a:lnTo>
                    <a:lnTo>
                      <a:pt x="511" y="565"/>
                    </a:lnTo>
                    <a:lnTo>
                      <a:pt x="508" y="569"/>
                    </a:lnTo>
                    <a:lnTo>
                      <a:pt x="503" y="573"/>
                    </a:lnTo>
                    <a:lnTo>
                      <a:pt x="504" y="580"/>
                    </a:lnTo>
                    <a:lnTo>
                      <a:pt x="505" y="586"/>
                    </a:lnTo>
                    <a:lnTo>
                      <a:pt x="510" y="590"/>
                    </a:lnTo>
                    <a:lnTo>
                      <a:pt x="509" y="597"/>
                    </a:lnTo>
                    <a:lnTo>
                      <a:pt x="506" y="601"/>
                    </a:lnTo>
                    <a:lnTo>
                      <a:pt x="502" y="602"/>
                    </a:lnTo>
                    <a:lnTo>
                      <a:pt x="503" y="606"/>
                    </a:lnTo>
                    <a:lnTo>
                      <a:pt x="504" y="612"/>
                    </a:lnTo>
                    <a:lnTo>
                      <a:pt x="499" y="617"/>
                    </a:lnTo>
                    <a:lnTo>
                      <a:pt x="490" y="617"/>
                    </a:lnTo>
                    <a:lnTo>
                      <a:pt x="480" y="620"/>
                    </a:lnTo>
                    <a:lnTo>
                      <a:pt x="470" y="621"/>
                    </a:lnTo>
                    <a:lnTo>
                      <a:pt x="464" y="617"/>
                    </a:lnTo>
                    <a:lnTo>
                      <a:pt x="461" y="610"/>
                    </a:lnTo>
                    <a:lnTo>
                      <a:pt x="455" y="607"/>
                    </a:lnTo>
                    <a:lnTo>
                      <a:pt x="446" y="610"/>
                    </a:lnTo>
                    <a:lnTo>
                      <a:pt x="439" y="615"/>
                    </a:lnTo>
                    <a:lnTo>
                      <a:pt x="437" y="621"/>
                    </a:lnTo>
                    <a:lnTo>
                      <a:pt x="435" y="628"/>
                    </a:lnTo>
                    <a:lnTo>
                      <a:pt x="426" y="629"/>
                    </a:lnTo>
                    <a:lnTo>
                      <a:pt x="424" y="632"/>
                    </a:lnTo>
                    <a:lnTo>
                      <a:pt x="417" y="636"/>
                    </a:lnTo>
                    <a:lnTo>
                      <a:pt x="414" y="639"/>
                    </a:lnTo>
                    <a:lnTo>
                      <a:pt x="414" y="645"/>
                    </a:lnTo>
                    <a:lnTo>
                      <a:pt x="406" y="640"/>
                    </a:lnTo>
                    <a:lnTo>
                      <a:pt x="399" y="637"/>
                    </a:lnTo>
                    <a:lnTo>
                      <a:pt x="391" y="635"/>
                    </a:lnTo>
                    <a:lnTo>
                      <a:pt x="391" y="628"/>
                    </a:lnTo>
                    <a:lnTo>
                      <a:pt x="386" y="626"/>
                    </a:lnTo>
                    <a:lnTo>
                      <a:pt x="381" y="624"/>
                    </a:lnTo>
                    <a:lnTo>
                      <a:pt x="371" y="617"/>
                    </a:lnTo>
                    <a:lnTo>
                      <a:pt x="367" y="617"/>
                    </a:lnTo>
                    <a:lnTo>
                      <a:pt x="360" y="618"/>
                    </a:lnTo>
                    <a:lnTo>
                      <a:pt x="353" y="616"/>
                    </a:lnTo>
                    <a:lnTo>
                      <a:pt x="347" y="613"/>
                    </a:lnTo>
                    <a:lnTo>
                      <a:pt x="339" y="608"/>
                    </a:lnTo>
                    <a:lnTo>
                      <a:pt x="334" y="604"/>
                    </a:lnTo>
                    <a:lnTo>
                      <a:pt x="333" y="598"/>
                    </a:lnTo>
                    <a:lnTo>
                      <a:pt x="330" y="595"/>
                    </a:lnTo>
                    <a:lnTo>
                      <a:pt x="324" y="594"/>
                    </a:lnTo>
                    <a:lnTo>
                      <a:pt x="319" y="590"/>
                    </a:lnTo>
                    <a:lnTo>
                      <a:pt x="312" y="588"/>
                    </a:lnTo>
                    <a:lnTo>
                      <a:pt x="308" y="583"/>
                    </a:lnTo>
                    <a:lnTo>
                      <a:pt x="302" y="580"/>
                    </a:lnTo>
                    <a:lnTo>
                      <a:pt x="300" y="577"/>
                    </a:lnTo>
                    <a:lnTo>
                      <a:pt x="296" y="574"/>
                    </a:lnTo>
                    <a:lnTo>
                      <a:pt x="292" y="576"/>
                    </a:lnTo>
                    <a:lnTo>
                      <a:pt x="293" y="581"/>
                    </a:lnTo>
                    <a:lnTo>
                      <a:pt x="302" y="586"/>
                    </a:lnTo>
                    <a:lnTo>
                      <a:pt x="307" y="590"/>
                    </a:lnTo>
                    <a:lnTo>
                      <a:pt x="314" y="596"/>
                    </a:lnTo>
                    <a:lnTo>
                      <a:pt x="317" y="599"/>
                    </a:lnTo>
                    <a:lnTo>
                      <a:pt x="321" y="600"/>
                    </a:lnTo>
                    <a:lnTo>
                      <a:pt x="326" y="606"/>
                    </a:lnTo>
                    <a:lnTo>
                      <a:pt x="330" y="610"/>
                    </a:lnTo>
                    <a:lnTo>
                      <a:pt x="331" y="617"/>
                    </a:lnTo>
                    <a:lnTo>
                      <a:pt x="328" y="618"/>
                    </a:lnTo>
                    <a:lnTo>
                      <a:pt x="322" y="617"/>
                    </a:lnTo>
                    <a:lnTo>
                      <a:pt x="318" y="617"/>
                    </a:lnTo>
                    <a:lnTo>
                      <a:pt x="313" y="615"/>
                    </a:lnTo>
                    <a:lnTo>
                      <a:pt x="313" y="610"/>
                    </a:lnTo>
                    <a:lnTo>
                      <a:pt x="309" y="608"/>
                    </a:lnTo>
                    <a:lnTo>
                      <a:pt x="304" y="604"/>
                    </a:lnTo>
                    <a:lnTo>
                      <a:pt x="298" y="600"/>
                    </a:lnTo>
                    <a:lnTo>
                      <a:pt x="291" y="597"/>
                    </a:lnTo>
                    <a:lnTo>
                      <a:pt x="287" y="597"/>
                    </a:lnTo>
                    <a:lnTo>
                      <a:pt x="281" y="598"/>
                    </a:lnTo>
                    <a:lnTo>
                      <a:pt x="279" y="599"/>
                    </a:lnTo>
                    <a:lnTo>
                      <a:pt x="284" y="602"/>
                    </a:lnTo>
                    <a:lnTo>
                      <a:pt x="289" y="607"/>
                    </a:lnTo>
                    <a:lnTo>
                      <a:pt x="287" y="611"/>
                    </a:lnTo>
                    <a:lnTo>
                      <a:pt x="284" y="616"/>
                    </a:lnTo>
                    <a:lnTo>
                      <a:pt x="267" y="617"/>
                    </a:lnTo>
                    <a:lnTo>
                      <a:pt x="260" y="612"/>
                    </a:lnTo>
                    <a:lnTo>
                      <a:pt x="259" y="606"/>
                    </a:lnTo>
                    <a:lnTo>
                      <a:pt x="255" y="599"/>
                    </a:lnTo>
                    <a:lnTo>
                      <a:pt x="250" y="599"/>
                    </a:lnTo>
                    <a:lnTo>
                      <a:pt x="246" y="604"/>
                    </a:lnTo>
                    <a:lnTo>
                      <a:pt x="238" y="602"/>
                    </a:lnTo>
                    <a:lnTo>
                      <a:pt x="236" y="597"/>
                    </a:lnTo>
                    <a:lnTo>
                      <a:pt x="236" y="588"/>
                    </a:lnTo>
                    <a:lnTo>
                      <a:pt x="234" y="582"/>
                    </a:lnTo>
                    <a:lnTo>
                      <a:pt x="231" y="579"/>
                    </a:lnTo>
                    <a:lnTo>
                      <a:pt x="223" y="582"/>
                    </a:lnTo>
                    <a:lnTo>
                      <a:pt x="219" y="578"/>
                    </a:lnTo>
                    <a:lnTo>
                      <a:pt x="212" y="584"/>
                    </a:lnTo>
                    <a:lnTo>
                      <a:pt x="209" y="585"/>
                    </a:lnTo>
                    <a:lnTo>
                      <a:pt x="200" y="582"/>
                    </a:lnTo>
                    <a:lnTo>
                      <a:pt x="192" y="581"/>
                    </a:lnTo>
                    <a:lnTo>
                      <a:pt x="189" y="583"/>
                    </a:lnTo>
                    <a:lnTo>
                      <a:pt x="184" y="589"/>
                    </a:lnTo>
                    <a:lnTo>
                      <a:pt x="182" y="591"/>
                    </a:lnTo>
                    <a:lnTo>
                      <a:pt x="183" y="597"/>
                    </a:lnTo>
                    <a:lnTo>
                      <a:pt x="183" y="601"/>
                    </a:lnTo>
                    <a:lnTo>
                      <a:pt x="180" y="605"/>
                    </a:lnTo>
                    <a:lnTo>
                      <a:pt x="179" y="606"/>
                    </a:lnTo>
                    <a:lnTo>
                      <a:pt x="180" y="614"/>
                    </a:lnTo>
                    <a:lnTo>
                      <a:pt x="182" y="617"/>
                    </a:lnTo>
                    <a:lnTo>
                      <a:pt x="190" y="617"/>
                    </a:lnTo>
                    <a:lnTo>
                      <a:pt x="196" y="616"/>
                    </a:lnTo>
                    <a:lnTo>
                      <a:pt x="200" y="615"/>
                    </a:lnTo>
                    <a:lnTo>
                      <a:pt x="207" y="615"/>
                    </a:lnTo>
                    <a:lnTo>
                      <a:pt x="212" y="617"/>
                    </a:lnTo>
                    <a:lnTo>
                      <a:pt x="216" y="618"/>
                    </a:lnTo>
                    <a:lnTo>
                      <a:pt x="214" y="626"/>
                    </a:lnTo>
                    <a:lnTo>
                      <a:pt x="211" y="630"/>
                    </a:lnTo>
                    <a:lnTo>
                      <a:pt x="207" y="633"/>
                    </a:lnTo>
                    <a:lnTo>
                      <a:pt x="202" y="628"/>
                    </a:lnTo>
                    <a:lnTo>
                      <a:pt x="195" y="627"/>
                    </a:lnTo>
                    <a:lnTo>
                      <a:pt x="190" y="628"/>
                    </a:lnTo>
                    <a:lnTo>
                      <a:pt x="187" y="632"/>
                    </a:lnTo>
                    <a:lnTo>
                      <a:pt x="186" y="637"/>
                    </a:lnTo>
                    <a:lnTo>
                      <a:pt x="184" y="642"/>
                    </a:lnTo>
                    <a:lnTo>
                      <a:pt x="180" y="640"/>
                    </a:lnTo>
                    <a:lnTo>
                      <a:pt x="163" y="641"/>
                    </a:lnTo>
                    <a:lnTo>
                      <a:pt x="157" y="640"/>
                    </a:lnTo>
                    <a:lnTo>
                      <a:pt x="153" y="633"/>
                    </a:lnTo>
                    <a:lnTo>
                      <a:pt x="146" y="628"/>
                    </a:lnTo>
                    <a:lnTo>
                      <a:pt x="135" y="628"/>
                    </a:lnTo>
                    <a:lnTo>
                      <a:pt x="129" y="632"/>
                    </a:lnTo>
                    <a:lnTo>
                      <a:pt x="124" y="638"/>
                    </a:lnTo>
                    <a:lnTo>
                      <a:pt x="118" y="641"/>
                    </a:lnTo>
                    <a:lnTo>
                      <a:pt x="107" y="643"/>
                    </a:lnTo>
                    <a:lnTo>
                      <a:pt x="102" y="646"/>
                    </a:lnTo>
                    <a:lnTo>
                      <a:pt x="94" y="646"/>
                    </a:lnTo>
                    <a:lnTo>
                      <a:pt x="87" y="645"/>
                    </a:lnTo>
                    <a:lnTo>
                      <a:pt x="81" y="642"/>
                    </a:lnTo>
                    <a:lnTo>
                      <a:pt x="72" y="639"/>
                    </a:lnTo>
                    <a:lnTo>
                      <a:pt x="67" y="637"/>
                    </a:lnTo>
                    <a:lnTo>
                      <a:pt x="61" y="639"/>
                    </a:lnTo>
                    <a:lnTo>
                      <a:pt x="52" y="645"/>
                    </a:lnTo>
                    <a:lnTo>
                      <a:pt x="45" y="646"/>
                    </a:lnTo>
                    <a:lnTo>
                      <a:pt x="30" y="646"/>
                    </a:lnTo>
                    <a:lnTo>
                      <a:pt x="22" y="644"/>
                    </a:lnTo>
                    <a:lnTo>
                      <a:pt x="19" y="639"/>
                    </a:lnTo>
                    <a:lnTo>
                      <a:pt x="19" y="628"/>
                    </a:lnTo>
                    <a:lnTo>
                      <a:pt x="15" y="623"/>
                    </a:lnTo>
                    <a:lnTo>
                      <a:pt x="11" y="620"/>
                    </a:lnTo>
                    <a:lnTo>
                      <a:pt x="6" y="617"/>
                    </a:lnTo>
                    <a:lnTo>
                      <a:pt x="5" y="611"/>
                    </a:lnTo>
                    <a:lnTo>
                      <a:pt x="4" y="604"/>
                    </a:lnTo>
                    <a:lnTo>
                      <a:pt x="2" y="593"/>
                    </a:lnTo>
                    <a:lnTo>
                      <a:pt x="0" y="580"/>
                    </a:lnTo>
                    <a:lnTo>
                      <a:pt x="0" y="570"/>
                    </a:lnTo>
                    <a:lnTo>
                      <a:pt x="5" y="560"/>
                    </a:lnTo>
                    <a:lnTo>
                      <a:pt x="9" y="547"/>
                    </a:lnTo>
                    <a:lnTo>
                      <a:pt x="10" y="537"/>
                    </a:lnTo>
                    <a:lnTo>
                      <a:pt x="18" y="531"/>
                    </a:lnTo>
                    <a:lnTo>
                      <a:pt x="22" y="524"/>
                    </a:lnTo>
                    <a:lnTo>
                      <a:pt x="25" y="513"/>
                    </a:lnTo>
                    <a:lnTo>
                      <a:pt x="22" y="505"/>
                    </a:lnTo>
                    <a:lnTo>
                      <a:pt x="22" y="478"/>
                    </a:lnTo>
                    <a:lnTo>
                      <a:pt x="29" y="468"/>
                    </a:lnTo>
                    <a:lnTo>
                      <a:pt x="36" y="460"/>
                    </a:lnTo>
                    <a:lnTo>
                      <a:pt x="41" y="451"/>
                    </a:lnTo>
                    <a:lnTo>
                      <a:pt x="42" y="443"/>
                    </a:lnTo>
                    <a:lnTo>
                      <a:pt x="42" y="434"/>
                    </a:lnTo>
                    <a:lnTo>
                      <a:pt x="46" y="430"/>
                    </a:lnTo>
                    <a:lnTo>
                      <a:pt x="51" y="424"/>
                    </a:lnTo>
                    <a:lnTo>
                      <a:pt x="51" y="423"/>
                    </a:lnTo>
                    <a:lnTo>
                      <a:pt x="51" y="423"/>
                    </a:lnTo>
                    <a:lnTo>
                      <a:pt x="52" y="421"/>
                    </a:lnTo>
                    <a:lnTo>
                      <a:pt x="53" y="420"/>
                    </a:lnTo>
                    <a:lnTo>
                      <a:pt x="54" y="418"/>
                    </a:lnTo>
                    <a:lnTo>
                      <a:pt x="55" y="417"/>
                    </a:lnTo>
                    <a:lnTo>
                      <a:pt x="56" y="416"/>
                    </a:lnTo>
                    <a:lnTo>
                      <a:pt x="56" y="415"/>
                    </a:lnTo>
                    <a:lnTo>
                      <a:pt x="56" y="413"/>
                    </a:lnTo>
                    <a:lnTo>
                      <a:pt x="56" y="408"/>
                    </a:lnTo>
                    <a:lnTo>
                      <a:pt x="55" y="399"/>
                    </a:lnTo>
                    <a:lnTo>
                      <a:pt x="55" y="392"/>
                    </a:lnTo>
                    <a:lnTo>
                      <a:pt x="60" y="384"/>
                    </a:lnTo>
                    <a:lnTo>
                      <a:pt x="63" y="377"/>
                    </a:lnTo>
                    <a:lnTo>
                      <a:pt x="67" y="371"/>
                    </a:lnTo>
                    <a:lnTo>
                      <a:pt x="69" y="363"/>
                    </a:lnTo>
                    <a:lnTo>
                      <a:pt x="67" y="355"/>
                    </a:lnTo>
                    <a:lnTo>
                      <a:pt x="67" y="350"/>
                    </a:lnTo>
                    <a:lnTo>
                      <a:pt x="69" y="341"/>
                    </a:lnTo>
                    <a:lnTo>
                      <a:pt x="74" y="335"/>
                    </a:lnTo>
                    <a:lnTo>
                      <a:pt x="80" y="330"/>
                    </a:lnTo>
                    <a:lnTo>
                      <a:pt x="87" y="322"/>
                    </a:lnTo>
                    <a:lnTo>
                      <a:pt x="90" y="317"/>
                    </a:lnTo>
                    <a:lnTo>
                      <a:pt x="94" y="308"/>
                    </a:lnTo>
                    <a:lnTo>
                      <a:pt x="98" y="301"/>
                    </a:lnTo>
                    <a:lnTo>
                      <a:pt x="98" y="298"/>
                    </a:lnTo>
                    <a:lnTo>
                      <a:pt x="106" y="295"/>
                    </a:lnTo>
                    <a:lnTo>
                      <a:pt x="116" y="292"/>
                    </a:lnTo>
                    <a:lnTo>
                      <a:pt x="124" y="283"/>
                    </a:lnTo>
                    <a:lnTo>
                      <a:pt x="132" y="272"/>
                    </a:lnTo>
                    <a:lnTo>
                      <a:pt x="137" y="260"/>
                    </a:lnTo>
                    <a:lnTo>
                      <a:pt x="137" y="254"/>
                    </a:lnTo>
                    <a:lnTo>
                      <a:pt x="142" y="251"/>
                    </a:lnTo>
                    <a:lnTo>
                      <a:pt x="142" y="248"/>
                    </a:lnTo>
                    <a:lnTo>
                      <a:pt x="142" y="245"/>
                    </a:lnTo>
                    <a:lnTo>
                      <a:pt x="142" y="239"/>
                    </a:lnTo>
                    <a:lnTo>
                      <a:pt x="152" y="237"/>
                    </a:lnTo>
                    <a:lnTo>
                      <a:pt x="158" y="231"/>
                    </a:lnTo>
                    <a:lnTo>
                      <a:pt x="164" y="228"/>
                    </a:lnTo>
                    <a:lnTo>
                      <a:pt x="169" y="221"/>
                    </a:lnTo>
                    <a:lnTo>
                      <a:pt x="173" y="210"/>
                    </a:lnTo>
                    <a:lnTo>
                      <a:pt x="178" y="204"/>
                    </a:lnTo>
                    <a:lnTo>
                      <a:pt x="182" y="196"/>
                    </a:lnTo>
                    <a:lnTo>
                      <a:pt x="186" y="184"/>
                    </a:lnTo>
                    <a:lnTo>
                      <a:pt x="186" y="173"/>
                    </a:lnTo>
                    <a:lnTo>
                      <a:pt x="187" y="162"/>
                    </a:lnTo>
                    <a:lnTo>
                      <a:pt x="192" y="155"/>
                    </a:lnTo>
                    <a:lnTo>
                      <a:pt x="200" y="147"/>
                    </a:lnTo>
                    <a:lnTo>
                      <a:pt x="198" y="138"/>
                    </a:lnTo>
                    <a:lnTo>
                      <a:pt x="198" y="132"/>
                    </a:lnTo>
                    <a:lnTo>
                      <a:pt x="203" y="125"/>
                    </a:lnTo>
                    <a:lnTo>
                      <a:pt x="206" y="118"/>
                    </a:lnTo>
                    <a:lnTo>
                      <a:pt x="207" y="104"/>
                    </a:lnTo>
                    <a:lnTo>
                      <a:pt x="200" y="99"/>
                    </a:lnTo>
                    <a:lnTo>
                      <a:pt x="197" y="89"/>
                    </a:lnTo>
                    <a:lnTo>
                      <a:pt x="196" y="80"/>
                    </a:lnTo>
                    <a:lnTo>
                      <a:pt x="197" y="67"/>
                    </a:lnTo>
                    <a:lnTo>
                      <a:pt x="202" y="65"/>
                    </a:lnTo>
                    <a:lnTo>
                      <a:pt x="204" y="65"/>
                    </a:lnTo>
                    <a:lnTo>
                      <a:pt x="212" y="64"/>
                    </a:lnTo>
                    <a:lnTo>
                      <a:pt x="215" y="64"/>
                    </a:lnTo>
                    <a:lnTo>
                      <a:pt x="218" y="65"/>
                    </a:lnTo>
                    <a:lnTo>
                      <a:pt x="220" y="71"/>
                    </a:lnTo>
                    <a:lnTo>
                      <a:pt x="222" y="70"/>
                    </a:lnTo>
                    <a:lnTo>
                      <a:pt x="226" y="69"/>
                    </a:lnTo>
                    <a:lnTo>
                      <a:pt x="230" y="67"/>
                    </a:lnTo>
                    <a:lnTo>
                      <a:pt x="233" y="64"/>
                    </a:lnTo>
                    <a:lnTo>
                      <a:pt x="235" y="53"/>
                    </a:lnTo>
                    <a:lnTo>
                      <a:pt x="239" y="52"/>
                    </a:lnTo>
                    <a:lnTo>
                      <a:pt x="243" y="52"/>
                    </a:lnTo>
                    <a:lnTo>
                      <a:pt x="246" y="54"/>
                    </a:lnTo>
                    <a:lnTo>
                      <a:pt x="247" y="60"/>
                    </a:lnTo>
                    <a:lnTo>
                      <a:pt x="247" y="63"/>
                    </a:lnTo>
                    <a:lnTo>
                      <a:pt x="249" y="65"/>
                    </a:lnTo>
                    <a:lnTo>
                      <a:pt x="251" y="67"/>
                    </a:lnTo>
                    <a:lnTo>
                      <a:pt x="252" y="71"/>
                    </a:lnTo>
                    <a:lnTo>
                      <a:pt x="251" y="74"/>
                    </a:lnTo>
                    <a:lnTo>
                      <a:pt x="250" y="76"/>
                    </a:lnTo>
                    <a:lnTo>
                      <a:pt x="251" y="78"/>
                    </a:lnTo>
                    <a:lnTo>
                      <a:pt x="254" y="80"/>
                    </a:lnTo>
                    <a:lnTo>
                      <a:pt x="258" y="80"/>
                    </a:lnTo>
                    <a:lnTo>
                      <a:pt x="258" y="80"/>
                    </a:lnTo>
                    <a:lnTo>
                      <a:pt x="259" y="84"/>
                    </a:lnTo>
                    <a:lnTo>
                      <a:pt x="260" y="85"/>
                    </a:lnTo>
                    <a:lnTo>
                      <a:pt x="263" y="84"/>
                    </a:lnTo>
                    <a:lnTo>
                      <a:pt x="266" y="80"/>
                    </a:lnTo>
                    <a:lnTo>
                      <a:pt x="270" y="78"/>
                    </a:lnTo>
                    <a:lnTo>
                      <a:pt x="274" y="78"/>
                    </a:lnTo>
                    <a:lnTo>
                      <a:pt x="278" y="80"/>
                    </a:lnTo>
                    <a:lnTo>
                      <a:pt x="282" y="83"/>
                    </a:lnTo>
                    <a:lnTo>
                      <a:pt x="282" y="87"/>
                    </a:lnTo>
                    <a:lnTo>
                      <a:pt x="282" y="91"/>
                    </a:lnTo>
                    <a:lnTo>
                      <a:pt x="281" y="92"/>
                    </a:lnTo>
                    <a:lnTo>
                      <a:pt x="280" y="93"/>
                    </a:lnTo>
                    <a:lnTo>
                      <a:pt x="277" y="96"/>
                    </a:lnTo>
                    <a:lnTo>
                      <a:pt x="275" y="96"/>
                    </a:lnTo>
                    <a:lnTo>
                      <a:pt x="275" y="97"/>
                    </a:lnTo>
                    <a:lnTo>
                      <a:pt x="272" y="102"/>
                    </a:lnTo>
                    <a:lnTo>
                      <a:pt x="273" y="103"/>
                    </a:lnTo>
                    <a:lnTo>
                      <a:pt x="275" y="107"/>
                    </a:lnTo>
                    <a:lnTo>
                      <a:pt x="272" y="108"/>
                    </a:lnTo>
                    <a:lnTo>
                      <a:pt x="268" y="111"/>
                    </a:lnTo>
                    <a:lnTo>
                      <a:pt x="268" y="113"/>
                    </a:lnTo>
                    <a:lnTo>
                      <a:pt x="271" y="116"/>
                    </a:lnTo>
                    <a:lnTo>
                      <a:pt x="275" y="115"/>
                    </a:lnTo>
                    <a:lnTo>
                      <a:pt x="279" y="112"/>
                    </a:lnTo>
                    <a:lnTo>
                      <a:pt x="281" y="109"/>
                    </a:lnTo>
                    <a:lnTo>
                      <a:pt x="282" y="107"/>
                    </a:lnTo>
                    <a:lnTo>
                      <a:pt x="289" y="103"/>
                    </a:lnTo>
                    <a:lnTo>
                      <a:pt x="291" y="100"/>
                    </a:lnTo>
                    <a:lnTo>
                      <a:pt x="295" y="97"/>
                    </a:lnTo>
                    <a:lnTo>
                      <a:pt x="298" y="94"/>
                    </a:lnTo>
                    <a:lnTo>
                      <a:pt x="298" y="91"/>
                    </a:lnTo>
                    <a:lnTo>
                      <a:pt x="300" y="86"/>
                    </a:lnTo>
                    <a:lnTo>
                      <a:pt x="303" y="85"/>
                    </a:lnTo>
                    <a:lnTo>
                      <a:pt x="318" y="85"/>
                    </a:lnTo>
                    <a:lnTo>
                      <a:pt x="320" y="84"/>
                    </a:lnTo>
                    <a:lnTo>
                      <a:pt x="322" y="81"/>
                    </a:lnTo>
                    <a:lnTo>
                      <a:pt x="324" y="77"/>
                    </a:lnTo>
                    <a:lnTo>
                      <a:pt x="323" y="74"/>
                    </a:lnTo>
                    <a:lnTo>
                      <a:pt x="321" y="70"/>
                    </a:lnTo>
                    <a:lnTo>
                      <a:pt x="322" y="67"/>
                    </a:lnTo>
                    <a:lnTo>
                      <a:pt x="322" y="63"/>
                    </a:lnTo>
                    <a:lnTo>
                      <a:pt x="324" y="61"/>
                    </a:lnTo>
                    <a:lnTo>
                      <a:pt x="324" y="58"/>
                    </a:lnTo>
                    <a:lnTo>
                      <a:pt x="340" y="58"/>
                    </a:lnTo>
                    <a:lnTo>
                      <a:pt x="344" y="57"/>
                    </a:lnTo>
                    <a:lnTo>
                      <a:pt x="346" y="52"/>
                    </a:lnTo>
                    <a:lnTo>
                      <a:pt x="350" y="45"/>
                    </a:lnTo>
                    <a:lnTo>
                      <a:pt x="353" y="41"/>
                    </a:lnTo>
                    <a:lnTo>
                      <a:pt x="357" y="38"/>
                    </a:lnTo>
                    <a:lnTo>
                      <a:pt x="362" y="36"/>
                    </a:lnTo>
                    <a:lnTo>
                      <a:pt x="370" y="36"/>
                    </a:lnTo>
                    <a:lnTo>
                      <a:pt x="378" y="34"/>
                    </a:lnTo>
                    <a:lnTo>
                      <a:pt x="380" y="29"/>
                    </a:lnTo>
                    <a:lnTo>
                      <a:pt x="378" y="20"/>
                    </a:lnTo>
                    <a:lnTo>
                      <a:pt x="376" y="19"/>
                    </a:lnTo>
                    <a:lnTo>
                      <a:pt x="372" y="19"/>
                    </a:lnTo>
                    <a:lnTo>
                      <a:pt x="368" y="17"/>
                    </a:lnTo>
                    <a:lnTo>
                      <a:pt x="364" y="17"/>
                    </a:lnTo>
                    <a:lnTo>
                      <a:pt x="363" y="16"/>
                    </a:lnTo>
                    <a:lnTo>
                      <a:pt x="363" y="13"/>
                    </a:lnTo>
                    <a:lnTo>
                      <a:pt x="369" y="6"/>
                    </a:lnTo>
                    <a:lnTo>
                      <a:pt x="374" y="4"/>
                    </a:lnTo>
                    <a:lnTo>
                      <a:pt x="380" y="2"/>
                    </a:lnTo>
                    <a:lnTo>
                      <a:pt x="382" y="1"/>
                    </a:lnTo>
                    <a:lnTo>
                      <a:pt x="390" y="5"/>
                    </a:lnTo>
                    <a:lnTo>
                      <a:pt x="39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pic>
          <p:nvPicPr>
            <p:cNvPr id="63" name="Graphic 62">
              <a:extLst>
                <a:ext uri="{FF2B5EF4-FFF2-40B4-BE49-F238E27FC236}">
                  <a16:creationId xmlns:a16="http://schemas.microsoft.com/office/drawing/2014/main" id="{CBF39D38-0D44-4CD4-B0D1-5326E6162B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0750979" y="5864052"/>
              <a:ext cx="1465672" cy="937544"/>
            </a:xfrm>
            <a:prstGeom prst="rect">
              <a:avLst/>
            </a:prstGeom>
          </p:spPr>
        </p:pic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FDA2ED50-A448-4B42-8BE9-17616C0D17D9}"/>
                </a:ext>
              </a:extLst>
            </p:cNvPr>
            <p:cNvSpPr/>
            <p:nvPr/>
          </p:nvSpPr>
          <p:spPr>
            <a:xfrm>
              <a:off x="11792456" y="3953190"/>
              <a:ext cx="98133" cy="9813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2000" tIns="216000" rIns="72000" bIns="72000" rtlCol="0" anchor="t"/>
            <a:lstStyle/>
            <a:p>
              <a:pPr algn="ctr">
                <a:spcBef>
                  <a:spcPts val="600"/>
                </a:spcBef>
              </a:pPr>
              <a:r>
                <a:rPr lang="de-DE" sz="900">
                  <a:solidFill>
                    <a:schemeClr val="accent1"/>
                  </a:solidFill>
                  <a:latin typeface="+mj-lt"/>
                </a:rPr>
                <a:t>Kassel</a:t>
              </a:r>
              <a:endParaRPr lang="de-DE" sz="900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7ED24A1F-5F37-4D6B-BF00-731B6FB97190}"/>
                </a:ext>
              </a:extLst>
            </p:cNvPr>
            <p:cNvSpPr/>
            <p:nvPr/>
          </p:nvSpPr>
          <p:spPr>
            <a:xfrm>
              <a:off x="10922395" y="4062120"/>
              <a:ext cx="98133" cy="9813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2000" tIns="72000" rIns="72000" bIns="216000" rtlCol="0" anchor="b" anchorCtr="0"/>
            <a:lstStyle/>
            <a:p>
              <a:pPr algn="ctr">
                <a:spcBef>
                  <a:spcPts val="600"/>
                </a:spcBef>
              </a:pPr>
              <a:r>
                <a:rPr lang="de-DE" sz="900">
                  <a:solidFill>
                    <a:schemeClr val="accent1"/>
                  </a:solidFill>
                  <a:latin typeface="+mj-lt"/>
                </a:rPr>
                <a:t>Düsseldorf</a:t>
              </a:r>
              <a:endParaRPr lang="de-DE" sz="900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B86D63C0-0F5C-4AFD-9628-6BE9BFB42F9F}"/>
                </a:ext>
              </a:extLst>
            </p:cNvPr>
            <p:cNvSpPr/>
            <p:nvPr/>
          </p:nvSpPr>
          <p:spPr>
            <a:xfrm>
              <a:off x="11004261" y="4174600"/>
              <a:ext cx="98133" cy="9813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2000" tIns="216000" rIns="72000" bIns="72000" rtlCol="0" anchor="t"/>
            <a:lstStyle/>
            <a:p>
              <a:pPr algn="ctr">
                <a:spcBef>
                  <a:spcPts val="600"/>
                </a:spcBef>
              </a:pPr>
              <a:r>
                <a:rPr lang="de-DE" sz="900">
                  <a:solidFill>
                    <a:schemeClr val="accent1"/>
                  </a:solidFill>
                  <a:latin typeface="+mj-lt"/>
                </a:rPr>
                <a:t>Köln</a:t>
              </a:r>
              <a:endParaRPr lang="de-DE" sz="900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E9617D2B-57E0-44F1-9ABF-2E86AFD9D5A8}"/>
                </a:ext>
              </a:extLst>
            </p:cNvPr>
            <p:cNvSpPr/>
            <p:nvPr/>
          </p:nvSpPr>
          <p:spPr>
            <a:xfrm>
              <a:off x="12022019" y="2833118"/>
              <a:ext cx="98133" cy="9813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2000" tIns="216000" rIns="72000" bIns="72000" rtlCol="0" anchor="t"/>
            <a:lstStyle/>
            <a:p>
              <a:pPr algn="ctr">
                <a:spcBef>
                  <a:spcPts val="600"/>
                </a:spcBef>
              </a:pPr>
              <a:r>
                <a:rPr lang="de-DE" sz="900">
                  <a:solidFill>
                    <a:schemeClr val="accent1"/>
                  </a:solidFill>
                  <a:latin typeface="+mj-lt"/>
                </a:rPr>
                <a:t>Hamburg</a:t>
              </a:r>
              <a:endParaRPr lang="de-DE" sz="900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91099683-1763-4DB6-BE3D-923C9EA2C99A}"/>
                </a:ext>
              </a:extLst>
            </p:cNvPr>
            <p:cNvSpPr/>
            <p:nvPr/>
          </p:nvSpPr>
          <p:spPr>
            <a:xfrm>
              <a:off x="13048222" y="3333424"/>
              <a:ext cx="98133" cy="9813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2000" tIns="216000" rIns="72000" bIns="72000" rtlCol="0" anchor="t"/>
            <a:lstStyle/>
            <a:p>
              <a:pPr algn="ctr">
                <a:spcBef>
                  <a:spcPts val="600"/>
                </a:spcBef>
              </a:pPr>
              <a:r>
                <a:rPr lang="de-DE" sz="900">
                  <a:solidFill>
                    <a:schemeClr val="accent1"/>
                  </a:solidFill>
                  <a:latin typeface="+mj-lt"/>
                </a:rPr>
                <a:t>Berlin</a:t>
              </a:r>
              <a:endParaRPr lang="de-DE" sz="900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C63D5E17-432B-4D77-96E3-FB8AC8F575C3}"/>
                </a:ext>
              </a:extLst>
            </p:cNvPr>
            <p:cNvSpPr/>
            <p:nvPr/>
          </p:nvSpPr>
          <p:spPr>
            <a:xfrm>
              <a:off x="13253637" y="4088036"/>
              <a:ext cx="98133" cy="9813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2000" tIns="72000" rIns="72000" bIns="216000" rtlCol="0" anchor="b" anchorCtr="0"/>
            <a:lstStyle/>
            <a:p>
              <a:pPr algn="ctr">
                <a:spcBef>
                  <a:spcPts val="600"/>
                </a:spcBef>
              </a:pPr>
              <a:r>
                <a:rPr lang="de-DE" sz="900">
                  <a:solidFill>
                    <a:schemeClr val="accent1"/>
                  </a:solidFill>
                  <a:latin typeface="+mj-lt"/>
                </a:rPr>
                <a:t>Dresden</a:t>
              </a:r>
              <a:endParaRPr lang="de-DE" sz="900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B247916F-88A1-4973-8124-11B5D11F81D5}"/>
                </a:ext>
              </a:extLst>
            </p:cNvPr>
            <p:cNvSpPr/>
            <p:nvPr/>
          </p:nvSpPr>
          <p:spPr>
            <a:xfrm>
              <a:off x="11601729" y="4526221"/>
              <a:ext cx="98133" cy="9813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2000" tIns="72000" rIns="72000" bIns="216000" rtlCol="0" anchor="b" anchorCtr="0"/>
            <a:lstStyle/>
            <a:p>
              <a:pPr algn="ctr">
                <a:spcBef>
                  <a:spcPts val="600"/>
                </a:spcBef>
              </a:pPr>
              <a:r>
                <a:rPr lang="de-DE" sz="900">
                  <a:solidFill>
                    <a:schemeClr val="accent1"/>
                  </a:solidFill>
                  <a:latin typeface="+mj-lt"/>
                </a:rPr>
                <a:t>Frankfurt</a:t>
              </a:r>
              <a:endParaRPr lang="de-DE" sz="900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B8C72C45-972E-4A56-9D17-448BBBE813F2}"/>
                </a:ext>
              </a:extLst>
            </p:cNvPr>
            <p:cNvSpPr/>
            <p:nvPr/>
          </p:nvSpPr>
          <p:spPr>
            <a:xfrm>
              <a:off x="11464759" y="5184249"/>
              <a:ext cx="98133" cy="9813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2000" tIns="72000" rIns="72000" bIns="216000" rtlCol="0" anchor="b" anchorCtr="0"/>
            <a:lstStyle/>
            <a:p>
              <a:pPr algn="ctr">
                <a:spcBef>
                  <a:spcPts val="600"/>
                </a:spcBef>
              </a:pPr>
              <a:r>
                <a:rPr lang="de-DE" sz="900">
                  <a:solidFill>
                    <a:schemeClr val="accent1"/>
                  </a:solidFill>
                  <a:latin typeface="+mj-lt"/>
                </a:rPr>
                <a:t>Karlsruhe</a:t>
              </a:r>
              <a:endParaRPr lang="de-DE" sz="900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7973BB97-4210-4EFA-8574-FA40F191DA54}"/>
                </a:ext>
              </a:extLst>
            </p:cNvPr>
            <p:cNvSpPr/>
            <p:nvPr/>
          </p:nvSpPr>
          <p:spPr>
            <a:xfrm>
              <a:off x="11507996" y="4793684"/>
              <a:ext cx="98133" cy="9813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252000" tIns="72000" rIns="72000" bIns="72000" rtlCol="0" anchor="ctr" anchorCtr="0"/>
            <a:lstStyle/>
            <a:p>
              <a:pPr>
                <a:spcBef>
                  <a:spcPts val="600"/>
                </a:spcBef>
              </a:pPr>
              <a:r>
                <a:rPr lang="de-DE" sz="900" b="1">
                  <a:solidFill>
                    <a:schemeClr val="accent2"/>
                  </a:solidFill>
                  <a:latin typeface="+mj-lt"/>
                </a:rPr>
                <a:t>Mannheim</a:t>
              </a:r>
              <a:endParaRPr lang="de-DE" sz="900" b="1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88A1E69A-BF62-4269-8419-E112BC7CAC18}"/>
                </a:ext>
              </a:extLst>
            </p:cNvPr>
            <p:cNvSpPr/>
            <p:nvPr/>
          </p:nvSpPr>
          <p:spPr>
            <a:xfrm>
              <a:off x="11643027" y="5265732"/>
              <a:ext cx="98133" cy="9813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2000" tIns="216000" rIns="72000" bIns="72000" rtlCol="0" anchor="t"/>
            <a:lstStyle/>
            <a:p>
              <a:pPr algn="ctr">
                <a:spcBef>
                  <a:spcPts val="600"/>
                </a:spcBef>
              </a:pPr>
              <a:r>
                <a:rPr lang="de-DE" sz="900">
                  <a:solidFill>
                    <a:schemeClr val="accent1"/>
                  </a:solidFill>
                  <a:latin typeface="+mj-lt"/>
                </a:rPr>
                <a:t>Stuttgart</a:t>
              </a:r>
              <a:endParaRPr lang="de-DE" sz="900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2CAEF0D7-1DAB-4B23-9B8C-3BD6973B3011}"/>
                </a:ext>
              </a:extLst>
            </p:cNvPr>
            <p:cNvSpPr/>
            <p:nvPr/>
          </p:nvSpPr>
          <p:spPr>
            <a:xfrm>
              <a:off x="12553634" y="5533411"/>
              <a:ext cx="98133" cy="9813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2000" tIns="72000" rIns="72000" bIns="216000" rtlCol="0" anchor="b" anchorCtr="0"/>
            <a:lstStyle/>
            <a:p>
              <a:pPr algn="ctr">
                <a:spcBef>
                  <a:spcPts val="600"/>
                </a:spcBef>
              </a:pPr>
              <a:r>
                <a:rPr lang="de-DE" sz="900">
                  <a:solidFill>
                    <a:schemeClr val="accent1"/>
                  </a:solidFill>
                  <a:latin typeface="+mj-lt"/>
                </a:rPr>
                <a:t>München</a:t>
              </a:r>
              <a:endParaRPr lang="de-DE" sz="900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1D247308-32B9-423E-ABE9-1A5FC7956A90}"/>
                </a:ext>
              </a:extLst>
            </p:cNvPr>
            <p:cNvSpPr/>
            <p:nvPr/>
          </p:nvSpPr>
          <p:spPr>
            <a:xfrm>
              <a:off x="11535672" y="6018262"/>
              <a:ext cx="98133" cy="98133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72000" tIns="216000" rIns="72000" bIns="72000" rtlCol="0" anchor="t"/>
            <a:lstStyle/>
            <a:p>
              <a:pPr algn="ctr">
                <a:spcBef>
                  <a:spcPts val="600"/>
                </a:spcBef>
              </a:pPr>
              <a:r>
                <a:rPr lang="de-DE" sz="900">
                  <a:solidFill>
                    <a:schemeClr val="accent4"/>
                  </a:solidFill>
                  <a:latin typeface="+mj-lt"/>
                </a:rPr>
                <a:t>Zürich</a:t>
              </a:r>
              <a:endParaRPr lang="de-DE" sz="900" dirty="0">
                <a:solidFill>
                  <a:schemeClr val="accent4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09988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8AA3A8-C6E8-4FD8-A4D8-6FCB305045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1153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58AA3A8-C6E8-4FD8-A4D8-6FCB305045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7EB35B8-9341-4DB0-B454-DEA071C47A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01" y="381233"/>
            <a:ext cx="11231473" cy="935641"/>
          </a:xfrm>
        </p:spPr>
        <p:txBody>
          <a:bodyPr vert="horz"/>
          <a:lstStyle/>
          <a:p>
            <a:r>
              <a:rPr lang="de-DE" dirty="0"/>
              <a:t>Die PTA bietet das gesamte Leistungsspektrum </a:t>
            </a:r>
            <a:br>
              <a:rPr lang="de-DE" dirty="0"/>
            </a:br>
            <a:r>
              <a:rPr lang="de-DE" dirty="0"/>
              <a:t>einer IT-Unternehmensberatung a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D627DD3-71B4-4B81-9983-218D3DC65E8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 dirty="0">
                <a:solidFill>
                  <a:schemeClr val="accent4"/>
                </a:solidFill>
              </a:rPr>
              <a:t>PTA – Vorstellung </a:t>
            </a:r>
            <a:r>
              <a:rPr lang="de-DE" noProof="0" dirty="0" err="1">
                <a:solidFill>
                  <a:schemeClr val="accent4"/>
                </a:solidFill>
              </a:rPr>
              <a:t>Inflectra</a:t>
            </a:r>
            <a:endParaRPr lang="de-DE" noProof="0" dirty="0">
              <a:solidFill>
                <a:schemeClr val="accent4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E0D3A04-9A53-4171-A9FF-5EF103EF5E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F58692B-9CFC-42D8-9B64-0B547ADAD28E}" type="slidenum">
              <a:rPr lang="de-DE" noProof="0" smtClean="0"/>
              <a:pPr/>
              <a:t>17</a:t>
            </a:fld>
            <a:endParaRPr lang="de-DE" noProof="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571A7FF-0E41-43F2-B52B-5EE57B9B1493}"/>
              </a:ext>
            </a:extLst>
          </p:cNvPr>
          <p:cNvSpPr/>
          <p:nvPr/>
        </p:nvSpPr>
        <p:spPr>
          <a:xfrm>
            <a:off x="479900" y="2125713"/>
            <a:ext cx="933396" cy="9334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600" dirty="0"/>
          </a:p>
        </p:txBody>
      </p:sp>
      <p:sp>
        <p:nvSpPr>
          <p:cNvPr id="8" name="Richtungspfeil 36">
            <a:extLst>
              <a:ext uri="{FF2B5EF4-FFF2-40B4-BE49-F238E27FC236}">
                <a16:creationId xmlns:a16="http://schemas.microsoft.com/office/drawing/2014/main" id="{FF899E0B-60C0-4961-8896-FF360ACDC437}"/>
              </a:ext>
            </a:extLst>
          </p:cNvPr>
          <p:cNvSpPr/>
          <p:nvPr/>
        </p:nvSpPr>
        <p:spPr bwMode="gray">
          <a:xfrm>
            <a:off x="5801758" y="2125712"/>
            <a:ext cx="2767173" cy="933402"/>
          </a:xfrm>
          <a:prstGeom prst="homePlat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288000" bIns="72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schemeClr val="bg1"/>
                </a:solidFill>
              </a:rPr>
              <a:t>Qualitäts-</a:t>
            </a:r>
            <a:br>
              <a:rPr lang="de-DE" sz="1600" dirty="0">
                <a:solidFill>
                  <a:schemeClr val="bg1"/>
                </a:solidFill>
              </a:rPr>
            </a:br>
            <a:r>
              <a:rPr lang="de-DE" sz="1600" dirty="0" err="1">
                <a:solidFill>
                  <a:schemeClr val="bg1"/>
                </a:solidFill>
              </a:rPr>
              <a:t>sicherung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1479283-1D57-4110-8BE7-5B66831219CD}"/>
              </a:ext>
            </a:extLst>
          </p:cNvPr>
          <p:cNvSpPr/>
          <p:nvPr/>
        </p:nvSpPr>
        <p:spPr>
          <a:xfrm>
            <a:off x="1442143" y="2125712"/>
            <a:ext cx="2150960" cy="9334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600" dirty="0">
                <a:solidFill>
                  <a:schemeClr val="bg1"/>
                </a:solidFill>
              </a:rPr>
              <a:t>Projekt-</a:t>
            </a:r>
            <a:br>
              <a:rPr lang="de-DE" sz="1600" dirty="0">
                <a:solidFill>
                  <a:schemeClr val="bg1"/>
                </a:solidFill>
              </a:rPr>
            </a:br>
            <a:r>
              <a:rPr lang="de-DE" sz="1600" dirty="0" err="1">
                <a:solidFill>
                  <a:schemeClr val="bg1"/>
                </a:solidFill>
              </a:rPr>
              <a:t>management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9E6C74A-F5A5-4098-A388-59A703323893}"/>
              </a:ext>
            </a:extLst>
          </p:cNvPr>
          <p:cNvSpPr/>
          <p:nvPr/>
        </p:nvSpPr>
        <p:spPr>
          <a:xfrm>
            <a:off x="3621950" y="2125712"/>
            <a:ext cx="2150960" cy="9334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600">
                <a:solidFill>
                  <a:schemeClr val="bg1"/>
                </a:solidFill>
              </a:rPr>
              <a:t>Business Process Management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C3A31E8-88AE-4EE3-8BC9-57A2C375CE6B}"/>
              </a:ext>
            </a:extLst>
          </p:cNvPr>
          <p:cNvSpPr/>
          <p:nvPr/>
        </p:nvSpPr>
        <p:spPr>
          <a:xfrm>
            <a:off x="479900" y="3302104"/>
            <a:ext cx="933396" cy="9334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600" dirty="0"/>
          </a:p>
        </p:txBody>
      </p:sp>
      <p:sp>
        <p:nvSpPr>
          <p:cNvPr id="19" name="Richtungspfeil 36">
            <a:extLst>
              <a:ext uri="{FF2B5EF4-FFF2-40B4-BE49-F238E27FC236}">
                <a16:creationId xmlns:a16="http://schemas.microsoft.com/office/drawing/2014/main" id="{03BFF4D9-D8E8-4C67-A7DD-F9B3FB2AA8EB}"/>
              </a:ext>
            </a:extLst>
          </p:cNvPr>
          <p:cNvSpPr/>
          <p:nvPr/>
        </p:nvSpPr>
        <p:spPr bwMode="gray">
          <a:xfrm>
            <a:off x="5801758" y="3302103"/>
            <a:ext cx="2767173" cy="933402"/>
          </a:xfrm>
          <a:prstGeom prst="homePlat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288000" bIns="72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600">
                <a:solidFill>
                  <a:schemeClr val="bg1"/>
                </a:solidFill>
              </a:rPr>
              <a:t>Business </a:t>
            </a:r>
            <a:br>
              <a:rPr lang="de-DE" sz="1600">
                <a:solidFill>
                  <a:schemeClr val="bg1"/>
                </a:solidFill>
              </a:rPr>
            </a:br>
            <a:r>
              <a:rPr lang="de-DE" sz="1600">
                <a:solidFill>
                  <a:schemeClr val="bg1"/>
                </a:solidFill>
              </a:rPr>
              <a:t>Intelligence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163C842-3A3B-491C-8DDC-CA0345DD5868}"/>
              </a:ext>
            </a:extLst>
          </p:cNvPr>
          <p:cNvSpPr/>
          <p:nvPr/>
        </p:nvSpPr>
        <p:spPr>
          <a:xfrm>
            <a:off x="1442143" y="3302103"/>
            <a:ext cx="2150960" cy="9334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600">
                <a:solidFill>
                  <a:schemeClr val="bg1"/>
                </a:solidFill>
              </a:rPr>
              <a:t>Enterprise Resource Planning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D50BD69-4B13-408D-9665-0A24452BE7FC}"/>
              </a:ext>
            </a:extLst>
          </p:cNvPr>
          <p:cNvSpPr/>
          <p:nvPr/>
        </p:nvSpPr>
        <p:spPr>
          <a:xfrm>
            <a:off x="3621950" y="3302103"/>
            <a:ext cx="2150960" cy="93340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600">
                <a:solidFill>
                  <a:schemeClr val="bg1"/>
                </a:solidFill>
              </a:rPr>
              <a:t>Customer Relationship Management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E66B34F-2C49-4ADE-A56E-04F2F2A7A6EC}"/>
              </a:ext>
            </a:extLst>
          </p:cNvPr>
          <p:cNvSpPr/>
          <p:nvPr/>
        </p:nvSpPr>
        <p:spPr>
          <a:xfrm>
            <a:off x="479900" y="4478495"/>
            <a:ext cx="933396" cy="93340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sz="1600" dirty="0"/>
          </a:p>
        </p:txBody>
      </p:sp>
      <p:sp>
        <p:nvSpPr>
          <p:cNvPr id="26" name="Richtungspfeil 36">
            <a:extLst>
              <a:ext uri="{FF2B5EF4-FFF2-40B4-BE49-F238E27FC236}">
                <a16:creationId xmlns:a16="http://schemas.microsoft.com/office/drawing/2014/main" id="{2F8109A3-CF14-435E-97AB-2E0364524E99}"/>
              </a:ext>
            </a:extLst>
          </p:cNvPr>
          <p:cNvSpPr/>
          <p:nvPr/>
        </p:nvSpPr>
        <p:spPr bwMode="gray">
          <a:xfrm>
            <a:off x="5801758" y="4478494"/>
            <a:ext cx="2767173" cy="933402"/>
          </a:xfrm>
          <a:prstGeom prst="homePlate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288000" bIns="720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600">
                <a:solidFill>
                  <a:schemeClr val="bg1"/>
                </a:solidFill>
              </a:rPr>
              <a:t>Betrieb </a:t>
            </a:r>
            <a:br>
              <a:rPr lang="de-DE" sz="1600">
                <a:solidFill>
                  <a:schemeClr val="bg1"/>
                </a:solidFill>
              </a:rPr>
            </a:br>
            <a:r>
              <a:rPr lang="de-DE" sz="1600">
                <a:solidFill>
                  <a:schemeClr val="bg1"/>
                </a:solidFill>
              </a:rPr>
              <a:t>(DATIS IT Services)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74E0281-741A-4072-A403-D6A80014306F}"/>
              </a:ext>
            </a:extLst>
          </p:cNvPr>
          <p:cNvSpPr/>
          <p:nvPr/>
        </p:nvSpPr>
        <p:spPr>
          <a:xfrm>
            <a:off x="1442143" y="4478494"/>
            <a:ext cx="2150960" cy="93340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600">
                <a:solidFill>
                  <a:schemeClr val="bg1"/>
                </a:solidFill>
              </a:rPr>
              <a:t>Software-Entwicklung (Java, .NET)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96C8EAC-44A4-41B4-B367-48B54FAF95AA}"/>
              </a:ext>
            </a:extLst>
          </p:cNvPr>
          <p:cNvSpPr/>
          <p:nvPr/>
        </p:nvSpPr>
        <p:spPr>
          <a:xfrm>
            <a:off x="3621950" y="4478494"/>
            <a:ext cx="2150960" cy="93340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 anchorCtr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600">
                <a:solidFill>
                  <a:schemeClr val="bg1"/>
                </a:solidFill>
              </a:rPr>
              <a:t>Support und Service Management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32" name="Graphic 16">
            <a:extLst>
              <a:ext uri="{FF2B5EF4-FFF2-40B4-BE49-F238E27FC236}">
                <a16:creationId xmlns:a16="http://schemas.microsoft.com/office/drawing/2014/main" id="{83B07C1F-1C36-44C2-8050-2BFDDBC15A56}"/>
              </a:ext>
            </a:extLst>
          </p:cNvPr>
          <p:cNvSpPr>
            <a:spLocks noChangeAspect="1"/>
          </p:cNvSpPr>
          <p:nvPr/>
        </p:nvSpPr>
        <p:spPr>
          <a:xfrm>
            <a:off x="715748" y="2387214"/>
            <a:ext cx="461700" cy="410400"/>
          </a:xfrm>
          <a:custGeom>
            <a:avLst/>
            <a:gdLst>
              <a:gd name="connsiteX0" fmla="*/ 4876800 w 5486400"/>
              <a:gd name="connsiteY0" fmla="*/ 1524000 h 4876800"/>
              <a:gd name="connsiteX1" fmla="*/ 3962400 w 5486400"/>
              <a:gd name="connsiteY1" fmla="*/ 1524000 h 4876800"/>
              <a:gd name="connsiteX2" fmla="*/ 3962400 w 5486400"/>
              <a:gd name="connsiteY2" fmla="*/ 609600 h 4876800"/>
              <a:gd name="connsiteX3" fmla="*/ 3352800 w 5486400"/>
              <a:gd name="connsiteY3" fmla="*/ 0 h 4876800"/>
              <a:gd name="connsiteX4" fmla="*/ 609600 w 5486400"/>
              <a:gd name="connsiteY4" fmla="*/ 0 h 4876800"/>
              <a:gd name="connsiteX5" fmla="*/ 0 w 5486400"/>
              <a:gd name="connsiteY5" fmla="*/ 609600 h 4876800"/>
              <a:gd name="connsiteX6" fmla="*/ 0 w 5486400"/>
              <a:gd name="connsiteY6" fmla="*/ 2133600 h 4876800"/>
              <a:gd name="connsiteX7" fmla="*/ 609600 w 5486400"/>
              <a:gd name="connsiteY7" fmla="*/ 2743200 h 4876800"/>
              <a:gd name="connsiteX8" fmla="*/ 914400 w 5486400"/>
              <a:gd name="connsiteY8" fmla="*/ 2743200 h 4876800"/>
              <a:gd name="connsiteX9" fmla="*/ 914400 w 5486400"/>
              <a:gd name="connsiteY9" fmla="*/ 3238500 h 4876800"/>
              <a:gd name="connsiteX10" fmla="*/ 1028700 w 5486400"/>
              <a:gd name="connsiteY10" fmla="*/ 3352800 h 4876800"/>
              <a:gd name="connsiteX11" fmla="*/ 1096328 w 5486400"/>
              <a:gd name="connsiteY11" fmla="*/ 3329940 h 4876800"/>
              <a:gd name="connsiteX12" fmla="*/ 1828800 w 5486400"/>
              <a:gd name="connsiteY12" fmla="*/ 2915603 h 4876800"/>
              <a:gd name="connsiteX13" fmla="*/ 1828800 w 5486400"/>
              <a:gd name="connsiteY13" fmla="*/ 3657600 h 4876800"/>
              <a:gd name="connsiteX14" fmla="*/ 2438400 w 5486400"/>
              <a:gd name="connsiteY14" fmla="*/ 4267200 h 4876800"/>
              <a:gd name="connsiteX15" fmla="*/ 3352800 w 5486400"/>
              <a:gd name="connsiteY15" fmla="*/ 4267200 h 4876800"/>
              <a:gd name="connsiteX16" fmla="*/ 4390073 w 5486400"/>
              <a:gd name="connsiteY16" fmla="*/ 4853940 h 4876800"/>
              <a:gd name="connsiteX17" fmla="*/ 4457700 w 5486400"/>
              <a:gd name="connsiteY17" fmla="*/ 4876800 h 4876800"/>
              <a:gd name="connsiteX18" fmla="*/ 4572000 w 5486400"/>
              <a:gd name="connsiteY18" fmla="*/ 4762500 h 4876800"/>
              <a:gd name="connsiteX19" fmla="*/ 4572000 w 5486400"/>
              <a:gd name="connsiteY19" fmla="*/ 4267200 h 4876800"/>
              <a:gd name="connsiteX20" fmla="*/ 4876800 w 5486400"/>
              <a:gd name="connsiteY20" fmla="*/ 4267200 h 4876800"/>
              <a:gd name="connsiteX21" fmla="*/ 5486400 w 5486400"/>
              <a:gd name="connsiteY21" fmla="*/ 3657600 h 4876800"/>
              <a:gd name="connsiteX22" fmla="*/ 5486400 w 5486400"/>
              <a:gd name="connsiteY22" fmla="*/ 2133600 h 4876800"/>
              <a:gd name="connsiteX23" fmla="*/ 4876800 w 5486400"/>
              <a:gd name="connsiteY23" fmla="*/ 1524000 h 4876800"/>
              <a:gd name="connsiteX24" fmla="*/ 609600 w 5486400"/>
              <a:gd name="connsiteY24" fmla="*/ 2438400 h 4876800"/>
              <a:gd name="connsiteX25" fmla="*/ 304800 w 5486400"/>
              <a:gd name="connsiteY25" fmla="*/ 2133600 h 4876800"/>
              <a:gd name="connsiteX26" fmla="*/ 304800 w 5486400"/>
              <a:gd name="connsiteY26" fmla="*/ 609600 h 4876800"/>
              <a:gd name="connsiteX27" fmla="*/ 609600 w 5486400"/>
              <a:gd name="connsiteY27" fmla="*/ 304800 h 4876800"/>
              <a:gd name="connsiteX28" fmla="*/ 3352800 w 5486400"/>
              <a:gd name="connsiteY28" fmla="*/ 304800 h 4876800"/>
              <a:gd name="connsiteX29" fmla="*/ 3657600 w 5486400"/>
              <a:gd name="connsiteY29" fmla="*/ 609600 h 4876800"/>
              <a:gd name="connsiteX30" fmla="*/ 3657600 w 5486400"/>
              <a:gd name="connsiteY30" fmla="*/ 2133600 h 4876800"/>
              <a:gd name="connsiteX31" fmla="*/ 3352800 w 5486400"/>
              <a:gd name="connsiteY31" fmla="*/ 2438400 h 4876800"/>
              <a:gd name="connsiteX32" fmla="*/ 2053590 w 5486400"/>
              <a:gd name="connsiteY32" fmla="*/ 2438400 h 4876800"/>
              <a:gd name="connsiteX33" fmla="*/ 1984058 w 5486400"/>
              <a:gd name="connsiteY33" fmla="*/ 2478405 h 4876800"/>
              <a:gd name="connsiteX34" fmla="*/ 1219200 w 5486400"/>
              <a:gd name="connsiteY34" fmla="*/ 2910840 h 4876800"/>
              <a:gd name="connsiteX35" fmla="*/ 1219200 w 5486400"/>
              <a:gd name="connsiteY35" fmla="*/ 2438400 h 4876800"/>
              <a:gd name="connsiteX36" fmla="*/ 5181600 w 5486400"/>
              <a:gd name="connsiteY36" fmla="*/ 3657600 h 4876800"/>
              <a:gd name="connsiteX37" fmla="*/ 4876800 w 5486400"/>
              <a:gd name="connsiteY37" fmla="*/ 3962400 h 4876800"/>
              <a:gd name="connsiteX38" fmla="*/ 4267200 w 5486400"/>
              <a:gd name="connsiteY38" fmla="*/ 3962400 h 4876800"/>
              <a:gd name="connsiteX39" fmla="*/ 4267200 w 5486400"/>
              <a:gd name="connsiteY39" fmla="*/ 4434840 h 4876800"/>
              <a:gd name="connsiteX40" fmla="*/ 3503295 w 5486400"/>
              <a:gd name="connsiteY40" fmla="*/ 4002405 h 4876800"/>
              <a:gd name="connsiteX41" fmla="*/ 3433763 w 5486400"/>
              <a:gd name="connsiteY41" fmla="*/ 3962400 h 4876800"/>
              <a:gd name="connsiteX42" fmla="*/ 2438400 w 5486400"/>
              <a:gd name="connsiteY42" fmla="*/ 3962400 h 4876800"/>
              <a:gd name="connsiteX43" fmla="*/ 2133600 w 5486400"/>
              <a:gd name="connsiteY43" fmla="*/ 3657600 h 4876800"/>
              <a:gd name="connsiteX44" fmla="*/ 2133600 w 5486400"/>
              <a:gd name="connsiteY44" fmla="*/ 2743200 h 4876800"/>
              <a:gd name="connsiteX45" fmla="*/ 3352800 w 5486400"/>
              <a:gd name="connsiteY45" fmla="*/ 2743200 h 4876800"/>
              <a:gd name="connsiteX46" fmla="*/ 3962400 w 5486400"/>
              <a:gd name="connsiteY46" fmla="*/ 2133600 h 4876800"/>
              <a:gd name="connsiteX47" fmla="*/ 3962400 w 5486400"/>
              <a:gd name="connsiteY47" fmla="*/ 1828800 h 4876800"/>
              <a:gd name="connsiteX48" fmla="*/ 4876800 w 5486400"/>
              <a:gd name="connsiteY48" fmla="*/ 1828800 h 4876800"/>
              <a:gd name="connsiteX49" fmla="*/ 5181600 w 5486400"/>
              <a:gd name="connsiteY49" fmla="*/ 213360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5486400" h="4876800">
                <a:moveTo>
                  <a:pt x="4876800" y="1524000"/>
                </a:moveTo>
                <a:lnTo>
                  <a:pt x="3962400" y="1524000"/>
                </a:lnTo>
                <a:lnTo>
                  <a:pt x="3962400" y="609600"/>
                </a:lnTo>
                <a:cubicBezTo>
                  <a:pt x="3962400" y="273368"/>
                  <a:pt x="3689033" y="0"/>
                  <a:pt x="3352800" y="0"/>
                </a:cubicBezTo>
                <a:lnTo>
                  <a:pt x="609600" y="0"/>
                </a:lnTo>
                <a:cubicBezTo>
                  <a:pt x="273368" y="0"/>
                  <a:pt x="0" y="273368"/>
                  <a:pt x="0" y="609600"/>
                </a:cubicBezTo>
                <a:lnTo>
                  <a:pt x="0" y="2133600"/>
                </a:lnTo>
                <a:cubicBezTo>
                  <a:pt x="0" y="2469833"/>
                  <a:pt x="273368" y="2743200"/>
                  <a:pt x="609600" y="2743200"/>
                </a:cubicBezTo>
                <a:lnTo>
                  <a:pt x="914400" y="2743200"/>
                </a:lnTo>
                <a:lnTo>
                  <a:pt x="914400" y="3238500"/>
                </a:lnTo>
                <a:cubicBezTo>
                  <a:pt x="914400" y="3306128"/>
                  <a:pt x="969645" y="3352800"/>
                  <a:pt x="1028700" y="3352800"/>
                </a:cubicBezTo>
                <a:cubicBezTo>
                  <a:pt x="1051560" y="3352800"/>
                  <a:pt x="1075373" y="3346133"/>
                  <a:pt x="1096328" y="3329940"/>
                </a:cubicBezTo>
                <a:lnTo>
                  <a:pt x="1828800" y="2915603"/>
                </a:lnTo>
                <a:lnTo>
                  <a:pt x="1828800" y="3657600"/>
                </a:lnTo>
                <a:cubicBezTo>
                  <a:pt x="1828800" y="3993833"/>
                  <a:pt x="2102168" y="4267200"/>
                  <a:pt x="2438400" y="4267200"/>
                </a:cubicBezTo>
                <a:lnTo>
                  <a:pt x="3352800" y="4267200"/>
                </a:lnTo>
                <a:lnTo>
                  <a:pt x="4390073" y="4853940"/>
                </a:lnTo>
                <a:cubicBezTo>
                  <a:pt x="4411028" y="4869180"/>
                  <a:pt x="4434840" y="4876800"/>
                  <a:pt x="4457700" y="4876800"/>
                </a:cubicBezTo>
                <a:cubicBezTo>
                  <a:pt x="4516755" y="4876800"/>
                  <a:pt x="4572000" y="4830128"/>
                  <a:pt x="4572000" y="4762500"/>
                </a:cubicBezTo>
                <a:lnTo>
                  <a:pt x="4572000" y="4267200"/>
                </a:lnTo>
                <a:lnTo>
                  <a:pt x="4876800" y="4267200"/>
                </a:lnTo>
                <a:cubicBezTo>
                  <a:pt x="5213033" y="4267200"/>
                  <a:pt x="5486400" y="3993833"/>
                  <a:pt x="5486400" y="3657600"/>
                </a:cubicBezTo>
                <a:lnTo>
                  <a:pt x="5486400" y="2133600"/>
                </a:lnTo>
                <a:cubicBezTo>
                  <a:pt x="5486400" y="1797368"/>
                  <a:pt x="5213033" y="1524000"/>
                  <a:pt x="4876800" y="1524000"/>
                </a:cubicBezTo>
                <a:close/>
                <a:moveTo>
                  <a:pt x="609600" y="2438400"/>
                </a:moveTo>
                <a:cubicBezTo>
                  <a:pt x="441960" y="2438400"/>
                  <a:pt x="304800" y="2301240"/>
                  <a:pt x="304800" y="2133600"/>
                </a:cubicBezTo>
                <a:lnTo>
                  <a:pt x="304800" y="609600"/>
                </a:lnTo>
                <a:cubicBezTo>
                  <a:pt x="304800" y="441960"/>
                  <a:pt x="441960" y="304800"/>
                  <a:pt x="609600" y="304800"/>
                </a:cubicBezTo>
                <a:lnTo>
                  <a:pt x="3352800" y="304800"/>
                </a:lnTo>
                <a:cubicBezTo>
                  <a:pt x="3520440" y="304800"/>
                  <a:pt x="3657600" y="441960"/>
                  <a:pt x="3657600" y="609600"/>
                </a:cubicBezTo>
                <a:lnTo>
                  <a:pt x="3657600" y="2133600"/>
                </a:lnTo>
                <a:cubicBezTo>
                  <a:pt x="3657600" y="2301240"/>
                  <a:pt x="3520440" y="2438400"/>
                  <a:pt x="3352800" y="2438400"/>
                </a:cubicBezTo>
                <a:lnTo>
                  <a:pt x="2053590" y="2438400"/>
                </a:lnTo>
                <a:lnTo>
                  <a:pt x="1984058" y="2478405"/>
                </a:lnTo>
                <a:lnTo>
                  <a:pt x="1219200" y="2910840"/>
                </a:lnTo>
                <a:lnTo>
                  <a:pt x="1219200" y="2438400"/>
                </a:lnTo>
                <a:close/>
                <a:moveTo>
                  <a:pt x="5181600" y="3657600"/>
                </a:moveTo>
                <a:cubicBezTo>
                  <a:pt x="5181600" y="3825240"/>
                  <a:pt x="5044440" y="3962400"/>
                  <a:pt x="4876800" y="3962400"/>
                </a:cubicBezTo>
                <a:lnTo>
                  <a:pt x="4267200" y="3962400"/>
                </a:lnTo>
                <a:lnTo>
                  <a:pt x="4267200" y="4434840"/>
                </a:lnTo>
                <a:lnTo>
                  <a:pt x="3503295" y="4002405"/>
                </a:lnTo>
                <a:lnTo>
                  <a:pt x="3433763" y="3962400"/>
                </a:lnTo>
                <a:lnTo>
                  <a:pt x="2438400" y="3962400"/>
                </a:lnTo>
                <a:cubicBezTo>
                  <a:pt x="2270760" y="3962400"/>
                  <a:pt x="2133600" y="3825240"/>
                  <a:pt x="2133600" y="3657600"/>
                </a:cubicBezTo>
                <a:lnTo>
                  <a:pt x="2133600" y="2743200"/>
                </a:lnTo>
                <a:lnTo>
                  <a:pt x="3352800" y="2743200"/>
                </a:lnTo>
                <a:cubicBezTo>
                  <a:pt x="3689033" y="2743200"/>
                  <a:pt x="3962400" y="2469833"/>
                  <a:pt x="3962400" y="2133600"/>
                </a:cubicBezTo>
                <a:lnTo>
                  <a:pt x="3962400" y="1828800"/>
                </a:lnTo>
                <a:lnTo>
                  <a:pt x="4876800" y="1828800"/>
                </a:lnTo>
                <a:cubicBezTo>
                  <a:pt x="5044440" y="1828800"/>
                  <a:pt x="5181600" y="1965960"/>
                  <a:pt x="5181600" y="213360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33" name="Graphic 4">
            <a:extLst>
              <a:ext uri="{FF2B5EF4-FFF2-40B4-BE49-F238E27FC236}">
                <a16:creationId xmlns:a16="http://schemas.microsoft.com/office/drawing/2014/main" id="{1659BC37-6DE7-498F-A0EA-81EA477DEF97}"/>
              </a:ext>
            </a:extLst>
          </p:cNvPr>
          <p:cNvSpPr>
            <a:spLocks noChangeAspect="1"/>
          </p:cNvSpPr>
          <p:nvPr/>
        </p:nvSpPr>
        <p:spPr>
          <a:xfrm>
            <a:off x="690167" y="3563605"/>
            <a:ext cx="512863" cy="410400"/>
          </a:xfrm>
          <a:custGeom>
            <a:avLst/>
            <a:gdLst>
              <a:gd name="connsiteX0" fmla="*/ 5130412 w 6096961"/>
              <a:gd name="connsiteY0" fmla="*/ 1871666 h 4878872"/>
              <a:gd name="connsiteX1" fmla="*/ 5106600 w 6096961"/>
              <a:gd name="connsiteY1" fmla="*/ 1834519 h 4878872"/>
              <a:gd name="connsiteX2" fmla="*/ 4990395 w 6096961"/>
              <a:gd name="connsiteY2" fmla="*/ 1834519 h 4878872"/>
              <a:gd name="connsiteX3" fmla="*/ 4966583 w 6096961"/>
              <a:gd name="connsiteY3" fmla="*/ 1872619 h 4878872"/>
              <a:gd name="connsiteX4" fmla="*/ 4704645 w 6096961"/>
              <a:gd name="connsiteY4" fmla="*/ 1968822 h 4878872"/>
              <a:gd name="connsiteX5" fmla="*/ 4377938 w 6096961"/>
              <a:gd name="connsiteY5" fmla="*/ 1796419 h 4878872"/>
              <a:gd name="connsiteX6" fmla="*/ 4326503 w 6096961"/>
              <a:gd name="connsiteY6" fmla="*/ 1506859 h 4878872"/>
              <a:gd name="connsiteX7" fmla="*/ 4350315 w 6096961"/>
              <a:gd name="connsiteY7" fmla="*/ 1465901 h 4878872"/>
              <a:gd name="connsiteX8" fmla="*/ 4292213 w 6096961"/>
              <a:gd name="connsiteY8" fmla="*/ 1364936 h 4878872"/>
              <a:gd name="connsiteX9" fmla="*/ 4205535 w 6096961"/>
              <a:gd name="connsiteY9" fmla="*/ 1364936 h 4878872"/>
              <a:gd name="connsiteX10" fmla="*/ 3980745 w 6096961"/>
              <a:gd name="connsiteY10" fmla="*/ 1178246 h 4878872"/>
              <a:gd name="connsiteX11" fmla="*/ 3981698 w 6096961"/>
              <a:gd name="connsiteY11" fmla="*/ 811534 h 4878872"/>
              <a:gd name="connsiteX12" fmla="*/ 4206488 w 6096961"/>
              <a:gd name="connsiteY12" fmla="*/ 625796 h 4878872"/>
              <a:gd name="connsiteX13" fmla="*/ 4292213 w 6096961"/>
              <a:gd name="connsiteY13" fmla="*/ 625796 h 4878872"/>
              <a:gd name="connsiteX14" fmla="*/ 4350315 w 6096961"/>
              <a:gd name="connsiteY14" fmla="*/ 524831 h 4878872"/>
              <a:gd name="connsiteX15" fmla="*/ 4325550 w 6096961"/>
              <a:gd name="connsiteY15" fmla="*/ 481969 h 4878872"/>
              <a:gd name="connsiteX16" fmla="*/ 4375080 w 6096961"/>
              <a:gd name="connsiteY16" fmla="*/ 193361 h 4878872"/>
              <a:gd name="connsiteX17" fmla="*/ 4694168 w 6096961"/>
              <a:gd name="connsiteY17" fmla="*/ 12386 h 4878872"/>
              <a:gd name="connsiteX18" fmla="*/ 4965630 w 6096961"/>
              <a:gd name="connsiteY18" fmla="*/ 113351 h 4878872"/>
              <a:gd name="connsiteX19" fmla="*/ 4990395 w 6096961"/>
              <a:gd name="connsiteY19" fmla="*/ 155261 h 4878872"/>
              <a:gd name="connsiteX20" fmla="*/ 5106600 w 6096961"/>
              <a:gd name="connsiteY20" fmla="*/ 155261 h 4878872"/>
              <a:gd name="connsiteX21" fmla="*/ 5131365 w 6096961"/>
              <a:gd name="connsiteY21" fmla="*/ 113351 h 4878872"/>
              <a:gd name="connsiteX22" fmla="*/ 5403780 w 6096961"/>
              <a:gd name="connsiteY22" fmla="*/ 13339 h 4878872"/>
              <a:gd name="connsiteX23" fmla="*/ 5722868 w 6096961"/>
              <a:gd name="connsiteY23" fmla="*/ 195266 h 4878872"/>
              <a:gd name="connsiteX24" fmla="*/ 5771445 w 6096961"/>
              <a:gd name="connsiteY24" fmla="*/ 482921 h 4878872"/>
              <a:gd name="connsiteX25" fmla="*/ 5746680 w 6096961"/>
              <a:gd name="connsiteY25" fmla="*/ 524831 h 4878872"/>
              <a:gd name="connsiteX26" fmla="*/ 5804783 w 6096961"/>
              <a:gd name="connsiteY26" fmla="*/ 625796 h 4878872"/>
              <a:gd name="connsiteX27" fmla="*/ 5853360 w 6096961"/>
              <a:gd name="connsiteY27" fmla="*/ 625796 h 4878872"/>
              <a:gd name="connsiteX28" fmla="*/ 6078150 w 6096961"/>
              <a:gd name="connsiteY28" fmla="*/ 812486 h 4878872"/>
              <a:gd name="connsiteX29" fmla="*/ 6077198 w 6096961"/>
              <a:gd name="connsiteY29" fmla="*/ 1179199 h 4878872"/>
              <a:gd name="connsiteX30" fmla="*/ 5852408 w 6096961"/>
              <a:gd name="connsiteY30" fmla="*/ 1364936 h 4878872"/>
              <a:gd name="connsiteX31" fmla="*/ 5804783 w 6096961"/>
              <a:gd name="connsiteY31" fmla="*/ 1364936 h 4878872"/>
              <a:gd name="connsiteX32" fmla="*/ 5746680 w 6096961"/>
              <a:gd name="connsiteY32" fmla="*/ 1465901 h 4878872"/>
              <a:gd name="connsiteX33" fmla="*/ 5770493 w 6096961"/>
              <a:gd name="connsiteY33" fmla="*/ 1506859 h 4878872"/>
              <a:gd name="connsiteX34" fmla="*/ 5718105 w 6096961"/>
              <a:gd name="connsiteY34" fmla="*/ 1797372 h 4878872"/>
              <a:gd name="connsiteX35" fmla="*/ 5394255 w 6096961"/>
              <a:gd name="connsiteY35" fmla="*/ 1967869 h 4878872"/>
              <a:gd name="connsiteX36" fmla="*/ 5130412 w 6096961"/>
              <a:gd name="connsiteY36" fmla="*/ 1871666 h 4878872"/>
              <a:gd name="connsiteX37" fmla="*/ 5246618 w 6096961"/>
              <a:gd name="connsiteY37" fmla="*/ 1543054 h 4878872"/>
              <a:gd name="connsiteX38" fmla="*/ 5347583 w 6096961"/>
              <a:gd name="connsiteY38" fmla="*/ 1717361 h 4878872"/>
              <a:gd name="connsiteX39" fmla="*/ 5525700 w 6096961"/>
              <a:gd name="connsiteY39" fmla="*/ 1614491 h 4878872"/>
              <a:gd name="connsiteX40" fmla="*/ 5424735 w 6096961"/>
              <a:gd name="connsiteY40" fmla="*/ 1440184 h 4878872"/>
              <a:gd name="connsiteX41" fmla="*/ 5485695 w 6096961"/>
              <a:gd name="connsiteY41" fmla="*/ 1368747 h 4878872"/>
              <a:gd name="connsiteX42" fmla="*/ 5590470 w 6096961"/>
              <a:gd name="connsiteY42" fmla="*/ 1186819 h 4878872"/>
              <a:gd name="connsiteX43" fmla="*/ 5621903 w 6096961"/>
              <a:gd name="connsiteY43" fmla="*/ 1098236 h 4878872"/>
              <a:gd name="connsiteX44" fmla="*/ 5822880 w 6096961"/>
              <a:gd name="connsiteY44" fmla="*/ 1098236 h 4878872"/>
              <a:gd name="connsiteX45" fmla="*/ 5822880 w 6096961"/>
              <a:gd name="connsiteY45" fmla="*/ 893449 h 4878872"/>
              <a:gd name="connsiteX46" fmla="*/ 5621903 w 6096961"/>
              <a:gd name="connsiteY46" fmla="*/ 893449 h 4878872"/>
              <a:gd name="connsiteX47" fmla="*/ 5590470 w 6096961"/>
              <a:gd name="connsiteY47" fmla="*/ 804866 h 4878872"/>
              <a:gd name="connsiteX48" fmla="*/ 5485695 w 6096961"/>
              <a:gd name="connsiteY48" fmla="*/ 622939 h 4878872"/>
              <a:gd name="connsiteX49" fmla="*/ 5424735 w 6096961"/>
              <a:gd name="connsiteY49" fmla="*/ 551501 h 4878872"/>
              <a:gd name="connsiteX50" fmla="*/ 5524748 w 6096961"/>
              <a:gd name="connsiteY50" fmla="*/ 376241 h 4878872"/>
              <a:gd name="connsiteX51" fmla="*/ 5346630 w 6096961"/>
              <a:gd name="connsiteY51" fmla="*/ 273371 h 4878872"/>
              <a:gd name="connsiteX52" fmla="*/ 5245665 w 6096961"/>
              <a:gd name="connsiteY52" fmla="*/ 447679 h 4878872"/>
              <a:gd name="connsiteX53" fmla="*/ 5153273 w 6096961"/>
              <a:gd name="connsiteY53" fmla="*/ 430534 h 4878872"/>
              <a:gd name="connsiteX54" fmla="*/ 4942770 w 6096961"/>
              <a:gd name="connsiteY54" fmla="*/ 430534 h 4878872"/>
              <a:gd name="connsiteX55" fmla="*/ 4850378 w 6096961"/>
              <a:gd name="connsiteY55" fmla="*/ 447679 h 4878872"/>
              <a:gd name="connsiteX56" fmla="*/ 4749413 w 6096961"/>
              <a:gd name="connsiteY56" fmla="*/ 273371 h 4878872"/>
              <a:gd name="connsiteX57" fmla="*/ 4572248 w 6096961"/>
              <a:gd name="connsiteY57" fmla="*/ 376241 h 4878872"/>
              <a:gd name="connsiteX58" fmla="*/ 4673213 w 6096961"/>
              <a:gd name="connsiteY58" fmla="*/ 550549 h 4878872"/>
              <a:gd name="connsiteX59" fmla="*/ 4612253 w 6096961"/>
              <a:gd name="connsiteY59" fmla="*/ 621986 h 4878872"/>
              <a:gd name="connsiteX60" fmla="*/ 4507478 w 6096961"/>
              <a:gd name="connsiteY60" fmla="*/ 803914 h 4878872"/>
              <a:gd name="connsiteX61" fmla="*/ 4476045 w 6096961"/>
              <a:gd name="connsiteY61" fmla="*/ 892496 h 4878872"/>
              <a:gd name="connsiteX62" fmla="*/ 4275068 w 6096961"/>
              <a:gd name="connsiteY62" fmla="*/ 892496 h 4878872"/>
              <a:gd name="connsiteX63" fmla="*/ 4275068 w 6096961"/>
              <a:gd name="connsiteY63" fmla="*/ 1097284 h 4878872"/>
              <a:gd name="connsiteX64" fmla="*/ 4476045 w 6096961"/>
              <a:gd name="connsiteY64" fmla="*/ 1097284 h 4878872"/>
              <a:gd name="connsiteX65" fmla="*/ 4507478 w 6096961"/>
              <a:gd name="connsiteY65" fmla="*/ 1185866 h 4878872"/>
              <a:gd name="connsiteX66" fmla="*/ 4612253 w 6096961"/>
              <a:gd name="connsiteY66" fmla="*/ 1367794 h 4878872"/>
              <a:gd name="connsiteX67" fmla="*/ 4673213 w 6096961"/>
              <a:gd name="connsiteY67" fmla="*/ 1439231 h 4878872"/>
              <a:gd name="connsiteX68" fmla="*/ 4572248 w 6096961"/>
              <a:gd name="connsiteY68" fmla="*/ 1614491 h 4878872"/>
              <a:gd name="connsiteX69" fmla="*/ 4750365 w 6096961"/>
              <a:gd name="connsiteY69" fmla="*/ 1717361 h 4878872"/>
              <a:gd name="connsiteX70" fmla="*/ 4851330 w 6096961"/>
              <a:gd name="connsiteY70" fmla="*/ 1543054 h 4878872"/>
              <a:gd name="connsiteX71" fmla="*/ 4943723 w 6096961"/>
              <a:gd name="connsiteY71" fmla="*/ 1560199 h 4878872"/>
              <a:gd name="connsiteX72" fmla="*/ 5154225 w 6096961"/>
              <a:gd name="connsiteY72" fmla="*/ 1560199 h 4878872"/>
              <a:gd name="connsiteX73" fmla="*/ 5246618 w 6096961"/>
              <a:gd name="connsiteY73" fmla="*/ 1543054 h 4878872"/>
              <a:gd name="connsiteX74" fmla="*/ 1384230 w 6096961"/>
              <a:gd name="connsiteY74" fmla="*/ 4329117 h 4878872"/>
              <a:gd name="connsiteX75" fmla="*/ 1384230 w 6096961"/>
              <a:gd name="connsiteY75" fmla="*/ 4028126 h 4878872"/>
              <a:gd name="connsiteX76" fmla="*/ 1037520 w 6096961"/>
              <a:gd name="connsiteY76" fmla="*/ 3827149 h 4878872"/>
              <a:gd name="connsiteX77" fmla="*/ 775582 w 6096961"/>
              <a:gd name="connsiteY77" fmla="*/ 3978597 h 4878872"/>
              <a:gd name="connsiteX78" fmla="*/ 492690 w 6096961"/>
              <a:gd name="connsiteY78" fmla="*/ 3934782 h 4878872"/>
              <a:gd name="connsiteX79" fmla="*/ 10725 w 6096961"/>
              <a:gd name="connsiteY79" fmla="*/ 3095629 h 4878872"/>
              <a:gd name="connsiteX80" fmla="*/ 113595 w 6096961"/>
              <a:gd name="connsiteY80" fmla="*/ 2828929 h 4878872"/>
              <a:gd name="connsiteX81" fmla="*/ 373627 w 6096961"/>
              <a:gd name="connsiteY81" fmla="*/ 2677482 h 4878872"/>
              <a:gd name="connsiteX82" fmla="*/ 373627 w 6096961"/>
              <a:gd name="connsiteY82" fmla="*/ 2276479 h 4878872"/>
              <a:gd name="connsiteX83" fmla="*/ 113595 w 6096961"/>
              <a:gd name="connsiteY83" fmla="*/ 2125984 h 4878872"/>
              <a:gd name="connsiteX84" fmla="*/ 10725 w 6096961"/>
              <a:gd name="connsiteY84" fmla="*/ 1859284 h 4878872"/>
              <a:gd name="connsiteX85" fmla="*/ 492690 w 6096961"/>
              <a:gd name="connsiteY85" fmla="*/ 1020131 h 4878872"/>
              <a:gd name="connsiteX86" fmla="*/ 775582 w 6096961"/>
              <a:gd name="connsiteY86" fmla="*/ 976316 h 4878872"/>
              <a:gd name="connsiteX87" fmla="*/ 1036567 w 6096961"/>
              <a:gd name="connsiteY87" fmla="*/ 1127764 h 4878872"/>
              <a:gd name="connsiteX88" fmla="*/ 1383277 w 6096961"/>
              <a:gd name="connsiteY88" fmla="*/ 926786 h 4878872"/>
              <a:gd name="connsiteX89" fmla="*/ 1383277 w 6096961"/>
              <a:gd name="connsiteY89" fmla="*/ 625796 h 4878872"/>
              <a:gd name="connsiteX90" fmla="*/ 1562347 w 6096961"/>
              <a:gd name="connsiteY90" fmla="*/ 402911 h 4878872"/>
              <a:gd name="connsiteX91" fmla="*/ 2531040 w 6096961"/>
              <a:gd name="connsiteY91" fmla="*/ 402911 h 4878872"/>
              <a:gd name="connsiteX92" fmla="*/ 2711063 w 6096961"/>
              <a:gd name="connsiteY92" fmla="*/ 625796 h 4878872"/>
              <a:gd name="connsiteX93" fmla="*/ 2711063 w 6096961"/>
              <a:gd name="connsiteY93" fmla="*/ 926786 h 4878872"/>
              <a:gd name="connsiteX94" fmla="*/ 3057773 w 6096961"/>
              <a:gd name="connsiteY94" fmla="*/ 1126811 h 4878872"/>
              <a:gd name="connsiteX95" fmla="*/ 3318757 w 6096961"/>
              <a:gd name="connsiteY95" fmla="*/ 976316 h 4878872"/>
              <a:gd name="connsiteX96" fmla="*/ 3602603 w 6096961"/>
              <a:gd name="connsiteY96" fmla="*/ 1020131 h 4878872"/>
              <a:gd name="connsiteX97" fmla="*/ 4098855 w 6096961"/>
              <a:gd name="connsiteY97" fmla="*/ 1863094 h 4878872"/>
              <a:gd name="connsiteX98" fmla="*/ 4001700 w 6096961"/>
              <a:gd name="connsiteY98" fmla="*/ 2126936 h 4878872"/>
              <a:gd name="connsiteX99" fmla="*/ 3763575 w 6096961"/>
              <a:gd name="connsiteY99" fmla="*/ 2277432 h 4878872"/>
              <a:gd name="connsiteX100" fmla="*/ 3763575 w 6096961"/>
              <a:gd name="connsiteY100" fmla="*/ 2678434 h 4878872"/>
              <a:gd name="connsiteX101" fmla="*/ 4031228 w 6096961"/>
              <a:gd name="connsiteY101" fmla="*/ 2845122 h 4878872"/>
              <a:gd name="connsiteX102" fmla="*/ 4134098 w 6096961"/>
              <a:gd name="connsiteY102" fmla="*/ 3088009 h 4878872"/>
              <a:gd name="connsiteX103" fmla="*/ 3601650 w 6096961"/>
              <a:gd name="connsiteY103" fmla="*/ 3937639 h 4878872"/>
              <a:gd name="connsiteX104" fmla="*/ 3319710 w 6096961"/>
              <a:gd name="connsiteY104" fmla="*/ 3979549 h 4878872"/>
              <a:gd name="connsiteX105" fmla="*/ 3057773 w 6096961"/>
              <a:gd name="connsiteY105" fmla="*/ 3828101 h 4878872"/>
              <a:gd name="connsiteX106" fmla="*/ 2711063 w 6096961"/>
              <a:gd name="connsiteY106" fmla="*/ 4029079 h 4878872"/>
              <a:gd name="connsiteX107" fmla="*/ 2711063 w 6096961"/>
              <a:gd name="connsiteY107" fmla="*/ 4330069 h 4878872"/>
              <a:gd name="connsiteX108" fmla="*/ 2531992 w 6096961"/>
              <a:gd name="connsiteY108" fmla="*/ 4552954 h 4878872"/>
              <a:gd name="connsiteX109" fmla="*/ 1561395 w 6096961"/>
              <a:gd name="connsiteY109" fmla="*/ 4552954 h 4878872"/>
              <a:gd name="connsiteX110" fmla="*/ 1384230 w 6096961"/>
              <a:gd name="connsiteY110" fmla="*/ 4329117 h 4878872"/>
              <a:gd name="connsiteX111" fmla="*/ 1689030 w 6096961"/>
              <a:gd name="connsiteY111" fmla="*/ 4270062 h 4878872"/>
              <a:gd name="connsiteX112" fmla="*/ 2406263 w 6096961"/>
              <a:gd name="connsiteY112" fmla="*/ 4270062 h 4878872"/>
              <a:gd name="connsiteX113" fmla="*/ 2406263 w 6096961"/>
              <a:gd name="connsiteY113" fmla="*/ 3815719 h 4878872"/>
              <a:gd name="connsiteX114" fmla="*/ 2508180 w 6096961"/>
              <a:gd name="connsiteY114" fmla="*/ 3779524 h 4878872"/>
              <a:gd name="connsiteX115" fmla="*/ 2945378 w 6096961"/>
              <a:gd name="connsiteY115" fmla="*/ 3527112 h 4878872"/>
              <a:gd name="connsiteX116" fmla="*/ 3027292 w 6096961"/>
              <a:gd name="connsiteY116" fmla="*/ 3456626 h 4878872"/>
              <a:gd name="connsiteX117" fmla="*/ 3421628 w 6096961"/>
              <a:gd name="connsiteY117" fmla="*/ 3684274 h 4878872"/>
              <a:gd name="connsiteX118" fmla="*/ 3822630 w 6096961"/>
              <a:gd name="connsiteY118" fmla="*/ 3063244 h 4878872"/>
              <a:gd name="connsiteX119" fmla="*/ 3428295 w 6096961"/>
              <a:gd name="connsiteY119" fmla="*/ 2835597 h 4878872"/>
              <a:gd name="connsiteX120" fmla="*/ 3448298 w 6096961"/>
              <a:gd name="connsiteY120" fmla="*/ 2729869 h 4878872"/>
              <a:gd name="connsiteX121" fmla="*/ 3448298 w 6096961"/>
              <a:gd name="connsiteY121" fmla="*/ 2224091 h 4878872"/>
              <a:gd name="connsiteX122" fmla="*/ 3428295 w 6096961"/>
              <a:gd name="connsiteY122" fmla="*/ 2118364 h 4878872"/>
              <a:gd name="connsiteX123" fmla="*/ 3822630 w 6096961"/>
              <a:gd name="connsiteY123" fmla="*/ 1890716 h 4878872"/>
              <a:gd name="connsiteX124" fmla="*/ 3421628 w 6096961"/>
              <a:gd name="connsiteY124" fmla="*/ 1269686 h 4878872"/>
              <a:gd name="connsiteX125" fmla="*/ 3027292 w 6096961"/>
              <a:gd name="connsiteY125" fmla="*/ 1497334 h 4878872"/>
              <a:gd name="connsiteX126" fmla="*/ 2945378 w 6096961"/>
              <a:gd name="connsiteY126" fmla="*/ 1426849 h 4878872"/>
              <a:gd name="connsiteX127" fmla="*/ 2508180 w 6096961"/>
              <a:gd name="connsiteY127" fmla="*/ 1174436 h 4878872"/>
              <a:gd name="connsiteX128" fmla="*/ 2406263 w 6096961"/>
              <a:gd name="connsiteY128" fmla="*/ 1138241 h 4878872"/>
              <a:gd name="connsiteX129" fmla="*/ 2406263 w 6096961"/>
              <a:gd name="connsiteY129" fmla="*/ 684851 h 4878872"/>
              <a:gd name="connsiteX130" fmla="*/ 1689030 w 6096961"/>
              <a:gd name="connsiteY130" fmla="*/ 684851 h 4878872"/>
              <a:gd name="connsiteX131" fmla="*/ 1689030 w 6096961"/>
              <a:gd name="connsiteY131" fmla="*/ 1139194 h 4878872"/>
              <a:gd name="connsiteX132" fmla="*/ 1587113 w 6096961"/>
              <a:gd name="connsiteY132" fmla="*/ 1175389 h 4878872"/>
              <a:gd name="connsiteX133" fmla="*/ 1149915 w 6096961"/>
              <a:gd name="connsiteY133" fmla="*/ 1427801 h 4878872"/>
              <a:gd name="connsiteX134" fmla="*/ 1068000 w 6096961"/>
              <a:gd name="connsiteY134" fmla="*/ 1498286 h 4878872"/>
              <a:gd name="connsiteX135" fmla="*/ 673665 w 6096961"/>
              <a:gd name="connsiteY135" fmla="*/ 1270639 h 4878872"/>
              <a:gd name="connsiteX136" fmla="*/ 314572 w 6096961"/>
              <a:gd name="connsiteY136" fmla="*/ 1891669 h 4878872"/>
              <a:gd name="connsiteX137" fmla="*/ 708907 w 6096961"/>
              <a:gd name="connsiteY137" fmla="*/ 2119316 h 4878872"/>
              <a:gd name="connsiteX138" fmla="*/ 688905 w 6096961"/>
              <a:gd name="connsiteY138" fmla="*/ 2225044 h 4878872"/>
              <a:gd name="connsiteX139" fmla="*/ 688905 w 6096961"/>
              <a:gd name="connsiteY139" fmla="*/ 2730822 h 4878872"/>
              <a:gd name="connsiteX140" fmla="*/ 708907 w 6096961"/>
              <a:gd name="connsiteY140" fmla="*/ 2836549 h 4878872"/>
              <a:gd name="connsiteX141" fmla="*/ 314572 w 6096961"/>
              <a:gd name="connsiteY141" fmla="*/ 3064197 h 4878872"/>
              <a:gd name="connsiteX142" fmla="*/ 673665 w 6096961"/>
              <a:gd name="connsiteY142" fmla="*/ 3685226 h 4878872"/>
              <a:gd name="connsiteX143" fmla="*/ 1068000 w 6096961"/>
              <a:gd name="connsiteY143" fmla="*/ 3457579 h 4878872"/>
              <a:gd name="connsiteX144" fmla="*/ 1149915 w 6096961"/>
              <a:gd name="connsiteY144" fmla="*/ 3528064 h 4878872"/>
              <a:gd name="connsiteX145" fmla="*/ 1587113 w 6096961"/>
              <a:gd name="connsiteY145" fmla="*/ 3780476 h 4878872"/>
              <a:gd name="connsiteX146" fmla="*/ 1689030 w 6096961"/>
              <a:gd name="connsiteY146" fmla="*/ 3816672 h 4878872"/>
              <a:gd name="connsiteX147" fmla="*/ 1689030 w 6096961"/>
              <a:gd name="connsiteY147" fmla="*/ 4270062 h 4878872"/>
              <a:gd name="connsiteX148" fmla="*/ 2054790 w 6096961"/>
              <a:gd name="connsiteY148" fmla="*/ 3267079 h 4878872"/>
              <a:gd name="connsiteX149" fmla="*/ 1265168 w 6096961"/>
              <a:gd name="connsiteY149" fmla="*/ 2477457 h 4878872"/>
              <a:gd name="connsiteX150" fmla="*/ 2054790 w 6096961"/>
              <a:gd name="connsiteY150" fmla="*/ 1687834 h 4878872"/>
              <a:gd name="connsiteX151" fmla="*/ 2844413 w 6096961"/>
              <a:gd name="connsiteY151" fmla="*/ 2477457 h 4878872"/>
              <a:gd name="connsiteX152" fmla="*/ 2054790 w 6096961"/>
              <a:gd name="connsiteY152" fmla="*/ 3267079 h 4878872"/>
              <a:gd name="connsiteX153" fmla="*/ 2054790 w 6096961"/>
              <a:gd name="connsiteY153" fmla="*/ 1992634 h 4878872"/>
              <a:gd name="connsiteX154" fmla="*/ 1569968 w 6096961"/>
              <a:gd name="connsiteY154" fmla="*/ 2477457 h 4878872"/>
              <a:gd name="connsiteX155" fmla="*/ 2054790 w 6096961"/>
              <a:gd name="connsiteY155" fmla="*/ 2962279 h 4878872"/>
              <a:gd name="connsiteX156" fmla="*/ 2539613 w 6096961"/>
              <a:gd name="connsiteY156" fmla="*/ 2477457 h 4878872"/>
              <a:gd name="connsiteX157" fmla="*/ 2054790 w 6096961"/>
              <a:gd name="connsiteY157" fmla="*/ 1992634 h 4878872"/>
              <a:gd name="connsiteX158" fmla="*/ 5130412 w 6096961"/>
              <a:gd name="connsiteY158" fmla="*/ 4771077 h 4878872"/>
              <a:gd name="connsiteX159" fmla="*/ 5106600 w 6096961"/>
              <a:gd name="connsiteY159" fmla="*/ 4733929 h 4878872"/>
              <a:gd name="connsiteX160" fmla="*/ 4990395 w 6096961"/>
              <a:gd name="connsiteY160" fmla="*/ 4733929 h 4878872"/>
              <a:gd name="connsiteX161" fmla="*/ 4966583 w 6096961"/>
              <a:gd name="connsiteY161" fmla="*/ 4772029 h 4878872"/>
              <a:gd name="connsiteX162" fmla="*/ 4704645 w 6096961"/>
              <a:gd name="connsiteY162" fmla="*/ 4868232 h 4878872"/>
              <a:gd name="connsiteX163" fmla="*/ 4377938 w 6096961"/>
              <a:gd name="connsiteY163" fmla="*/ 4695829 h 4878872"/>
              <a:gd name="connsiteX164" fmla="*/ 4326503 w 6096961"/>
              <a:gd name="connsiteY164" fmla="*/ 4406269 h 4878872"/>
              <a:gd name="connsiteX165" fmla="*/ 4350315 w 6096961"/>
              <a:gd name="connsiteY165" fmla="*/ 4365312 h 4878872"/>
              <a:gd name="connsiteX166" fmla="*/ 4292213 w 6096961"/>
              <a:gd name="connsiteY166" fmla="*/ 4264347 h 4878872"/>
              <a:gd name="connsiteX167" fmla="*/ 4205535 w 6096961"/>
              <a:gd name="connsiteY167" fmla="*/ 4264347 h 4878872"/>
              <a:gd name="connsiteX168" fmla="*/ 3980745 w 6096961"/>
              <a:gd name="connsiteY168" fmla="*/ 4077657 h 4878872"/>
              <a:gd name="connsiteX169" fmla="*/ 3981698 w 6096961"/>
              <a:gd name="connsiteY169" fmla="*/ 3710944 h 4878872"/>
              <a:gd name="connsiteX170" fmla="*/ 4206488 w 6096961"/>
              <a:gd name="connsiteY170" fmla="*/ 3525207 h 4878872"/>
              <a:gd name="connsiteX171" fmla="*/ 4292213 w 6096961"/>
              <a:gd name="connsiteY171" fmla="*/ 3525207 h 4878872"/>
              <a:gd name="connsiteX172" fmla="*/ 4350315 w 6096961"/>
              <a:gd name="connsiteY172" fmla="*/ 3424241 h 4878872"/>
              <a:gd name="connsiteX173" fmla="*/ 4325550 w 6096961"/>
              <a:gd name="connsiteY173" fmla="*/ 3381379 h 4878872"/>
              <a:gd name="connsiteX174" fmla="*/ 4375080 w 6096961"/>
              <a:gd name="connsiteY174" fmla="*/ 3092772 h 4878872"/>
              <a:gd name="connsiteX175" fmla="*/ 4694168 w 6096961"/>
              <a:gd name="connsiteY175" fmla="*/ 2911797 h 4878872"/>
              <a:gd name="connsiteX176" fmla="*/ 4965630 w 6096961"/>
              <a:gd name="connsiteY176" fmla="*/ 3012762 h 4878872"/>
              <a:gd name="connsiteX177" fmla="*/ 4990395 w 6096961"/>
              <a:gd name="connsiteY177" fmla="*/ 3054672 h 4878872"/>
              <a:gd name="connsiteX178" fmla="*/ 5106600 w 6096961"/>
              <a:gd name="connsiteY178" fmla="*/ 3054672 h 4878872"/>
              <a:gd name="connsiteX179" fmla="*/ 5131365 w 6096961"/>
              <a:gd name="connsiteY179" fmla="*/ 3012762 h 4878872"/>
              <a:gd name="connsiteX180" fmla="*/ 5403780 w 6096961"/>
              <a:gd name="connsiteY180" fmla="*/ 2912749 h 4878872"/>
              <a:gd name="connsiteX181" fmla="*/ 5722868 w 6096961"/>
              <a:gd name="connsiteY181" fmla="*/ 3094676 h 4878872"/>
              <a:gd name="connsiteX182" fmla="*/ 5771445 w 6096961"/>
              <a:gd name="connsiteY182" fmla="*/ 3382332 h 4878872"/>
              <a:gd name="connsiteX183" fmla="*/ 5746680 w 6096961"/>
              <a:gd name="connsiteY183" fmla="*/ 3424241 h 4878872"/>
              <a:gd name="connsiteX184" fmla="*/ 5804783 w 6096961"/>
              <a:gd name="connsiteY184" fmla="*/ 3525207 h 4878872"/>
              <a:gd name="connsiteX185" fmla="*/ 5853360 w 6096961"/>
              <a:gd name="connsiteY185" fmla="*/ 3525207 h 4878872"/>
              <a:gd name="connsiteX186" fmla="*/ 6078150 w 6096961"/>
              <a:gd name="connsiteY186" fmla="*/ 3711897 h 4878872"/>
              <a:gd name="connsiteX187" fmla="*/ 6077198 w 6096961"/>
              <a:gd name="connsiteY187" fmla="*/ 4078609 h 4878872"/>
              <a:gd name="connsiteX188" fmla="*/ 5852408 w 6096961"/>
              <a:gd name="connsiteY188" fmla="*/ 4264347 h 4878872"/>
              <a:gd name="connsiteX189" fmla="*/ 5804783 w 6096961"/>
              <a:gd name="connsiteY189" fmla="*/ 4264347 h 4878872"/>
              <a:gd name="connsiteX190" fmla="*/ 5746680 w 6096961"/>
              <a:gd name="connsiteY190" fmla="*/ 4365312 h 4878872"/>
              <a:gd name="connsiteX191" fmla="*/ 5770493 w 6096961"/>
              <a:gd name="connsiteY191" fmla="*/ 4406269 h 4878872"/>
              <a:gd name="connsiteX192" fmla="*/ 5718105 w 6096961"/>
              <a:gd name="connsiteY192" fmla="*/ 4696782 h 4878872"/>
              <a:gd name="connsiteX193" fmla="*/ 5394255 w 6096961"/>
              <a:gd name="connsiteY193" fmla="*/ 4867279 h 4878872"/>
              <a:gd name="connsiteX194" fmla="*/ 5130412 w 6096961"/>
              <a:gd name="connsiteY194" fmla="*/ 4771077 h 4878872"/>
              <a:gd name="connsiteX195" fmla="*/ 5246618 w 6096961"/>
              <a:gd name="connsiteY195" fmla="*/ 4441512 h 4878872"/>
              <a:gd name="connsiteX196" fmla="*/ 5347583 w 6096961"/>
              <a:gd name="connsiteY196" fmla="*/ 4615819 h 4878872"/>
              <a:gd name="connsiteX197" fmla="*/ 5525700 w 6096961"/>
              <a:gd name="connsiteY197" fmla="*/ 4512949 h 4878872"/>
              <a:gd name="connsiteX198" fmla="*/ 5424735 w 6096961"/>
              <a:gd name="connsiteY198" fmla="*/ 4338642 h 4878872"/>
              <a:gd name="connsiteX199" fmla="*/ 5485695 w 6096961"/>
              <a:gd name="connsiteY199" fmla="*/ 4267204 h 4878872"/>
              <a:gd name="connsiteX200" fmla="*/ 5590470 w 6096961"/>
              <a:gd name="connsiteY200" fmla="*/ 4085276 h 4878872"/>
              <a:gd name="connsiteX201" fmla="*/ 5621903 w 6096961"/>
              <a:gd name="connsiteY201" fmla="*/ 3996694 h 4878872"/>
              <a:gd name="connsiteX202" fmla="*/ 5822880 w 6096961"/>
              <a:gd name="connsiteY202" fmla="*/ 3996694 h 4878872"/>
              <a:gd name="connsiteX203" fmla="*/ 5822880 w 6096961"/>
              <a:gd name="connsiteY203" fmla="*/ 3791907 h 4878872"/>
              <a:gd name="connsiteX204" fmla="*/ 5621903 w 6096961"/>
              <a:gd name="connsiteY204" fmla="*/ 3791907 h 4878872"/>
              <a:gd name="connsiteX205" fmla="*/ 5590470 w 6096961"/>
              <a:gd name="connsiteY205" fmla="*/ 3703324 h 4878872"/>
              <a:gd name="connsiteX206" fmla="*/ 5485695 w 6096961"/>
              <a:gd name="connsiteY206" fmla="*/ 3521397 h 4878872"/>
              <a:gd name="connsiteX207" fmla="*/ 5424735 w 6096961"/>
              <a:gd name="connsiteY207" fmla="*/ 3449959 h 4878872"/>
              <a:gd name="connsiteX208" fmla="*/ 5525700 w 6096961"/>
              <a:gd name="connsiteY208" fmla="*/ 3275651 h 4878872"/>
              <a:gd name="connsiteX209" fmla="*/ 5347583 w 6096961"/>
              <a:gd name="connsiteY209" fmla="*/ 3172782 h 4878872"/>
              <a:gd name="connsiteX210" fmla="*/ 5246618 w 6096961"/>
              <a:gd name="connsiteY210" fmla="*/ 3347089 h 4878872"/>
              <a:gd name="connsiteX211" fmla="*/ 5154225 w 6096961"/>
              <a:gd name="connsiteY211" fmla="*/ 3329944 h 4878872"/>
              <a:gd name="connsiteX212" fmla="*/ 4943723 w 6096961"/>
              <a:gd name="connsiteY212" fmla="*/ 3329944 h 4878872"/>
              <a:gd name="connsiteX213" fmla="*/ 4851330 w 6096961"/>
              <a:gd name="connsiteY213" fmla="*/ 3347089 h 4878872"/>
              <a:gd name="connsiteX214" fmla="*/ 4750365 w 6096961"/>
              <a:gd name="connsiteY214" fmla="*/ 3172782 h 4878872"/>
              <a:gd name="connsiteX215" fmla="*/ 4572248 w 6096961"/>
              <a:gd name="connsiteY215" fmla="*/ 3275651 h 4878872"/>
              <a:gd name="connsiteX216" fmla="*/ 4673213 w 6096961"/>
              <a:gd name="connsiteY216" fmla="*/ 3449959 h 4878872"/>
              <a:gd name="connsiteX217" fmla="*/ 4612253 w 6096961"/>
              <a:gd name="connsiteY217" fmla="*/ 3521397 h 4878872"/>
              <a:gd name="connsiteX218" fmla="*/ 4507478 w 6096961"/>
              <a:gd name="connsiteY218" fmla="*/ 3703324 h 4878872"/>
              <a:gd name="connsiteX219" fmla="*/ 4476045 w 6096961"/>
              <a:gd name="connsiteY219" fmla="*/ 3791907 h 4878872"/>
              <a:gd name="connsiteX220" fmla="*/ 4275068 w 6096961"/>
              <a:gd name="connsiteY220" fmla="*/ 3791907 h 4878872"/>
              <a:gd name="connsiteX221" fmla="*/ 4275068 w 6096961"/>
              <a:gd name="connsiteY221" fmla="*/ 3996694 h 4878872"/>
              <a:gd name="connsiteX222" fmla="*/ 4476045 w 6096961"/>
              <a:gd name="connsiteY222" fmla="*/ 3996694 h 4878872"/>
              <a:gd name="connsiteX223" fmla="*/ 4507478 w 6096961"/>
              <a:gd name="connsiteY223" fmla="*/ 4085276 h 4878872"/>
              <a:gd name="connsiteX224" fmla="*/ 4612253 w 6096961"/>
              <a:gd name="connsiteY224" fmla="*/ 4267204 h 4878872"/>
              <a:gd name="connsiteX225" fmla="*/ 4673213 w 6096961"/>
              <a:gd name="connsiteY225" fmla="*/ 4338642 h 4878872"/>
              <a:gd name="connsiteX226" fmla="*/ 4572248 w 6096961"/>
              <a:gd name="connsiteY226" fmla="*/ 4512949 h 4878872"/>
              <a:gd name="connsiteX227" fmla="*/ 4750365 w 6096961"/>
              <a:gd name="connsiteY227" fmla="*/ 4615819 h 4878872"/>
              <a:gd name="connsiteX228" fmla="*/ 4851330 w 6096961"/>
              <a:gd name="connsiteY228" fmla="*/ 4441512 h 4878872"/>
              <a:gd name="connsiteX229" fmla="*/ 4943723 w 6096961"/>
              <a:gd name="connsiteY229" fmla="*/ 4458657 h 4878872"/>
              <a:gd name="connsiteX230" fmla="*/ 5154225 w 6096961"/>
              <a:gd name="connsiteY230" fmla="*/ 4458657 h 4878872"/>
              <a:gd name="connsiteX231" fmla="*/ 5246618 w 6096961"/>
              <a:gd name="connsiteY231" fmla="*/ 4441512 h 4878872"/>
              <a:gd name="connsiteX232" fmla="*/ 5334248 w 6096961"/>
              <a:gd name="connsiteY232" fmla="*/ 3887157 h 4878872"/>
              <a:gd name="connsiteX233" fmla="*/ 5029448 w 6096961"/>
              <a:gd name="connsiteY233" fmla="*/ 3582357 h 4878872"/>
              <a:gd name="connsiteX234" fmla="*/ 4724648 w 6096961"/>
              <a:gd name="connsiteY234" fmla="*/ 3887157 h 4878872"/>
              <a:gd name="connsiteX235" fmla="*/ 5029448 w 6096961"/>
              <a:gd name="connsiteY235" fmla="*/ 4191957 h 4878872"/>
              <a:gd name="connsiteX236" fmla="*/ 5334248 w 6096961"/>
              <a:gd name="connsiteY236" fmla="*/ 3887157 h 4878872"/>
              <a:gd name="connsiteX237" fmla="*/ 5334248 w 6096961"/>
              <a:gd name="connsiteY237" fmla="*/ 988699 h 4878872"/>
              <a:gd name="connsiteX238" fmla="*/ 5029448 w 6096961"/>
              <a:gd name="connsiteY238" fmla="*/ 683899 h 4878872"/>
              <a:gd name="connsiteX239" fmla="*/ 4724648 w 6096961"/>
              <a:gd name="connsiteY239" fmla="*/ 988699 h 4878872"/>
              <a:gd name="connsiteX240" fmla="*/ 5029448 w 6096961"/>
              <a:gd name="connsiteY240" fmla="*/ 1293499 h 4878872"/>
              <a:gd name="connsiteX241" fmla="*/ 5334248 w 6096961"/>
              <a:gd name="connsiteY241" fmla="*/ 988699 h 4878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</a:cxnLst>
            <a:rect l="l" t="t" r="r" b="b"/>
            <a:pathLst>
              <a:path w="6096961" h="4878872">
                <a:moveTo>
                  <a:pt x="5130412" y="1871666"/>
                </a:moveTo>
                <a:lnTo>
                  <a:pt x="5106600" y="1834519"/>
                </a:lnTo>
                <a:cubicBezTo>
                  <a:pt x="5067548" y="1837376"/>
                  <a:pt x="5029448" y="1837376"/>
                  <a:pt x="4990395" y="1834519"/>
                </a:cubicBezTo>
                <a:lnTo>
                  <a:pt x="4966583" y="1872619"/>
                </a:lnTo>
                <a:cubicBezTo>
                  <a:pt x="4911337" y="1960249"/>
                  <a:pt x="4803705" y="2000254"/>
                  <a:pt x="4704645" y="1968822"/>
                </a:cubicBezTo>
                <a:cubicBezTo>
                  <a:pt x="4573200" y="1927864"/>
                  <a:pt x="4485570" y="1885001"/>
                  <a:pt x="4377938" y="1796419"/>
                </a:cubicBezTo>
                <a:cubicBezTo>
                  <a:pt x="4292213" y="1725934"/>
                  <a:pt x="4271258" y="1603061"/>
                  <a:pt x="4326503" y="1506859"/>
                </a:cubicBezTo>
                <a:lnTo>
                  <a:pt x="4350315" y="1465901"/>
                </a:lnTo>
                <a:cubicBezTo>
                  <a:pt x="4328408" y="1433516"/>
                  <a:pt x="4309358" y="1400179"/>
                  <a:pt x="4292213" y="1364936"/>
                </a:cubicBezTo>
                <a:lnTo>
                  <a:pt x="4205535" y="1364936"/>
                </a:lnTo>
                <a:cubicBezTo>
                  <a:pt x="4095045" y="1364936"/>
                  <a:pt x="4001700" y="1286831"/>
                  <a:pt x="3980745" y="1178246"/>
                </a:cubicBezTo>
                <a:cubicBezTo>
                  <a:pt x="3955980" y="1047754"/>
                  <a:pt x="3955028" y="947741"/>
                  <a:pt x="3981698" y="811534"/>
                </a:cubicBezTo>
                <a:cubicBezTo>
                  <a:pt x="4001700" y="703901"/>
                  <a:pt x="4096950" y="625796"/>
                  <a:pt x="4206488" y="625796"/>
                </a:cubicBezTo>
                <a:lnTo>
                  <a:pt x="4292213" y="625796"/>
                </a:lnTo>
                <a:cubicBezTo>
                  <a:pt x="4309358" y="590554"/>
                  <a:pt x="4328408" y="557216"/>
                  <a:pt x="4350315" y="524831"/>
                </a:cubicBezTo>
                <a:lnTo>
                  <a:pt x="4325550" y="481969"/>
                </a:lnTo>
                <a:cubicBezTo>
                  <a:pt x="4270305" y="386719"/>
                  <a:pt x="4291260" y="265751"/>
                  <a:pt x="4375080" y="193361"/>
                </a:cubicBezTo>
                <a:cubicBezTo>
                  <a:pt x="4476045" y="106684"/>
                  <a:pt x="4562723" y="57154"/>
                  <a:pt x="4694168" y="12386"/>
                </a:cubicBezTo>
                <a:cubicBezTo>
                  <a:pt x="4797038" y="-22856"/>
                  <a:pt x="4910385" y="19054"/>
                  <a:pt x="4965630" y="113351"/>
                </a:cubicBezTo>
                <a:lnTo>
                  <a:pt x="4990395" y="155261"/>
                </a:lnTo>
                <a:cubicBezTo>
                  <a:pt x="5029448" y="152404"/>
                  <a:pt x="5067548" y="152404"/>
                  <a:pt x="5106600" y="155261"/>
                </a:cubicBezTo>
                <a:lnTo>
                  <a:pt x="5131365" y="113351"/>
                </a:lnTo>
                <a:cubicBezTo>
                  <a:pt x="5186610" y="19054"/>
                  <a:pt x="5299958" y="-22856"/>
                  <a:pt x="5403780" y="13339"/>
                </a:cubicBezTo>
                <a:cubicBezTo>
                  <a:pt x="5530462" y="56201"/>
                  <a:pt x="5616187" y="104779"/>
                  <a:pt x="5722868" y="195266"/>
                </a:cubicBezTo>
                <a:cubicBezTo>
                  <a:pt x="5806687" y="266704"/>
                  <a:pt x="5826690" y="387671"/>
                  <a:pt x="5771445" y="482921"/>
                </a:cubicBezTo>
                <a:lnTo>
                  <a:pt x="5746680" y="524831"/>
                </a:lnTo>
                <a:cubicBezTo>
                  <a:pt x="5768587" y="557216"/>
                  <a:pt x="5787637" y="590554"/>
                  <a:pt x="5804783" y="625796"/>
                </a:cubicBezTo>
                <a:lnTo>
                  <a:pt x="5853360" y="625796"/>
                </a:lnTo>
                <a:cubicBezTo>
                  <a:pt x="5963850" y="625796"/>
                  <a:pt x="6057195" y="703901"/>
                  <a:pt x="6078150" y="812486"/>
                </a:cubicBezTo>
                <a:cubicBezTo>
                  <a:pt x="6102915" y="942979"/>
                  <a:pt x="6103868" y="1042991"/>
                  <a:pt x="6077198" y="1179199"/>
                </a:cubicBezTo>
                <a:cubicBezTo>
                  <a:pt x="6057195" y="1286831"/>
                  <a:pt x="5961945" y="1364936"/>
                  <a:pt x="5852408" y="1364936"/>
                </a:cubicBezTo>
                <a:lnTo>
                  <a:pt x="5804783" y="1364936"/>
                </a:lnTo>
                <a:cubicBezTo>
                  <a:pt x="5787637" y="1400179"/>
                  <a:pt x="5768587" y="1433516"/>
                  <a:pt x="5746680" y="1465901"/>
                </a:cubicBezTo>
                <a:lnTo>
                  <a:pt x="5770493" y="1506859"/>
                </a:lnTo>
                <a:cubicBezTo>
                  <a:pt x="5826690" y="1604014"/>
                  <a:pt x="5803830" y="1726886"/>
                  <a:pt x="5718105" y="1797372"/>
                </a:cubicBezTo>
                <a:cubicBezTo>
                  <a:pt x="5616187" y="1881191"/>
                  <a:pt x="5528558" y="1925006"/>
                  <a:pt x="5394255" y="1967869"/>
                </a:cubicBezTo>
                <a:cubicBezTo>
                  <a:pt x="5294243" y="1999301"/>
                  <a:pt x="5185658" y="1960249"/>
                  <a:pt x="5130412" y="1871666"/>
                </a:cubicBezTo>
                <a:close/>
                <a:moveTo>
                  <a:pt x="5246618" y="1543054"/>
                </a:moveTo>
                <a:lnTo>
                  <a:pt x="5347583" y="1717361"/>
                </a:lnTo>
                <a:cubicBezTo>
                  <a:pt x="5411400" y="1690691"/>
                  <a:pt x="5470455" y="1656401"/>
                  <a:pt x="5525700" y="1614491"/>
                </a:cubicBezTo>
                <a:lnTo>
                  <a:pt x="5424735" y="1440184"/>
                </a:lnTo>
                <a:lnTo>
                  <a:pt x="5485695" y="1368747"/>
                </a:lnTo>
                <a:cubicBezTo>
                  <a:pt x="5531415" y="1314454"/>
                  <a:pt x="5567610" y="1253494"/>
                  <a:pt x="5590470" y="1186819"/>
                </a:cubicBezTo>
                <a:lnTo>
                  <a:pt x="5621903" y="1098236"/>
                </a:lnTo>
                <a:lnTo>
                  <a:pt x="5822880" y="1098236"/>
                </a:lnTo>
                <a:cubicBezTo>
                  <a:pt x="5831453" y="1030609"/>
                  <a:pt x="5831453" y="961076"/>
                  <a:pt x="5822880" y="893449"/>
                </a:cubicBezTo>
                <a:lnTo>
                  <a:pt x="5621903" y="893449"/>
                </a:lnTo>
                <a:lnTo>
                  <a:pt x="5590470" y="804866"/>
                </a:lnTo>
                <a:cubicBezTo>
                  <a:pt x="5566658" y="738191"/>
                  <a:pt x="5531415" y="677231"/>
                  <a:pt x="5485695" y="622939"/>
                </a:cubicBezTo>
                <a:lnTo>
                  <a:pt x="5424735" y="551501"/>
                </a:lnTo>
                <a:lnTo>
                  <a:pt x="5524748" y="376241"/>
                </a:lnTo>
                <a:cubicBezTo>
                  <a:pt x="5470455" y="334331"/>
                  <a:pt x="5410448" y="300041"/>
                  <a:pt x="5346630" y="273371"/>
                </a:cubicBezTo>
                <a:lnTo>
                  <a:pt x="5245665" y="447679"/>
                </a:lnTo>
                <a:lnTo>
                  <a:pt x="5153273" y="430534"/>
                </a:lnTo>
                <a:cubicBezTo>
                  <a:pt x="5083740" y="417199"/>
                  <a:pt x="5012303" y="417199"/>
                  <a:pt x="4942770" y="430534"/>
                </a:cubicBezTo>
                <a:lnTo>
                  <a:pt x="4850378" y="447679"/>
                </a:lnTo>
                <a:lnTo>
                  <a:pt x="4749413" y="273371"/>
                </a:lnTo>
                <a:cubicBezTo>
                  <a:pt x="4686548" y="299089"/>
                  <a:pt x="4626540" y="334331"/>
                  <a:pt x="4572248" y="376241"/>
                </a:cubicBezTo>
                <a:lnTo>
                  <a:pt x="4673213" y="550549"/>
                </a:lnTo>
                <a:lnTo>
                  <a:pt x="4612253" y="621986"/>
                </a:lnTo>
                <a:cubicBezTo>
                  <a:pt x="4566533" y="676279"/>
                  <a:pt x="4530338" y="737239"/>
                  <a:pt x="4507478" y="803914"/>
                </a:cubicBezTo>
                <a:lnTo>
                  <a:pt x="4476045" y="892496"/>
                </a:lnTo>
                <a:lnTo>
                  <a:pt x="4275068" y="892496"/>
                </a:lnTo>
                <a:cubicBezTo>
                  <a:pt x="4266495" y="960124"/>
                  <a:pt x="4266495" y="1029656"/>
                  <a:pt x="4275068" y="1097284"/>
                </a:cubicBezTo>
                <a:lnTo>
                  <a:pt x="4476045" y="1097284"/>
                </a:lnTo>
                <a:lnTo>
                  <a:pt x="4507478" y="1185866"/>
                </a:lnTo>
                <a:cubicBezTo>
                  <a:pt x="4531290" y="1252541"/>
                  <a:pt x="4566533" y="1313501"/>
                  <a:pt x="4612253" y="1367794"/>
                </a:cubicBezTo>
                <a:lnTo>
                  <a:pt x="4673213" y="1439231"/>
                </a:lnTo>
                <a:lnTo>
                  <a:pt x="4572248" y="1614491"/>
                </a:lnTo>
                <a:cubicBezTo>
                  <a:pt x="4626540" y="1656401"/>
                  <a:pt x="4686548" y="1690691"/>
                  <a:pt x="4750365" y="1717361"/>
                </a:cubicBezTo>
                <a:lnTo>
                  <a:pt x="4851330" y="1543054"/>
                </a:lnTo>
                <a:lnTo>
                  <a:pt x="4943723" y="1560199"/>
                </a:lnTo>
                <a:cubicBezTo>
                  <a:pt x="5013255" y="1573534"/>
                  <a:pt x="5084693" y="1573534"/>
                  <a:pt x="5154225" y="1560199"/>
                </a:cubicBezTo>
                <a:lnTo>
                  <a:pt x="5246618" y="1543054"/>
                </a:lnTo>
                <a:close/>
                <a:moveTo>
                  <a:pt x="1384230" y="4329117"/>
                </a:moveTo>
                <a:lnTo>
                  <a:pt x="1384230" y="4028126"/>
                </a:lnTo>
                <a:cubicBezTo>
                  <a:pt x="1261357" y="3975739"/>
                  <a:pt x="1145152" y="3908112"/>
                  <a:pt x="1037520" y="3827149"/>
                </a:cubicBezTo>
                <a:lnTo>
                  <a:pt x="775582" y="3978597"/>
                </a:lnTo>
                <a:cubicBezTo>
                  <a:pt x="682237" y="4031937"/>
                  <a:pt x="565080" y="4013839"/>
                  <a:pt x="492690" y="3934782"/>
                </a:cubicBezTo>
                <a:cubicBezTo>
                  <a:pt x="262185" y="3684274"/>
                  <a:pt x="125977" y="3463294"/>
                  <a:pt x="10725" y="3095629"/>
                </a:cubicBezTo>
                <a:cubicBezTo>
                  <a:pt x="-21660" y="2993712"/>
                  <a:pt x="21202" y="2883222"/>
                  <a:pt x="113595" y="2828929"/>
                </a:cubicBezTo>
                <a:lnTo>
                  <a:pt x="373627" y="2677482"/>
                </a:lnTo>
                <a:cubicBezTo>
                  <a:pt x="357435" y="2544132"/>
                  <a:pt x="357435" y="2409829"/>
                  <a:pt x="373627" y="2276479"/>
                </a:cubicBezTo>
                <a:lnTo>
                  <a:pt x="113595" y="2125984"/>
                </a:lnTo>
                <a:cubicBezTo>
                  <a:pt x="21202" y="2072644"/>
                  <a:pt x="-21660" y="1961201"/>
                  <a:pt x="10725" y="1859284"/>
                </a:cubicBezTo>
                <a:cubicBezTo>
                  <a:pt x="125977" y="1493524"/>
                  <a:pt x="260280" y="1272544"/>
                  <a:pt x="492690" y="1020131"/>
                </a:cubicBezTo>
                <a:cubicBezTo>
                  <a:pt x="565080" y="941074"/>
                  <a:pt x="683190" y="922976"/>
                  <a:pt x="775582" y="976316"/>
                </a:cubicBezTo>
                <a:lnTo>
                  <a:pt x="1036567" y="1127764"/>
                </a:lnTo>
                <a:cubicBezTo>
                  <a:pt x="1144200" y="1046801"/>
                  <a:pt x="1260405" y="980126"/>
                  <a:pt x="1383277" y="926786"/>
                </a:cubicBezTo>
                <a:lnTo>
                  <a:pt x="1383277" y="625796"/>
                </a:lnTo>
                <a:cubicBezTo>
                  <a:pt x="1383277" y="518164"/>
                  <a:pt x="1457572" y="425771"/>
                  <a:pt x="1562347" y="402911"/>
                </a:cubicBezTo>
                <a:cubicBezTo>
                  <a:pt x="1892865" y="328616"/>
                  <a:pt x="2152898" y="320044"/>
                  <a:pt x="2531040" y="402911"/>
                </a:cubicBezTo>
                <a:cubicBezTo>
                  <a:pt x="2635815" y="425771"/>
                  <a:pt x="2711063" y="519116"/>
                  <a:pt x="2711063" y="625796"/>
                </a:cubicBezTo>
                <a:lnTo>
                  <a:pt x="2711063" y="926786"/>
                </a:lnTo>
                <a:cubicBezTo>
                  <a:pt x="2833935" y="979174"/>
                  <a:pt x="2950140" y="1046801"/>
                  <a:pt x="3057773" y="1126811"/>
                </a:cubicBezTo>
                <a:lnTo>
                  <a:pt x="3318757" y="976316"/>
                </a:lnTo>
                <a:cubicBezTo>
                  <a:pt x="3412103" y="922976"/>
                  <a:pt x="3530213" y="941074"/>
                  <a:pt x="3602603" y="1020131"/>
                </a:cubicBezTo>
                <a:cubicBezTo>
                  <a:pt x="3858825" y="1302072"/>
                  <a:pt x="3997890" y="1552579"/>
                  <a:pt x="4098855" y="1863094"/>
                </a:cubicBezTo>
                <a:cubicBezTo>
                  <a:pt x="4131240" y="1963106"/>
                  <a:pt x="4091235" y="2071691"/>
                  <a:pt x="4001700" y="2126936"/>
                </a:cubicBezTo>
                <a:lnTo>
                  <a:pt x="3763575" y="2277432"/>
                </a:lnTo>
                <a:cubicBezTo>
                  <a:pt x="3779767" y="2410782"/>
                  <a:pt x="3779767" y="2545084"/>
                  <a:pt x="3763575" y="2678434"/>
                </a:cubicBezTo>
                <a:lnTo>
                  <a:pt x="4031228" y="2845122"/>
                </a:lnTo>
                <a:cubicBezTo>
                  <a:pt x="4113142" y="2896557"/>
                  <a:pt x="4155053" y="2993712"/>
                  <a:pt x="4134098" y="3088009"/>
                </a:cubicBezTo>
                <a:cubicBezTo>
                  <a:pt x="4068375" y="3386141"/>
                  <a:pt x="3819773" y="3703324"/>
                  <a:pt x="3601650" y="3937639"/>
                </a:cubicBezTo>
                <a:cubicBezTo>
                  <a:pt x="3529260" y="4015744"/>
                  <a:pt x="3412103" y="4032889"/>
                  <a:pt x="3319710" y="3979549"/>
                </a:cubicBezTo>
                <a:lnTo>
                  <a:pt x="3057773" y="3828101"/>
                </a:lnTo>
                <a:cubicBezTo>
                  <a:pt x="2950140" y="3909064"/>
                  <a:pt x="2833935" y="3975739"/>
                  <a:pt x="2711063" y="4029079"/>
                </a:cubicBezTo>
                <a:lnTo>
                  <a:pt x="2711063" y="4330069"/>
                </a:lnTo>
                <a:cubicBezTo>
                  <a:pt x="2711063" y="4436749"/>
                  <a:pt x="2636767" y="4530094"/>
                  <a:pt x="2531992" y="4552954"/>
                </a:cubicBezTo>
                <a:cubicBezTo>
                  <a:pt x="2174805" y="4632012"/>
                  <a:pt x="1913820" y="4631059"/>
                  <a:pt x="1561395" y="4552954"/>
                </a:cubicBezTo>
                <a:cubicBezTo>
                  <a:pt x="1458525" y="4529142"/>
                  <a:pt x="1384230" y="4435797"/>
                  <a:pt x="1384230" y="4329117"/>
                </a:cubicBezTo>
                <a:close/>
                <a:moveTo>
                  <a:pt x="1689030" y="4270062"/>
                </a:moveTo>
                <a:cubicBezTo>
                  <a:pt x="1925250" y="4317687"/>
                  <a:pt x="2170043" y="4317687"/>
                  <a:pt x="2406263" y="4270062"/>
                </a:cubicBezTo>
                <a:lnTo>
                  <a:pt x="2406263" y="3815719"/>
                </a:lnTo>
                <a:lnTo>
                  <a:pt x="2508180" y="3779524"/>
                </a:lnTo>
                <a:cubicBezTo>
                  <a:pt x="2668200" y="3723326"/>
                  <a:pt x="2815838" y="3637601"/>
                  <a:pt x="2945378" y="3527112"/>
                </a:cubicBezTo>
                <a:lnTo>
                  <a:pt x="3027292" y="3456626"/>
                </a:lnTo>
                <a:lnTo>
                  <a:pt x="3421628" y="3684274"/>
                </a:lnTo>
                <a:cubicBezTo>
                  <a:pt x="3581648" y="3502347"/>
                  <a:pt x="3745478" y="3290891"/>
                  <a:pt x="3822630" y="3063244"/>
                </a:cubicBezTo>
                <a:lnTo>
                  <a:pt x="3428295" y="2835597"/>
                </a:lnTo>
                <a:lnTo>
                  <a:pt x="3448298" y="2729869"/>
                </a:lnTo>
                <a:cubicBezTo>
                  <a:pt x="3478778" y="2562229"/>
                  <a:pt x="3478778" y="2391732"/>
                  <a:pt x="3448298" y="2224091"/>
                </a:cubicBezTo>
                <a:lnTo>
                  <a:pt x="3428295" y="2118364"/>
                </a:lnTo>
                <a:lnTo>
                  <a:pt x="3822630" y="1890716"/>
                </a:lnTo>
                <a:cubicBezTo>
                  <a:pt x="3745478" y="1663069"/>
                  <a:pt x="3581648" y="1450661"/>
                  <a:pt x="3421628" y="1269686"/>
                </a:cubicBezTo>
                <a:lnTo>
                  <a:pt x="3027292" y="1497334"/>
                </a:lnTo>
                <a:lnTo>
                  <a:pt x="2945378" y="1426849"/>
                </a:lnTo>
                <a:cubicBezTo>
                  <a:pt x="2815838" y="1315406"/>
                  <a:pt x="2669153" y="1230634"/>
                  <a:pt x="2508180" y="1174436"/>
                </a:cubicBezTo>
                <a:lnTo>
                  <a:pt x="2406263" y="1138241"/>
                </a:lnTo>
                <a:lnTo>
                  <a:pt x="2406263" y="684851"/>
                </a:lnTo>
                <a:cubicBezTo>
                  <a:pt x="2170043" y="637226"/>
                  <a:pt x="1925250" y="637226"/>
                  <a:pt x="1689030" y="684851"/>
                </a:cubicBezTo>
                <a:lnTo>
                  <a:pt x="1689030" y="1139194"/>
                </a:lnTo>
                <a:lnTo>
                  <a:pt x="1587113" y="1175389"/>
                </a:lnTo>
                <a:cubicBezTo>
                  <a:pt x="1427093" y="1231586"/>
                  <a:pt x="1279455" y="1317311"/>
                  <a:pt x="1149915" y="1427801"/>
                </a:cubicBezTo>
                <a:lnTo>
                  <a:pt x="1068000" y="1498286"/>
                </a:lnTo>
                <a:lnTo>
                  <a:pt x="673665" y="1270639"/>
                </a:lnTo>
                <a:cubicBezTo>
                  <a:pt x="514181" y="1451940"/>
                  <a:pt x="392140" y="1663002"/>
                  <a:pt x="314572" y="1891669"/>
                </a:cubicBezTo>
                <a:lnTo>
                  <a:pt x="708907" y="2119316"/>
                </a:lnTo>
                <a:lnTo>
                  <a:pt x="688905" y="2225044"/>
                </a:lnTo>
                <a:cubicBezTo>
                  <a:pt x="658425" y="2392684"/>
                  <a:pt x="658425" y="2563182"/>
                  <a:pt x="688905" y="2730822"/>
                </a:cubicBezTo>
                <a:lnTo>
                  <a:pt x="708907" y="2836549"/>
                </a:lnTo>
                <a:lnTo>
                  <a:pt x="314572" y="3064197"/>
                </a:lnTo>
                <a:cubicBezTo>
                  <a:pt x="391725" y="3291844"/>
                  <a:pt x="513645" y="3504251"/>
                  <a:pt x="673665" y="3685226"/>
                </a:cubicBezTo>
                <a:lnTo>
                  <a:pt x="1068000" y="3457579"/>
                </a:lnTo>
                <a:lnTo>
                  <a:pt x="1149915" y="3528064"/>
                </a:lnTo>
                <a:cubicBezTo>
                  <a:pt x="1279455" y="3639507"/>
                  <a:pt x="1426140" y="3724279"/>
                  <a:pt x="1587113" y="3780476"/>
                </a:cubicBezTo>
                <a:lnTo>
                  <a:pt x="1689030" y="3816672"/>
                </a:lnTo>
                <a:lnTo>
                  <a:pt x="1689030" y="4270062"/>
                </a:lnTo>
                <a:close/>
                <a:moveTo>
                  <a:pt x="2054790" y="3267079"/>
                </a:moveTo>
                <a:cubicBezTo>
                  <a:pt x="1619497" y="3267079"/>
                  <a:pt x="1265168" y="2912749"/>
                  <a:pt x="1265168" y="2477457"/>
                </a:cubicBezTo>
                <a:cubicBezTo>
                  <a:pt x="1265168" y="2042164"/>
                  <a:pt x="1619497" y="1687834"/>
                  <a:pt x="2054790" y="1687834"/>
                </a:cubicBezTo>
                <a:cubicBezTo>
                  <a:pt x="2490082" y="1687834"/>
                  <a:pt x="2844413" y="2042164"/>
                  <a:pt x="2844413" y="2477457"/>
                </a:cubicBezTo>
                <a:cubicBezTo>
                  <a:pt x="2844413" y="2912749"/>
                  <a:pt x="2490082" y="3267079"/>
                  <a:pt x="2054790" y="3267079"/>
                </a:cubicBezTo>
                <a:close/>
                <a:moveTo>
                  <a:pt x="2054790" y="1992634"/>
                </a:moveTo>
                <a:cubicBezTo>
                  <a:pt x="1788090" y="1992634"/>
                  <a:pt x="1569968" y="2209804"/>
                  <a:pt x="1569968" y="2477457"/>
                </a:cubicBezTo>
                <a:cubicBezTo>
                  <a:pt x="1569968" y="2745109"/>
                  <a:pt x="1787138" y="2962279"/>
                  <a:pt x="2054790" y="2962279"/>
                </a:cubicBezTo>
                <a:cubicBezTo>
                  <a:pt x="2321490" y="2962279"/>
                  <a:pt x="2539613" y="2745109"/>
                  <a:pt x="2539613" y="2477457"/>
                </a:cubicBezTo>
                <a:cubicBezTo>
                  <a:pt x="2539613" y="2209804"/>
                  <a:pt x="2322443" y="1992634"/>
                  <a:pt x="2054790" y="1992634"/>
                </a:cubicBezTo>
                <a:close/>
                <a:moveTo>
                  <a:pt x="5130412" y="4771077"/>
                </a:moveTo>
                <a:lnTo>
                  <a:pt x="5106600" y="4733929"/>
                </a:lnTo>
                <a:cubicBezTo>
                  <a:pt x="5067548" y="4736787"/>
                  <a:pt x="5029448" y="4736787"/>
                  <a:pt x="4990395" y="4733929"/>
                </a:cubicBezTo>
                <a:lnTo>
                  <a:pt x="4966583" y="4772029"/>
                </a:lnTo>
                <a:cubicBezTo>
                  <a:pt x="4911337" y="4859659"/>
                  <a:pt x="4803705" y="4899664"/>
                  <a:pt x="4704645" y="4868232"/>
                </a:cubicBezTo>
                <a:cubicBezTo>
                  <a:pt x="4573200" y="4827274"/>
                  <a:pt x="4485570" y="4784412"/>
                  <a:pt x="4377938" y="4695829"/>
                </a:cubicBezTo>
                <a:cubicBezTo>
                  <a:pt x="4292213" y="4625344"/>
                  <a:pt x="4271258" y="4502472"/>
                  <a:pt x="4326503" y="4406269"/>
                </a:cubicBezTo>
                <a:lnTo>
                  <a:pt x="4350315" y="4365312"/>
                </a:lnTo>
                <a:cubicBezTo>
                  <a:pt x="4328408" y="4332927"/>
                  <a:pt x="4309358" y="4299589"/>
                  <a:pt x="4292213" y="4264347"/>
                </a:cubicBezTo>
                <a:lnTo>
                  <a:pt x="4205535" y="4264347"/>
                </a:lnTo>
                <a:cubicBezTo>
                  <a:pt x="4095045" y="4264347"/>
                  <a:pt x="4001700" y="4186241"/>
                  <a:pt x="3980745" y="4077657"/>
                </a:cubicBezTo>
                <a:cubicBezTo>
                  <a:pt x="3955980" y="3947164"/>
                  <a:pt x="3955028" y="3847151"/>
                  <a:pt x="3981698" y="3710944"/>
                </a:cubicBezTo>
                <a:cubicBezTo>
                  <a:pt x="4001700" y="3603312"/>
                  <a:pt x="4096950" y="3525207"/>
                  <a:pt x="4206488" y="3525207"/>
                </a:cubicBezTo>
                <a:lnTo>
                  <a:pt x="4292213" y="3525207"/>
                </a:lnTo>
                <a:cubicBezTo>
                  <a:pt x="4309358" y="3489964"/>
                  <a:pt x="4328408" y="3456626"/>
                  <a:pt x="4350315" y="3424241"/>
                </a:cubicBezTo>
                <a:lnTo>
                  <a:pt x="4325550" y="3381379"/>
                </a:lnTo>
                <a:cubicBezTo>
                  <a:pt x="4270305" y="3286129"/>
                  <a:pt x="4291260" y="3165162"/>
                  <a:pt x="4375080" y="3092772"/>
                </a:cubicBezTo>
                <a:cubicBezTo>
                  <a:pt x="4476045" y="3006094"/>
                  <a:pt x="4562723" y="2956564"/>
                  <a:pt x="4694168" y="2911797"/>
                </a:cubicBezTo>
                <a:cubicBezTo>
                  <a:pt x="4797038" y="2876554"/>
                  <a:pt x="4910385" y="2918464"/>
                  <a:pt x="4965630" y="3012762"/>
                </a:cubicBezTo>
                <a:lnTo>
                  <a:pt x="4990395" y="3054672"/>
                </a:lnTo>
                <a:cubicBezTo>
                  <a:pt x="5029448" y="3051814"/>
                  <a:pt x="5067548" y="3051814"/>
                  <a:pt x="5106600" y="3054672"/>
                </a:cubicBezTo>
                <a:lnTo>
                  <a:pt x="5131365" y="3012762"/>
                </a:lnTo>
                <a:cubicBezTo>
                  <a:pt x="5186610" y="2918464"/>
                  <a:pt x="5299958" y="2876554"/>
                  <a:pt x="5403780" y="2912749"/>
                </a:cubicBezTo>
                <a:cubicBezTo>
                  <a:pt x="5530462" y="2955612"/>
                  <a:pt x="5616187" y="3004189"/>
                  <a:pt x="5722868" y="3094676"/>
                </a:cubicBezTo>
                <a:cubicBezTo>
                  <a:pt x="5806687" y="3166114"/>
                  <a:pt x="5826690" y="3287082"/>
                  <a:pt x="5771445" y="3382332"/>
                </a:cubicBezTo>
                <a:lnTo>
                  <a:pt x="5746680" y="3424241"/>
                </a:lnTo>
                <a:cubicBezTo>
                  <a:pt x="5768587" y="3456626"/>
                  <a:pt x="5787637" y="3489964"/>
                  <a:pt x="5804783" y="3525207"/>
                </a:cubicBezTo>
                <a:lnTo>
                  <a:pt x="5853360" y="3525207"/>
                </a:lnTo>
                <a:cubicBezTo>
                  <a:pt x="5963850" y="3525207"/>
                  <a:pt x="6057195" y="3603312"/>
                  <a:pt x="6078150" y="3711897"/>
                </a:cubicBezTo>
                <a:cubicBezTo>
                  <a:pt x="6102915" y="3842389"/>
                  <a:pt x="6103868" y="3942401"/>
                  <a:pt x="6077198" y="4078609"/>
                </a:cubicBezTo>
                <a:cubicBezTo>
                  <a:pt x="6057195" y="4186241"/>
                  <a:pt x="5961945" y="4264347"/>
                  <a:pt x="5852408" y="4264347"/>
                </a:cubicBezTo>
                <a:lnTo>
                  <a:pt x="5804783" y="4264347"/>
                </a:lnTo>
                <a:cubicBezTo>
                  <a:pt x="5787637" y="4299589"/>
                  <a:pt x="5768587" y="4332927"/>
                  <a:pt x="5746680" y="4365312"/>
                </a:cubicBezTo>
                <a:lnTo>
                  <a:pt x="5770493" y="4406269"/>
                </a:lnTo>
                <a:cubicBezTo>
                  <a:pt x="5826690" y="4503424"/>
                  <a:pt x="5803830" y="4626297"/>
                  <a:pt x="5718105" y="4696782"/>
                </a:cubicBezTo>
                <a:cubicBezTo>
                  <a:pt x="5616187" y="4780602"/>
                  <a:pt x="5528558" y="4824417"/>
                  <a:pt x="5394255" y="4867279"/>
                </a:cubicBezTo>
                <a:cubicBezTo>
                  <a:pt x="5294243" y="4897759"/>
                  <a:pt x="5185658" y="4858707"/>
                  <a:pt x="5130412" y="4771077"/>
                </a:cubicBezTo>
                <a:close/>
                <a:moveTo>
                  <a:pt x="5246618" y="4441512"/>
                </a:moveTo>
                <a:lnTo>
                  <a:pt x="5347583" y="4615819"/>
                </a:lnTo>
                <a:cubicBezTo>
                  <a:pt x="5411400" y="4589149"/>
                  <a:pt x="5470455" y="4554859"/>
                  <a:pt x="5525700" y="4512949"/>
                </a:cubicBezTo>
                <a:lnTo>
                  <a:pt x="5424735" y="4338642"/>
                </a:lnTo>
                <a:lnTo>
                  <a:pt x="5485695" y="4267204"/>
                </a:lnTo>
                <a:cubicBezTo>
                  <a:pt x="5531415" y="4212912"/>
                  <a:pt x="5567610" y="4151951"/>
                  <a:pt x="5590470" y="4085276"/>
                </a:cubicBezTo>
                <a:lnTo>
                  <a:pt x="5621903" y="3996694"/>
                </a:lnTo>
                <a:lnTo>
                  <a:pt x="5822880" y="3996694"/>
                </a:lnTo>
                <a:cubicBezTo>
                  <a:pt x="5831453" y="3929066"/>
                  <a:pt x="5831453" y="3859534"/>
                  <a:pt x="5822880" y="3791907"/>
                </a:cubicBezTo>
                <a:lnTo>
                  <a:pt x="5621903" y="3791907"/>
                </a:lnTo>
                <a:lnTo>
                  <a:pt x="5590470" y="3703324"/>
                </a:lnTo>
                <a:cubicBezTo>
                  <a:pt x="5566658" y="3636649"/>
                  <a:pt x="5531415" y="3575689"/>
                  <a:pt x="5485695" y="3521397"/>
                </a:cubicBezTo>
                <a:lnTo>
                  <a:pt x="5424735" y="3449959"/>
                </a:lnTo>
                <a:lnTo>
                  <a:pt x="5525700" y="3275651"/>
                </a:lnTo>
                <a:cubicBezTo>
                  <a:pt x="5471408" y="3233741"/>
                  <a:pt x="5411400" y="3199451"/>
                  <a:pt x="5347583" y="3172782"/>
                </a:cubicBezTo>
                <a:lnTo>
                  <a:pt x="5246618" y="3347089"/>
                </a:lnTo>
                <a:lnTo>
                  <a:pt x="5154225" y="3329944"/>
                </a:lnTo>
                <a:cubicBezTo>
                  <a:pt x="5084693" y="3316609"/>
                  <a:pt x="5013255" y="3316609"/>
                  <a:pt x="4943723" y="3329944"/>
                </a:cubicBezTo>
                <a:lnTo>
                  <a:pt x="4851330" y="3347089"/>
                </a:lnTo>
                <a:lnTo>
                  <a:pt x="4750365" y="3172782"/>
                </a:lnTo>
                <a:cubicBezTo>
                  <a:pt x="4686548" y="3199451"/>
                  <a:pt x="4627493" y="3233741"/>
                  <a:pt x="4572248" y="3275651"/>
                </a:cubicBezTo>
                <a:lnTo>
                  <a:pt x="4673213" y="3449959"/>
                </a:lnTo>
                <a:lnTo>
                  <a:pt x="4612253" y="3521397"/>
                </a:lnTo>
                <a:cubicBezTo>
                  <a:pt x="4566533" y="3575689"/>
                  <a:pt x="4530338" y="3636649"/>
                  <a:pt x="4507478" y="3703324"/>
                </a:cubicBezTo>
                <a:lnTo>
                  <a:pt x="4476045" y="3791907"/>
                </a:lnTo>
                <a:lnTo>
                  <a:pt x="4275068" y="3791907"/>
                </a:lnTo>
                <a:cubicBezTo>
                  <a:pt x="4266495" y="3859534"/>
                  <a:pt x="4266495" y="3929066"/>
                  <a:pt x="4275068" y="3996694"/>
                </a:cubicBezTo>
                <a:lnTo>
                  <a:pt x="4476045" y="3996694"/>
                </a:lnTo>
                <a:lnTo>
                  <a:pt x="4507478" y="4085276"/>
                </a:lnTo>
                <a:cubicBezTo>
                  <a:pt x="4531290" y="4151951"/>
                  <a:pt x="4566533" y="4212912"/>
                  <a:pt x="4612253" y="4267204"/>
                </a:cubicBezTo>
                <a:lnTo>
                  <a:pt x="4673213" y="4338642"/>
                </a:lnTo>
                <a:lnTo>
                  <a:pt x="4572248" y="4512949"/>
                </a:lnTo>
                <a:cubicBezTo>
                  <a:pt x="4626540" y="4554859"/>
                  <a:pt x="4686548" y="4589149"/>
                  <a:pt x="4750365" y="4615819"/>
                </a:cubicBezTo>
                <a:lnTo>
                  <a:pt x="4851330" y="4441512"/>
                </a:lnTo>
                <a:lnTo>
                  <a:pt x="4943723" y="4458657"/>
                </a:lnTo>
                <a:cubicBezTo>
                  <a:pt x="5013255" y="4471992"/>
                  <a:pt x="5084693" y="4471992"/>
                  <a:pt x="5154225" y="4458657"/>
                </a:cubicBezTo>
                <a:lnTo>
                  <a:pt x="5246618" y="4441512"/>
                </a:lnTo>
                <a:close/>
                <a:moveTo>
                  <a:pt x="5334248" y="3887157"/>
                </a:moveTo>
                <a:cubicBezTo>
                  <a:pt x="5334248" y="3718564"/>
                  <a:pt x="5198040" y="3582357"/>
                  <a:pt x="5029448" y="3582357"/>
                </a:cubicBezTo>
                <a:cubicBezTo>
                  <a:pt x="4860855" y="3582357"/>
                  <a:pt x="4724648" y="3718564"/>
                  <a:pt x="4724648" y="3887157"/>
                </a:cubicBezTo>
                <a:cubicBezTo>
                  <a:pt x="4724648" y="4055749"/>
                  <a:pt x="4860855" y="4191957"/>
                  <a:pt x="5029448" y="4191957"/>
                </a:cubicBezTo>
                <a:cubicBezTo>
                  <a:pt x="5198040" y="4191957"/>
                  <a:pt x="5334248" y="4055749"/>
                  <a:pt x="5334248" y="3887157"/>
                </a:cubicBezTo>
                <a:close/>
                <a:moveTo>
                  <a:pt x="5334248" y="988699"/>
                </a:moveTo>
                <a:cubicBezTo>
                  <a:pt x="5334248" y="820106"/>
                  <a:pt x="5198040" y="683899"/>
                  <a:pt x="5029448" y="683899"/>
                </a:cubicBezTo>
                <a:cubicBezTo>
                  <a:pt x="4860855" y="683899"/>
                  <a:pt x="4724648" y="820106"/>
                  <a:pt x="4724648" y="988699"/>
                </a:cubicBezTo>
                <a:cubicBezTo>
                  <a:pt x="4724648" y="1157291"/>
                  <a:pt x="4860855" y="1293499"/>
                  <a:pt x="5029448" y="1293499"/>
                </a:cubicBezTo>
                <a:cubicBezTo>
                  <a:pt x="5198040" y="1293499"/>
                  <a:pt x="5334248" y="1156339"/>
                  <a:pt x="5334248" y="98869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34" name="Graphic 56">
            <a:extLst>
              <a:ext uri="{FF2B5EF4-FFF2-40B4-BE49-F238E27FC236}">
                <a16:creationId xmlns:a16="http://schemas.microsoft.com/office/drawing/2014/main" id="{744838CD-8E0A-4B3C-9A42-F43DF4AF0116}"/>
              </a:ext>
            </a:extLst>
          </p:cNvPr>
          <p:cNvSpPr>
            <a:spLocks noChangeAspect="1"/>
          </p:cNvSpPr>
          <p:nvPr/>
        </p:nvSpPr>
        <p:spPr>
          <a:xfrm>
            <a:off x="715748" y="4739996"/>
            <a:ext cx="461700" cy="410400"/>
          </a:xfrm>
          <a:custGeom>
            <a:avLst/>
            <a:gdLst>
              <a:gd name="connsiteX0" fmla="*/ 4825213 w 5486400"/>
              <a:gd name="connsiteY0" fmla="*/ 2438400 h 4876800"/>
              <a:gd name="connsiteX1" fmla="*/ 3994033 w 5486400"/>
              <a:gd name="connsiteY1" fmla="*/ 2700395 h 4876800"/>
              <a:gd name="connsiteX2" fmla="*/ 4027132 w 5486400"/>
              <a:gd name="connsiteY2" fmla="*/ 1443647 h 4876800"/>
              <a:gd name="connsiteX3" fmla="*/ 2466594 w 5486400"/>
              <a:gd name="connsiteY3" fmla="*/ 1464393 h 4876800"/>
              <a:gd name="connsiteX4" fmla="*/ 2764851 w 5486400"/>
              <a:gd name="connsiteY4" fmla="*/ 641023 h 4876800"/>
              <a:gd name="connsiteX5" fmla="*/ 2046370 w 5486400"/>
              <a:gd name="connsiteY5" fmla="*/ 0 h 4876800"/>
              <a:gd name="connsiteX6" fmla="*/ 1238726 w 5486400"/>
              <a:gd name="connsiteY6" fmla="*/ 655549 h 4876800"/>
              <a:gd name="connsiteX7" fmla="*/ 1470670 w 5486400"/>
              <a:gd name="connsiteY7" fmla="*/ 1499521 h 4876800"/>
              <a:gd name="connsiteX8" fmla="*/ 0 w 5486400"/>
              <a:gd name="connsiteY8" fmla="*/ 1448191 h 4876800"/>
              <a:gd name="connsiteX9" fmla="*/ 0 w 5486400"/>
              <a:gd name="connsiteY9" fmla="*/ 4737297 h 4876800"/>
              <a:gd name="connsiteX10" fmla="*/ 1011203 w 5486400"/>
              <a:gd name="connsiteY10" fmla="*/ 4876800 h 4876800"/>
              <a:gd name="connsiteX11" fmla="*/ 1828800 w 5486400"/>
              <a:gd name="connsiteY11" fmla="*/ 4361260 h 4876800"/>
              <a:gd name="connsiteX12" fmla="*/ 1524000 w 5486400"/>
              <a:gd name="connsiteY12" fmla="*/ 3657600 h 4876800"/>
              <a:gd name="connsiteX13" fmla="*/ 1971465 w 5486400"/>
              <a:gd name="connsiteY13" fmla="*/ 3352800 h 4876800"/>
              <a:gd name="connsiteX14" fmla="*/ 2438400 w 5486400"/>
              <a:gd name="connsiteY14" fmla="*/ 3657600 h 4876800"/>
              <a:gd name="connsiteX15" fmla="*/ 2111959 w 5486400"/>
              <a:gd name="connsiteY15" fmla="*/ 4387025 h 4876800"/>
              <a:gd name="connsiteX16" fmla="*/ 2250053 w 5486400"/>
              <a:gd name="connsiteY16" fmla="*/ 4709236 h 4876800"/>
              <a:gd name="connsiteX17" fmla="*/ 4032037 w 5486400"/>
              <a:gd name="connsiteY17" fmla="*/ 4769101 h 4876800"/>
              <a:gd name="connsiteX18" fmla="*/ 3958676 w 5486400"/>
              <a:gd name="connsiteY18" fmla="*/ 3703187 h 4876800"/>
              <a:gd name="connsiteX19" fmla="*/ 4839929 w 5486400"/>
              <a:gd name="connsiteY19" fmla="*/ 3980421 h 4876800"/>
              <a:gd name="connsiteX20" fmla="*/ 5486400 w 5486400"/>
              <a:gd name="connsiteY20" fmla="*/ 3200400 h 4876800"/>
              <a:gd name="connsiteX21" fmla="*/ 4825213 w 5486400"/>
              <a:gd name="connsiteY21" fmla="*/ 2438400 h 4876800"/>
              <a:gd name="connsiteX22" fmla="*/ 4839919 w 5486400"/>
              <a:gd name="connsiteY22" fmla="*/ 3675631 h 4876800"/>
              <a:gd name="connsiteX23" fmla="*/ 4063508 w 5486400"/>
              <a:gd name="connsiteY23" fmla="*/ 3352800 h 4876800"/>
              <a:gd name="connsiteX24" fmla="*/ 3641817 w 5486400"/>
              <a:gd name="connsiteY24" fmla="*/ 4474998 h 4876800"/>
              <a:gd name="connsiteX25" fmla="*/ 2451897 w 5486400"/>
              <a:gd name="connsiteY25" fmla="*/ 4480846 h 4876800"/>
              <a:gd name="connsiteX26" fmla="*/ 2743200 w 5486400"/>
              <a:gd name="connsiteY26" fmla="*/ 3657600 h 4876800"/>
              <a:gd name="connsiteX27" fmla="*/ 1971465 w 5486400"/>
              <a:gd name="connsiteY27" fmla="*/ 3048000 h 4876800"/>
              <a:gd name="connsiteX28" fmla="*/ 1436475 w 5486400"/>
              <a:gd name="connsiteY28" fmla="*/ 4210403 h 4876800"/>
              <a:gd name="connsiteX29" fmla="*/ 1524000 w 5486400"/>
              <a:gd name="connsiteY29" fmla="*/ 4361260 h 4876800"/>
              <a:gd name="connsiteX30" fmla="*/ 304800 w 5486400"/>
              <a:gd name="connsiteY30" fmla="*/ 4493895 h 4876800"/>
              <a:gd name="connsiteX31" fmla="*/ 304800 w 5486400"/>
              <a:gd name="connsiteY31" fmla="*/ 1828524 h 4876800"/>
              <a:gd name="connsiteX32" fmla="*/ 1828800 w 5486400"/>
              <a:gd name="connsiteY32" fmla="*/ 1385564 h 4876800"/>
              <a:gd name="connsiteX33" fmla="*/ 1543526 w 5486400"/>
              <a:gd name="connsiteY33" fmla="*/ 655549 h 4876800"/>
              <a:gd name="connsiteX34" fmla="*/ 2046370 w 5486400"/>
              <a:gd name="connsiteY34" fmla="*/ 304800 h 4876800"/>
              <a:gd name="connsiteX35" fmla="*/ 2460041 w 5486400"/>
              <a:gd name="connsiteY35" fmla="*/ 641013 h 4876800"/>
              <a:gd name="connsiteX36" fmla="*/ 2133600 w 5486400"/>
              <a:gd name="connsiteY36" fmla="*/ 1408824 h 4876800"/>
              <a:gd name="connsiteX37" fmla="*/ 3640646 w 5486400"/>
              <a:gd name="connsiteY37" fmla="*/ 1819285 h 4876800"/>
              <a:gd name="connsiteX38" fmla="*/ 4087044 w 5486400"/>
              <a:gd name="connsiteY38" fmla="*/ 3048000 h 4876800"/>
              <a:gd name="connsiteX39" fmla="*/ 4825213 w 5486400"/>
              <a:gd name="connsiteY39" fmla="*/ 2743200 h 4876800"/>
              <a:gd name="connsiteX40" fmla="*/ 5181600 w 5486400"/>
              <a:gd name="connsiteY40" fmla="*/ 3200400 h 4876800"/>
              <a:gd name="connsiteX41" fmla="*/ 4839919 w 5486400"/>
              <a:gd name="connsiteY41" fmla="*/ 3675631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5486400" h="4876800">
                <a:moveTo>
                  <a:pt x="4825213" y="2438400"/>
                </a:moveTo>
                <a:cubicBezTo>
                  <a:pt x="4326989" y="2438400"/>
                  <a:pt x="4139298" y="2881436"/>
                  <a:pt x="3994033" y="2700395"/>
                </a:cubicBezTo>
                <a:cubicBezTo>
                  <a:pt x="3802342" y="2461489"/>
                  <a:pt x="3974716" y="1679000"/>
                  <a:pt x="4027132" y="1443647"/>
                </a:cubicBezTo>
                <a:cubicBezTo>
                  <a:pt x="3701101" y="1504331"/>
                  <a:pt x="2719893" y="1674857"/>
                  <a:pt x="2466594" y="1464393"/>
                </a:cubicBezTo>
                <a:cubicBezTo>
                  <a:pt x="2308298" y="1332852"/>
                  <a:pt x="2764851" y="1050093"/>
                  <a:pt x="2764851" y="641023"/>
                </a:cubicBezTo>
                <a:cubicBezTo>
                  <a:pt x="2764841" y="247888"/>
                  <a:pt x="2442658" y="0"/>
                  <a:pt x="2046370" y="0"/>
                </a:cubicBezTo>
                <a:cubicBezTo>
                  <a:pt x="1631471" y="0"/>
                  <a:pt x="1238726" y="243926"/>
                  <a:pt x="1238726" y="655549"/>
                </a:cubicBezTo>
                <a:cubicBezTo>
                  <a:pt x="1238726" y="1160564"/>
                  <a:pt x="1675905" y="1337586"/>
                  <a:pt x="1470670" y="1499521"/>
                </a:cubicBezTo>
                <a:cubicBezTo>
                  <a:pt x="1200007" y="1713033"/>
                  <a:pt x="336671" y="1528991"/>
                  <a:pt x="0" y="1448191"/>
                </a:cubicBezTo>
                <a:lnTo>
                  <a:pt x="0" y="4737297"/>
                </a:lnTo>
                <a:cubicBezTo>
                  <a:pt x="317325" y="4813611"/>
                  <a:pt x="673237" y="4876829"/>
                  <a:pt x="1011203" y="4876800"/>
                </a:cubicBezTo>
                <a:cubicBezTo>
                  <a:pt x="1413920" y="4876800"/>
                  <a:pt x="1828800" y="4764034"/>
                  <a:pt x="1828800" y="4361260"/>
                </a:cubicBezTo>
                <a:cubicBezTo>
                  <a:pt x="1828800" y="4081758"/>
                  <a:pt x="1524000" y="3972335"/>
                  <a:pt x="1524000" y="3657600"/>
                </a:cubicBezTo>
                <a:cubicBezTo>
                  <a:pt x="1524000" y="3424838"/>
                  <a:pt x="1738636" y="3352800"/>
                  <a:pt x="1971465" y="3352800"/>
                </a:cubicBezTo>
                <a:cubicBezTo>
                  <a:pt x="2340055" y="3352800"/>
                  <a:pt x="2438400" y="3544386"/>
                  <a:pt x="2438400" y="3657600"/>
                </a:cubicBezTo>
                <a:cubicBezTo>
                  <a:pt x="2438400" y="3931758"/>
                  <a:pt x="2111959" y="4003815"/>
                  <a:pt x="2111959" y="4387025"/>
                </a:cubicBezTo>
                <a:cubicBezTo>
                  <a:pt x="2111959" y="4517974"/>
                  <a:pt x="2159708" y="4629388"/>
                  <a:pt x="2250053" y="4709236"/>
                </a:cubicBezTo>
                <a:cubicBezTo>
                  <a:pt x="2584885" y="5005169"/>
                  <a:pt x="3266532" y="4769425"/>
                  <a:pt x="4032037" y="4769101"/>
                </a:cubicBezTo>
                <a:cubicBezTo>
                  <a:pt x="4022912" y="4736468"/>
                  <a:pt x="3776701" y="3943055"/>
                  <a:pt x="3958676" y="3703187"/>
                </a:cubicBezTo>
                <a:cubicBezTo>
                  <a:pt x="4117886" y="3493418"/>
                  <a:pt x="4421382" y="3980421"/>
                  <a:pt x="4839929" y="3980421"/>
                </a:cubicBezTo>
                <a:cubicBezTo>
                  <a:pt x="5240912" y="3980431"/>
                  <a:pt x="5486400" y="3596792"/>
                  <a:pt x="5486400" y="3200400"/>
                </a:cubicBezTo>
                <a:cubicBezTo>
                  <a:pt x="5486400" y="2792397"/>
                  <a:pt x="5236588" y="2438400"/>
                  <a:pt x="4825213" y="2438400"/>
                </a:cubicBezTo>
                <a:close/>
                <a:moveTo>
                  <a:pt x="4839919" y="3675631"/>
                </a:moveTo>
                <a:cubicBezTo>
                  <a:pt x="4554150" y="3675631"/>
                  <a:pt x="4445927" y="3352800"/>
                  <a:pt x="4063508" y="3352800"/>
                </a:cubicBezTo>
                <a:cubicBezTo>
                  <a:pt x="3553292" y="3352800"/>
                  <a:pt x="3541147" y="3971725"/>
                  <a:pt x="3641817" y="4474998"/>
                </a:cubicBezTo>
                <a:cubicBezTo>
                  <a:pt x="3295145" y="4507611"/>
                  <a:pt x="2622404" y="4631531"/>
                  <a:pt x="2451897" y="4480846"/>
                </a:cubicBezTo>
                <a:cubicBezTo>
                  <a:pt x="2260216" y="4311444"/>
                  <a:pt x="2743200" y="4079358"/>
                  <a:pt x="2743200" y="3657600"/>
                </a:cubicBezTo>
                <a:cubicBezTo>
                  <a:pt x="2743200" y="3298669"/>
                  <a:pt x="2425856" y="3048000"/>
                  <a:pt x="1971465" y="3048000"/>
                </a:cubicBezTo>
                <a:cubicBezTo>
                  <a:pt x="1257271" y="3048000"/>
                  <a:pt x="991486" y="3617871"/>
                  <a:pt x="1436475" y="4210403"/>
                </a:cubicBezTo>
                <a:cubicBezTo>
                  <a:pt x="1481490" y="4270343"/>
                  <a:pt x="1524000" y="4326960"/>
                  <a:pt x="1524000" y="4361260"/>
                </a:cubicBezTo>
                <a:cubicBezTo>
                  <a:pt x="1524000" y="4682157"/>
                  <a:pt x="628602" y="4557751"/>
                  <a:pt x="304800" y="4493895"/>
                </a:cubicBezTo>
                <a:lnTo>
                  <a:pt x="304800" y="1828524"/>
                </a:lnTo>
                <a:cubicBezTo>
                  <a:pt x="907304" y="1939557"/>
                  <a:pt x="1828800" y="2001269"/>
                  <a:pt x="1828800" y="1385564"/>
                </a:cubicBezTo>
                <a:cubicBezTo>
                  <a:pt x="1828800" y="1113463"/>
                  <a:pt x="1543526" y="976160"/>
                  <a:pt x="1543526" y="655549"/>
                </a:cubicBezTo>
                <a:cubicBezTo>
                  <a:pt x="1543526" y="420491"/>
                  <a:pt x="1812274" y="304800"/>
                  <a:pt x="2046370" y="304800"/>
                </a:cubicBezTo>
                <a:cubicBezTo>
                  <a:pt x="2237204" y="304800"/>
                  <a:pt x="2460041" y="392849"/>
                  <a:pt x="2460041" y="641013"/>
                </a:cubicBezTo>
                <a:cubicBezTo>
                  <a:pt x="2460041" y="921296"/>
                  <a:pt x="2133600" y="1029176"/>
                  <a:pt x="2133600" y="1408824"/>
                </a:cubicBezTo>
                <a:cubicBezTo>
                  <a:pt x="2133600" y="1959635"/>
                  <a:pt x="3094149" y="1893942"/>
                  <a:pt x="3640646" y="1819285"/>
                </a:cubicBezTo>
                <a:cubicBezTo>
                  <a:pt x="3563703" y="2336426"/>
                  <a:pt x="3561960" y="3048000"/>
                  <a:pt x="4087044" y="3048000"/>
                </a:cubicBezTo>
                <a:cubicBezTo>
                  <a:pt x="4364632" y="3048000"/>
                  <a:pt x="4503039" y="2743200"/>
                  <a:pt x="4825213" y="2743200"/>
                </a:cubicBezTo>
                <a:cubicBezTo>
                  <a:pt x="5062948" y="2743200"/>
                  <a:pt x="5181600" y="2965142"/>
                  <a:pt x="5181600" y="3200400"/>
                </a:cubicBezTo>
                <a:cubicBezTo>
                  <a:pt x="5181600" y="3528184"/>
                  <a:pt x="4981794" y="3675631"/>
                  <a:pt x="4839919" y="3675631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grpSp>
        <p:nvGrpSpPr>
          <p:cNvPr id="35" name="Group 19">
            <a:extLst>
              <a:ext uri="{FF2B5EF4-FFF2-40B4-BE49-F238E27FC236}">
                <a16:creationId xmlns:a16="http://schemas.microsoft.com/office/drawing/2014/main" id="{0EBC1A2E-D8FA-444F-895C-6E0A2E88EEEE}"/>
              </a:ext>
            </a:extLst>
          </p:cNvPr>
          <p:cNvGrpSpPr/>
          <p:nvPr/>
        </p:nvGrpSpPr>
        <p:grpSpPr>
          <a:xfrm>
            <a:off x="9589762" y="2125712"/>
            <a:ext cx="1728192" cy="1840859"/>
            <a:chOff x="0" y="0"/>
            <a:chExt cx="2978150" cy="3628629"/>
          </a:xfrm>
        </p:grpSpPr>
        <p:sp>
          <p:nvSpPr>
            <p:cNvPr id="36" name="Shape 13">
              <a:extLst>
                <a:ext uri="{FF2B5EF4-FFF2-40B4-BE49-F238E27FC236}">
                  <a16:creationId xmlns:a16="http://schemas.microsoft.com/office/drawing/2014/main" id="{48C606EC-7764-483F-A987-0960081EE332}"/>
                </a:ext>
              </a:extLst>
            </p:cNvPr>
            <p:cNvSpPr/>
            <p:nvPr/>
          </p:nvSpPr>
          <p:spPr>
            <a:xfrm>
              <a:off x="0" y="1917700"/>
              <a:ext cx="2978150" cy="1710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77" y="0"/>
                  </a:moveTo>
                  <a:lnTo>
                    <a:pt x="10777" y="45"/>
                  </a:lnTo>
                  <a:lnTo>
                    <a:pt x="0" y="10803"/>
                  </a:lnTo>
                  <a:lnTo>
                    <a:pt x="10777" y="21555"/>
                  </a:lnTo>
                  <a:lnTo>
                    <a:pt x="10777" y="21600"/>
                  </a:lnTo>
                  <a:lnTo>
                    <a:pt x="10800" y="21575"/>
                  </a:lnTo>
                  <a:lnTo>
                    <a:pt x="10823" y="21600"/>
                  </a:lnTo>
                  <a:lnTo>
                    <a:pt x="10823" y="21555"/>
                  </a:lnTo>
                  <a:lnTo>
                    <a:pt x="21600" y="10803"/>
                  </a:lnTo>
                  <a:lnTo>
                    <a:pt x="10823" y="45"/>
                  </a:lnTo>
                  <a:lnTo>
                    <a:pt x="10823" y="0"/>
                  </a:lnTo>
                  <a:lnTo>
                    <a:pt x="10800" y="25"/>
                  </a:lnTo>
                  <a:lnTo>
                    <a:pt x="10777" y="0"/>
                  </a:lnTo>
                  <a:close/>
                </a:path>
              </a:pathLst>
            </a:custGeom>
            <a:solidFill>
              <a:schemeClr val="accent4">
                <a:alpha val="9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>
              <a:lvl1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1pPr>
              <a:lvl2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2pPr>
              <a:lvl3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3pPr>
              <a:lvl4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4pPr>
              <a:lvl5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5pPr>
              <a:lvl6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6pPr>
              <a:lvl7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7pPr>
              <a:lvl8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8pPr>
              <a:lvl9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9pPr>
            </a:lstStyle>
            <a:p>
              <a:pPr lvl="0"/>
              <a:endParaRPr lang="de-DE" dirty="0"/>
            </a:p>
          </p:txBody>
        </p:sp>
        <p:sp>
          <p:nvSpPr>
            <p:cNvPr id="37" name="Shape 14">
              <a:extLst>
                <a:ext uri="{FF2B5EF4-FFF2-40B4-BE49-F238E27FC236}">
                  <a16:creationId xmlns:a16="http://schemas.microsoft.com/office/drawing/2014/main" id="{1C642938-7140-41F2-BA73-FDE9C84B9E08}"/>
                </a:ext>
              </a:extLst>
            </p:cNvPr>
            <p:cNvSpPr/>
            <p:nvPr/>
          </p:nvSpPr>
          <p:spPr>
            <a:xfrm>
              <a:off x="0" y="1534318"/>
              <a:ext cx="2978150" cy="1710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77" y="0"/>
                  </a:moveTo>
                  <a:lnTo>
                    <a:pt x="10777" y="45"/>
                  </a:lnTo>
                  <a:lnTo>
                    <a:pt x="0" y="10797"/>
                  </a:lnTo>
                  <a:lnTo>
                    <a:pt x="10777" y="21555"/>
                  </a:lnTo>
                  <a:lnTo>
                    <a:pt x="10777" y="21600"/>
                  </a:lnTo>
                  <a:lnTo>
                    <a:pt x="10800" y="21575"/>
                  </a:lnTo>
                  <a:lnTo>
                    <a:pt x="10823" y="21600"/>
                  </a:lnTo>
                  <a:lnTo>
                    <a:pt x="10823" y="21555"/>
                  </a:lnTo>
                  <a:lnTo>
                    <a:pt x="21600" y="10797"/>
                  </a:lnTo>
                  <a:lnTo>
                    <a:pt x="10823" y="45"/>
                  </a:lnTo>
                  <a:lnTo>
                    <a:pt x="10823" y="0"/>
                  </a:lnTo>
                  <a:lnTo>
                    <a:pt x="10800" y="25"/>
                  </a:lnTo>
                  <a:lnTo>
                    <a:pt x="10777" y="0"/>
                  </a:lnTo>
                  <a:close/>
                </a:path>
              </a:pathLst>
            </a:custGeom>
            <a:solidFill>
              <a:schemeClr val="accent5">
                <a:alpha val="9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>
              <a:lvl1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1pPr>
              <a:lvl2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2pPr>
              <a:lvl3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3pPr>
              <a:lvl4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4pPr>
              <a:lvl5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5pPr>
              <a:lvl6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6pPr>
              <a:lvl7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7pPr>
              <a:lvl8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8pPr>
              <a:lvl9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9pPr>
            </a:lstStyle>
            <a:p>
              <a:pPr lvl="0"/>
              <a:endParaRPr lang="de-DE" dirty="0"/>
            </a:p>
          </p:txBody>
        </p:sp>
        <p:sp>
          <p:nvSpPr>
            <p:cNvPr id="38" name="Shape 15">
              <a:extLst>
                <a:ext uri="{FF2B5EF4-FFF2-40B4-BE49-F238E27FC236}">
                  <a16:creationId xmlns:a16="http://schemas.microsoft.com/office/drawing/2014/main" id="{9612736C-B05E-497D-8505-049ABB20429A}"/>
                </a:ext>
              </a:extLst>
            </p:cNvPr>
            <p:cNvSpPr/>
            <p:nvPr/>
          </p:nvSpPr>
          <p:spPr>
            <a:xfrm>
              <a:off x="0" y="1150540"/>
              <a:ext cx="2978150" cy="17113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77" y="0"/>
                  </a:moveTo>
                  <a:lnTo>
                    <a:pt x="10777" y="45"/>
                  </a:lnTo>
                  <a:lnTo>
                    <a:pt x="0" y="10800"/>
                  </a:lnTo>
                  <a:lnTo>
                    <a:pt x="10777" y="21555"/>
                  </a:lnTo>
                  <a:lnTo>
                    <a:pt x="10777" y="21600"/>
                  </a:lnTo>
                  <a:lnTo>
                    <a:pt x="10800" y="21575"/>
                  </a:lnTo>
                  <a:lnTo>
                    <a:pt x="10823" y="21600"/>
                  </a:lnTo>
                  <a:lnTo>
                    <a:pt x="10823" y="21555"/>
                  </a:lnTo>
                  <a:lnTo>
                    <a:pt x="21600" y="10800"/>
                  </a:lnTo>
                  <a:lnTo>
                    <a:pt x="10823" y="45"/>
                  </a:lnTo>
                  <a:lnTo>
                    <a:pt x="10823" y="0"/>
                  </a:lnTo>
                  <a:lnTo>
                    <a:pt x="10800" y="25"/>
                  </a:lnTo>
                  <a:lnTo>
                    <a:pt x="10777" y="0"/>
                  </a:lnTo>
                  <a:close/>
                </a:path>
              </a:pathLst>
            </a:custGeom>
            <a:solidFill>
              <a:schemeClr val="tx2">
                <a:alpha val="9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>
              <a:lvl1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1pPr>
              <a:lvl2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2pPr>
              <a:lvl3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3pPr>
              <a:lvl4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4pPr>
              <a:lvl5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5pPr>
              <a:lvl6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6pPr>
              <a:lvl7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7pPr>
              <a:lvl8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8pPr>
              <a:lvl9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9pPr>
            </a:lstStyle>
            <a:p>
              <a:pPr lvl="0"/>
              <a:endParaRPr lang="de-DE" dirty="0"/>
            </a:p>
          </p:txBody>
        </p:sp>
        <p:sp>
          <p:nvSpPr>
            <p:cNvPr id="39" name="Shape 16">
              <a:extLst>
                <a:ext uri="{FF2B5EF4-FFF2-40B4-BE49-F238E27FC236}">
                  <a16:creationId xmlns:a16="http://schemas.microsoft.com/office/drawing/2014/main" id="{F80D2223-E346-4E53-B00D-15A8E1C17C39}"/>
                </a:ext>
              </a:extLst>
            </p:cNvPr>
            <p:cNvSpPr/>
            <p:nvPr/>
          </p:nvSpPr>
          <p:spPr>
            <a:xfrm>
              <a:off x="0" y="767159"/>
              <a:ext cx="2978150" cy="1710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77" y="0"/>
                  </a:moveTo>
                  <a:lnTo>
                    <a:pt x="10777" y="45"/>
                  </a:lnTo>
                  <a:lnTo>
                    <a:pt x="0" y="10797"/>
                  </a:lnTo>
                  <a:lnTo>
                    <a:pt x="10777" y="21555"/>
                  </a:lnTo>
                  <a:lnTo>
                    <a:pt x="10777" y="21600"/>
                  </a:lnTo>
                  <a:lnTo>
                    <a:pt x="10800" y="21575"/>
                  </a:lnTo>
                  <a:lnTo>
                    <a:pt x="10823" y="21600"/>
                  </a:lnTo>
                  <a:lnTo>
                    <a:pt x="10823" y="21555"/>
                  </a:lnTo>
                  <a:lnTo>
                    <a:pt x="21600" y="10797"/>
                  </a:lnTo>
                  <a:lnTo>
                    <a:pt x="10823" y="45"/>
                  </a:lnTo>
                  <a:lnTo>
                    <a:pt x="10823" y="0"/>
                  </a:lnTo>
                  <a:lnTo>
                    <a:pt x="10800" y="25"/>
                  </a:lnTo>
                  <a:lnTo>
                    <a:pt x="10777" y="0"/>
                  </a:lnTo>
                  <a:close/>
                </a:path>
              </a:pathLst>
            </a:custGeom>
            <a:solidFill>
              <a:schemeClr val="accent1">
                <a:alpha val="9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>
              <a:lvl1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1pPr>
              <a:lvl2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2pPr>
              <a:lvl3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3pPr>
              <a:lvl4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4pPr>
              <a:lvl5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5pPr>
              <a:lvl6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6pPr>
              <a:lvl7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7pPr>
              <a:lvl8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8pPr>
              <a:lvl9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9pPr>
            </a:lstStyle>
            <a:p>
              <a:pPr lvl="0"/>
              <a:endParaRPr lang="de-DE" dirty="0"/>
            </a:p>
          </p:txBody>
        </p:sp>
        <p:sp>
          <p:nvSpPr>
            <p:cNvPr id="40" name="Shape 17">
              <a:extLst>
                <a:ext uri="{FF2B5EF4-FFF2-40B4-BE49-F238E27FC236}">
                  <a16:creationId xmlns:a16="http://schemas.microsoft.com/office/drawing/2014/main" id="{ECF716DD-2650-40E0-8BC0-A1AFC035959F}"/>
                </a:ext>
              </a:extLst>
            </p:cNvPr>
            <p:cNvSpPr/>
            <p:nvPr/>
          </p:nvSpPr>
          <p:spPr>
            <a:xfrm>
              <a:off x="0" y="383381"/>
              <a:ext cx="2978150" cy="17113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77" y="0"/>
                  </a:moveTo>
                  <a:lnTo>
                    <a:pt x="10777" y="45"/>
                  </a:lnTo>
                  <a:lnTo>
                    <a:pt x="0" y="10800"/>
                  </a:lnTo>
                  <a:lnTo>
                    <a:pt x="10777" y="21555"/>
                  </a:lnTo>
                  <a:lnTo>
                    <a:pt x="10777" y="21600"/>
                  </a:lnTo>
                  <a:lnTo>
                    <a:pt x="10800" y="21575"/>
                  </a:lnTo>
                  <a:lnTo>
                    <a:pt x="10823" y="21600"/>
                  </a:lnTo>
                  <a:lnTo>
                    <a:pt x="10823" y="21555"/>
                  </a:lnTo>
                  <a:lnTo>
                    <a:pt x="21600" y="10800"/>
                  </a:lnTo>
                  <a:lnTo>
                    <a:pt x="10823" y="45"/>
                  </a:lnTo>
                  <a:lnTo>
                    <a:pt x="10823" y="0"/>
                  </a:lnTo>
                  <a:lnTo>
                    <a:pt x="10800" y="25"/>
                  </a:lnTo>
                  <a:lnTo>
                    <a:pt x="10777" y="0"/>
                  </a:lnTo>
                  <a:close/>
                </a:path>
              </a:pathLst>
            </a:custGeom>
            <a:solidFill>
              <a:schemeClr val="accent2">
                <a:alpha val="9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>
              <a:lvl1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1pPr>
              <a:lvl2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2pPr>
              <a:lvl3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3pPr>
              <a:lvl4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4pPr>
              <a:lvl5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5pPr>
              <a:lvl6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6pPr>
              <a:lvl7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7pPr>
              <a:lvl8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8pPr>
              <a:lvl9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9pPr>
            </a:lstStyle>
            <a:p>
              <a:pPr lvl="0"/>
              <a:endParaRPr lang="de-DE" dirty="0"/>
            </a:p>
          </p:txBody>
        </p:sp>
        <p:sp>
          <p:nvSpPr>
            <p:cNvPr id="41" name="Shape 18">
              <a:extLst>
                <a:ext uri="{FF2B5EF4-FFF2-40B4-BE49-F238E27FC236}">
                  <a16:creationId xmlns:a16="http://schemas.microsoft.com/office/drawing/2014/main" id="{08405226-295D-426F-94C2-9DB0C79DB7A2}"/>
                </a:ext>
              </a:extLst>
            </p:cNvPr>
            <p:cNvSpPr/>
            <p:nvPr/>
          </p:nvSpPr>
          <p:spPr>
            <a:xfrm>
              <a:off x="0" y="0"/>
              <a:ext cx="2978150" cy="1710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777" y="0"/>
                  </a:moveTo>
                  <a:lnTo>
                    <a:pt x="10777" y="45"/>
                  </a:lnTo>
                  <a:lnTo>
                    <a:pt x="0" y="10803"/>
                  </a:lnTo>
                  <a:lnTo>
                    <a:pt x="10777" y="21555"/>
                  </a:lnTo>
                  <a:lnTo>
                    <a:pt x="10777" y="21600"/>
                  </a:lnTo>
                  <a:lnTo>
                    <a:pt x="10800" y="21575"/>
                  </a:lnTo>
                  <a:lnTo>
                    <a:pt x="10823" y="21600"/>
                  </a:lnTo>
                  <a:lnTo>
                    <a:pt x="10823" y="21555"/>
                  </a:lnTo>
                  <a:lnTo>
                    <a:pt x="21600" y="10803"/>
                  </a:lnTo>
                  <a:lnTo>
                    <a:pt x="10823" y="45"/>
                  </a:lnTo>
                  <a:lnTo>
                    <a:pt x="10823" y="0"/>
                  </a:lnTo>
                  <a:lnTo>
                    <a:pt x="10800" y="25"/>
                  </a:lnTo>
                  <a:lnTo>
                    <a:pt x="10777" y="0"/>
                  </a:lnTo>
                  <a:close/>
                </a:path>
              </a:pathLst>
            </a:custGeom>
            <a:solidFill>
              <a:schemeClr val="accent3">
                <a:alpha val="90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>
              <a:lvl1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1pPr>
              <a:lvl2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2pPr>
              <a:lvl3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3pPr>
              <a:lvl4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4pPr>
              <a:lvl5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5pPr>
              <a:lvl6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6pPr>
              <a:lvl7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7pPr>
              <a:lvl8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8pPr>
              <a:lvl9pPr algn="ctr" defTabSz="457200">
                <a:lnSpc>
                  <a:spcPct val="80000"/>
                </a:lnSpc>
                <a:spcBef>
                  <a:spcPts val="5500"/>
                </a:spcBef>
                <a:defRPr sz="5000">
                  <a:solidFill>
                    <a:srgbClr val="333333"/>
                  </a:solidFill>
                  <a:latin typeface="+mn-lt"/>
                  <a:ea typeface="+mn-ea"/>
                  <a:cs typeface="+mn-cs"/>
                  <a:sym typeface="Helvetica Neue Thin"/>
                </a:defRPr>
              </a:lvl9pPr>
            </a:lstStyle>
            <a:p>
              <a:pPr lvl="0"/>
              <a:endParaRPr lang="de-DE" dirty="0"/>
            </a:p>
          </p:txBody>
        </p:sp>
      </p:grpSp>
      <p:sp>
        <p:nvSpPr>
          <p:cNvPr id="42" name="Text Placeholder 10">
            <a:extLst>
              <a:ext uri="{FF2B5EF4-FFF2-40B4-BE49-F238E27FC236}">
                <a16:creationId xmlns:a16="http://schemas.microsoft.com/office/drawing/2014/main" id="{E2FDCEAF-ED65-4533-8C51-A2545DE86A7D}"/>
              </a:ext>
            </a:extLst>
          </p:cNvPr>
          <p:cNvSpPr txBox="1">
            <a:spLocks/>
          </p:cNvSpPr>
          <p:nvPr/>
        </p:nvSpPr>
        <p:spPr bwMode="gray">
          <a:xfrm>
            <a:off x="9589762" y="4099898"/>
            <a:ext cx="1912071" cy="20269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Digitale Business </a:t>
            </a:r>
            <a:br>
              <a:rPr lang="de-DE" dirty="0"/>
            </a:br>
            <a:r>
              <a:rPr lang="de-DE" dirty="0"/>
              <a:t>Plattform DBP+ </a:t>
            </a:r>
          </a:p>
          <a:p>
            <a:pPr lvl="1">
              <a:spcBef>
                <a:spcPts val="1800"/>
              </a:spcBef>
            </a:pPr>
            <a:r>
              <a:rPr lang="de-DE" sz="1600" dirty="0"/>
              <a:t>basierend auf</a:t>
            </a:r>
          </a:p>
          <a:p>
            <a:pPr lvl="2"/>
            <a:r>
              <a:rPr lang="de-DE" sz="1600" dirty="0"/>
              <a:t>Salesforce</a:t>
            </a:r>
          </a:p>
          <a:p>
            <a:pPr lvl="2"/>
            <a:r>
              <a:rPr lang="de-DE" sz="1600" dirty="0"/>
              <a:t>SAP Cloud </a:t>
            </a:r>
            <a:r>
              <a:rPr lang="de-DE" sz="1600" dirty="0" err="1"/>
              <a:t>Platform</a:t>
            </a:r>
            <a:endParaRPr lang="de-DE" sz="1600" dirty="0"/>
          </a:p>
          <a:p>
            <a:pPr lvl="2"/>
            <a:r>
              <a:rPr lang="de-DE" sz="1600" dirty="0"/>
              <a:t>MS Azure</a:t>
            </a:r>
          </a:p>
        </p:txBody>
      </p:sp>
    </p:spTree>
    <p:extLst>
      <p:ext uri="{BB962C8B-B14F-4D97-AF65-F5344CB8AC3E}">
        <p14:creationId xmlns:p14="http://schemas.microsoft.com/office/powerpoint/2010/main" val="12588125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E306314-E167-465C-B8EF-821162C0CC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2984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E306314-E167-465C-B8EF-821162C0CC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7E29E2-7E98-4C99-90AA-241235C586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01" y="849054"/>
            <a:ext cx="11231473" cy="467820"/>
          </a:xfrm>
        </p:spPr>
        <p:txBody>
          <a:bodyPr vert="horz"/>
          <a:lstStyle/>
          <a:p>
            <a:r>
              <a:rPr lang="de-DE" dirty="0"/>
              <a:t>Mehrwert der PTA im Bereich </a:t>
            </a:r>
            <a:r>
              <a:rPr lang="de-DE"/>
              <a:t>der QS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E7B4B5-E60E-4C7D-B88A-C353B4EED4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 dirty="0">
                <a:solidFill>
                  <a:schemeClr val="accent4"/>
                </a:solidFill>
              </a:rPr>
              <a:t>PTA – Vorstellung </a:t>
            </a:r>
            <a:r>
              <a:rPr lang="de-DE" noProof="0" dirty="0" err="1">
                <a:solidFill>
                  <a:schemeClr val="accent4"/>
                </a:solidFill>
              </a:rPr>
              <a:t>Inflectra</a:t>
            </a:r>
            <a:endParaRPr lang="de-DE" noProof="0" dirty="0">
              <a:solidFill>
                <a:schemeClr val="accent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98D16D-0D62-49D6-A2C6-8C230B76E9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F58692B-9CFC-42D8-9B64-0B547ADAD28E}" type="slidenum">
              <a:rPr lang="de-DE" noProof="0" smtClean="0"/>
              <a:pPr/>
              <a:t>18</a:t>
            </a:fld>
            <a:endParaRPr lang="de-DE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8316DF-9856-4AF6-9D33-406D66B007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0000" y="1664804"/>
            <a:ext cx="11232000" cy="259246"/>
          </a:xfrm>
        </p:spPr>
        <p:txBody>
          <a:bodyPr/>
          <a:lstStyle/>
          <a:p>
            <a:r>
              <a:rPr lang="de-DE" dirty="0"/>
              <a:t>Unsere Services für Sie im Überblick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66384A0-4B55-4EA6-90E3-17787970A9D4}"/>
              </a:ext>
            </a:extLst>
          </p:cNvPr>
          <p:cNvSpPr txBox="1">
            <a:spLocks/>
          </p:cNvSpPr>
          <p:nvPr/>
        </p:nvSpPr>
        <p:spPr bwMode="gray">
          <a:xfrm>
            <a:off x="480000" y="6049107"/>
            <a:ext cx="11232000" cy="3240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Weitere Details siehe:      </a:t>
            </a:r>
            <a:r>
              <a:rPr lang="de-DE" sz="1800" dirty="0">
                <a:hlinkClick r:id="rId6"/>
              </a:rPr>
              <a:t>https://www.pta.de/leistungen/beratung/qualitaetssicherung/</a:t>
            </a:r>
            <a:endParaRPr lang="de-DE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5D9CE10-1C6F-49AA-8635-2755503D13CF}"/>
              </a:ext>
            </a:extLst>
          </p:cNvPr>
          <p:cNvGrpSpPr/>
          <p:nvPr/>
        </p:nvGrpSpPr>
        <p:grpSpPr>
          <a:xfrm>
            <a:off x="375125" y="2098937"/>
            <a:ext cx="10078741" cy="3796287"/>
            <a:chOff x="479901" y="2146562"/>
            <a:chExt cx="8783960" cy="3308591"/>
          </a:xfrm>
        </p:grpSpPr>
        <p:pic>
          <p:nvPicPr>
            <p:cNvPr id="9" name="Grafik 1">
              <a:extLst>
                <a:ext uri="{FF2B5EF4-FFF2-40B4-BE49-F238E27FC236}">
                  <a16:creationId xmlns:a16="http://schemas.microsoft.com/office/drawing/2014/main" id="{AAA2FE20-CA3B-458F-8F1B-E824C5E58AE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79901" y="2146562"/>
              <a:ext cx="8714113" cy="924649"/>
            </a:xfrm>
            <a:prstGeom prst="rect">
              <a:avLst/>
            </a:prstGeom>
          </p:spPr>
        </p:pic>
        <p:pic>
          <p:nvPicPr>
            <p:cNvPr id="10" name="Grafik 2">
              <a:extLst>
                <a:ext uri="{FF2B5EF4-FFF2-40B4-BE49-F238E27FC236}">
                  <a16:creationId xmlns:a16="http://schemas.microsoft.com/office/drawing/2014/main" id="{F52A2811-37FC-4848-A39D-1A549455655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79901" y="3272996"/>
              <a:ext cx="8626738" cy="1116008"/>
            </a:xfrm>
            <a:prstGeom prst="rect">
              <a:avLst/>
            </a:prstGeom>
          </p:spPr>
        </p:pic>
        <p:pic>
          <p:nvPicPr>
            <p:cNvPr id="11" name="Grafik 3">
              <a:extLst>
                <a:ext uri="{FF2B5EF4-FFF2-40B4-BE49-F238E27FC236}">
                  <a16:creationId xmlns:a16="http://schemas.microsoft.com/office/drawing/2014/main" id="{DC632268-9E44-40B3-8DC9-ABE5A2431EC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79901" y="4590789"/>
              <a:ext cx="8783960" cy="864364"/>
            </a:xfrm>
            <a:prstGeom prst="rect">
              <a:avLst/>
            </a:prstGeom>
          </p:spPr>
        </p:pic>
      </p:grpSp>
      <p:sp>
        <p:nvSpPr>
          <p:cNvPr id="14" name="Graphic 541">
            <a:extLst>
              <a:ext uri="{FF2B5EF4-FFF2-40B4-BE49-F238E27FC236}">
                <a16:creationId xmlns:a16="http://schemas.microsoft.com/office/drawing/2014/main" id="{B3ECF257-9EEC-445E-933C-AE1DE13BC8F2}"/>
              </a:ext>
            </a:extLst>
          </p:cNvPr>
          <p:cNvSpPr>
            <a:spLocks noChangeAspect="1"/>
          </p:cNvSpPr>
          <p:nvPr/>
        </p:nvSpPr>
        <p:spPr>
          <a:xfrm>
            <a:off x="2587302" y="6075285"/>
            <a:ext cx="233999" cy="234000"/>
          </a:xfrm>
          <a:custGeom>
            <a:avLst/>
            <a:gdLst>
              <a:gd name="connsiteX0" fmla="*/ 2868441 w 4876811"/>
              <a:gd name="connsiteY0" fmla="*/ 3759552 h 4876821"/>
              <a:gd name="connsiteX1" fmla="*/ 2114061 w 4876811"/>
              <a:gd name="connsiteY1" fmla="*/ 4513837 h 4876821"/>
              <a:gd name="connsiteX2" fmla="*/ 362985 w 4876811"/>
              <a:gd name="connsiteY2" fmla="*/ 4513837 h 4876821"/>
              <a:gd name="connsiteX3" fmla="*/ 362985 w 4876811"/>
              <a:gd name="connsiteY3" fmla="*/ 2762761 h 4876821"/>
              <a:gd name="connsiteX4" fmla="*/ 1117269 w 4876811"/>
              <a:gd name="connsiteY4" fmla="*/ 2008381 h 4876821"/>
              <a:gd name="connsiteX5" fmla="*/ 1150912 w 4876811"/>
              <a:gd name="connsiteY5" fmla="*/ 1975967 h 4876821"/>
              <a:gd name="connsiteX6" fmla="*/ 1343393 w 4876811"/>
              <a:gd name="connsiteY6" fmla="*/ 2054891 h 4876821"/>
              <a:gd name="connsiteX7" fmla="*/ 1354975 w 4876811"/>
              <a:gd name="connsiteY7" fmla="*/ 2191899 h 4876821"/>
              <a:gd name="connsiteX8" fmla="*/ 1322619 w 4876811"/>
              <a:gd name="connsiteY8" fmla="*/ 2288063 h 4876821"/>
              <a:gd name="connsiteX9" fmla="*/ 605386 w 4876811"/>
              <a:gd name="connsiteY9" fmla="*/ 3005163 h 4876821"/>
              <a:gd name="connsiteX10" fmla="*/ 605386 w 4876811"/>
              <a:gd name="connsiteY10" fmla="*/ 4271416 h 4876821"/>
              <a:gd name="connsiteX11" fmla="*/ 1871640 w 4876811"/>
              <a:gd name="connsiteY11" fmla="*/ 4271416 h 4876821"/>
              <a:gd name="connsiteX12" fmla="*/ 2626020 w 4876811"/>
              <a:gd name="connsiteY12" fmla="*/ 3517036 h 4876821"/>
              <a:gd name="connsiteX13" fmla="*/ 2629449 w 4876811"/>
              <a:gd name="connsiteY13" fmla="*/ 3513607 h 4876821"/>
              <a:gd name="connsiteX14" fmla="*/ 2625925 w 4876811"/>
              <a:gd name="connsiteY14" fmla="*/ 2250783 h 4876821"/>
              <a:gd name="connsiteX15" fmla="*/ 2363178 w 4876811"/>
              <a:gd name="connsiteY15" fmla="*/ 2068769 h 4876821"/>
              <a:gd name="connsiteX16" fmla="*/ 2295226 w 4876811"/>
              <a:gd name="connsiteY16" fmla="*/ 1957613 h 4876821"/>
              <a:gd name="connsiteX17" fmla="*/ 2322144 w 4876811"/>
              <a:gd name="connsiteY17" fmla="*/ 1812271 h 4876821"/>
              <a:gd name="connsiteX18" fmla="*/ 2473773 w 4876811"/>
              <a:gd name="connsiteY18" fmla="*/ 1742929 h 4876821"/>
              <a:gd name="connsiteX19" fmla="*/ 2868441 w 4876811"/>
              <a:gd name="connsiteY19" fmla="*/ 2008371 h 4876821"/>
              <a:gd name="connsiteX20" fmla="*/ 2868441 w 4876811"/>
              <a:gd name="connsiteY20" fmla="*/ 3759552 h 4876821"/>
              <a:gd name="connsiteX21" fmla="*/ 2008371 w 4876811"/>
              <a:gd name="connsiteY21" fmla="*/ 2868450 h 4876821"/>
              <a:gd name="connsiteX22" fmla="*/ 2403040 w 4876811"/>
              <a:gd name="connsiteY22" fmla="*/ 3133893 h 4876821"/>
              <a:gd name="connsiteX23" fmla="*/ 2554668 w 4876811"/>
              <a:gd name="connsiteY23" fmla="*/ 3064551 h 4876821"/>
              <a:gd name="connsiteX24" fmla="*/ 2581586 w 4876811"/>
              <a:gd name="connsiteY24" fmla="*/ 2919209 h 4876821"/>
              <a:gd name="connsiteX25" fmla="*/ 2513635 w 4876811"/>
              <a:gd name="connsiteY25" fmla="*/ 2808052 h 4876821"/>
              <a:gd name="connsiteX26" fmla="*/ 2250887 w 4876811"/>
              <a:gd name="connsiteY26" fmla="*/ 2626039 h 4876821"/>
              <a:gd name="connsiteX27" fmla="*/ 2247363 w 4876811"/>
              <a:gd name="connsiteY27" fmla="*/ 1363214 h 4876821"/>
              <a:gd name="connsiteX28" fmla="*/ 2250792 w 4876811"/>
              <a:gd name="connsiteY28" fmla="*/ 1359785 h 4876821"/>
              <a:gd name="connsiteX29" fmla="*/ 3005172 w 4876811"/>
              <a:gd name="connsiteY29" fmla="*/ 605405 h 4876821"/>
              <a:gd name="connsiteX30" fmla="*/ 4271426 w 4876811"/>
              <a:gd name="connsiteY30" fmla="*/ 605405 h 4876821"/>
              <a:gd name="connsiteX31" fmla="*/ 4271426 w 4876811"/>
              <a:gd name="connsiteY31" fmla="*/ 1871659 h 4876821"/>
              <a:gd name="connsiteX32" fmla="*/ 3554193 w 4876811"/>
              <a:gd name="connsiteY32" fmla="*/ 2588758 h 4876821"/>
              <a:gd name="connsiteX33" fmla="*/ 3521837 w 4876811"/>
              <a:gd name="connsiteY33" fmla="*/ 2684923 h 4876821"/>
              <a:gd name="connsiteX34" fmla="*/ 3533419 w 4876811"/>
              <a:gd name="connsiteY34" fmla="*/ 2821930 h 4876821"/>
              <a:gd name="connsiteX35" fmla="*/ 3725900 w 4876811"/>
              <a:gd name="connsiteY35" fmla="*/ 2900854 h 4876821"/>
              <a:gd name="connsiteX36" fmla="*/ 3759543 w 4876811"/>
              <a:gd name="connsiteY36" fmla="*/ 2868441 h 4876821"/>
              <a:gd name="connsiteX37" fmla="*/ 4513827 w 4876811"/>
              <a:gd name="connsiteY37" fmla="*/ 2114061 h 4876821"/>
              <a:gd name="connsiteX38" fmla="*/ 4513827 w 4876811"/>
              <a:gd name="connsiteY38" fmla="*/ 362985 h 4876821"/>
              <a:gd name="connsiteX39" fmla="*/ 2762751 w 4876811"/>
              <a:gd name="connsiteY39" fmla="*/ 362985 h 4876821"/>
              <a:gd name="connsiteX40" fmla="*/ 2008371 w 4876811"/>
              <a:gd name="connsiteY40" fmla="*/ 1117269 h 4876821"/>
              <a:gd name="connsiteX41" fmla="*/ 2008371 w 4876811"/>
              <a:gd name="connsiteY41" fmla="*/ 2868450 h 4876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4876811" h="4876821">
                <a:moveTo>
                  <a:pt x="2868441" y="3759552"/>
                </a:moveTo>
                <a:lnTo>
                  <a:pt x="2114061" y="4513837"/>
                </a:lnTo>
                <a:cubicBezTo>
                  <a:pt x="1630400" y="4997697"/>
                  <a:pt x="846883" y="4997936"/>
                  <a:pt x="362985" y="4513837"/>
                </a:cubicBezTo>
                <a:cubicBezTo>
                  <a:pt x="-120876" y="4030177"/>
                  <a:pt x="-121114" y="3246660"/>
                  <a:pt x="362985" y="2762761"/>
                </a:cubicBezTo>
                <a:lnTo>
                  <a:pt x="1117269" y="2008381"/>
                </a:lnTo>
                <a:cubicBezTo>
                  <a:pt x="1128283" y="1997370"/>
                  <a:pt x="1139499" y="1986564"/>
                  <a:pt x="1150912" y="1975967"/>
                </a:cubicBezTo>
                <a:cubicBezTo>
                  <a:pt x="1222826" y="1909245"/>
                  <a:pt x="1339459" y="1956879"/>
                  <a:pt x="1343393" y="2054891"/>
                </a:cubicBezTo>
                <a:cubicBezTo>
                  <a:pt x="1345231" y="2100678"/>
                  <a:pt x="1349089" y="2146398"/>
                  <a:pt x="1354975" y="2191899"/>
                </a:cubicBezTo>
                <a:cubicBezTo>
                  <a:pt x="1359557" y="2227303"/>
                  <a:pt x="1347870" y="2262832"/>
                  <a:pt x="1322619" y="2288063"/>
                </a:cubicBezTo>
                <a:cubicBezTo>
                  <a:pt x="1165647" y="2444931"/>
                  <a:pt x="606891" y="3003658"/>
                  <a:pt x="605386" y="3005163"/>
                </a:cubicBezTo>
                <a:cubicBezTo>
                  <a:pt x="255457" y="3355292"/>
                  <a:pt x="255524" y="3921353"/>
                  <a:pt x="605386" y="4271416"/>
                </a:cubicBezTo>
                <a:cubicBezTo>
                  <a:pt x="955516" y="4621346"/>
                  <a:pt x="1521577" y="4621279"/>
                  <a:pt x="1871640" y="4271416"/>
                </a:cubicBezTo>
                <a:lnTo>
                  <a:pt x="2626020" y="3517036"/>
                </a:lnTo>
                <a:lnTo>
                  <a:pt x="2629449" y="3513607"/>
                </a:lnTo>
                <a:cubicBezTo>
                  <a:pt x="2975216" y="3164306"/>
                  <a:pt x="2973682" y="2598540"/>
                  <a:pt x="2625925" y="2250783"/>
                </a:cubicBezTo>
                <a:cubicBezTo>
                  <a:pt x="2547686" y="2172544"/>
                  <a:pt x="2458504" y="2111908"/>
                  <a:pt x="2363178" y="2068769"/>
                </a:cubicBezTo>
                <a:cubicBezTo>
                  <a:pt x="2319686" y="2049091"/>
                  <a:pt x="2292445" y="2005266"/>
                  <a:pt x="2295226" y="1957613"/>
                </a:cubicBezTo>
                <a:cubicBezTo>
                  <a:pt x="2298096" y="1908231"/>
                  <a:pt x="2307139" y="1859404"/>
                  <a:pt x="2322144" y="1812271"/>
                </a:cubicBezTo>
                <a:cubicBezTo>
                  <a:pt x="2342175" y="1749396"/>
                  <a:pt x="2412927" y="1717392"/>
                  <a:pt x="2473773" y="1742929"/>
                </a:cubicBezTo>
                <a:cubicBezTo>
                  <a:pt x="2617343" y="1803165"/>
                  <a:pt x="2751779" y="1891709"/>
                  <a:pt x="2868441" y="2008371"/>
                </a:cubicBezTo>
                <a:cubicBezTo>
                  <a:pt x="3351244" y="2491184"/>
                  <a:pt x="3351158" y="3276816"/>
                  <a:pt x="2868441" y="3759552"/>
                </a:cubicBezTo>
                <a:close/>
                <a:moveTo>
                  <a:pt x="2008371" y="2868450"/>
                </a:moveTo>
                <a:cubicBezTo>
                  <a:pt x="2125034" y="2985112"/>
                  <a:pt x="2259469" y="3073657"/>
                  <a:pt x="2403040" y="3133893"/>
                </a:cubicBezTo>
                <a:cubicBezTo>
                  <a:pt x="2463885" y="3159420"/>
                  <a:pt x="2534637" y="3127416"/>
                  <a:pt x="2554668" y="3064551"/>
                </a:cubicBezTo>
                <a:cubicBezTo>
                  <a:pt x="2569673" y="3017417"/>
                  <a:pt x="2578716" y="2968590"/>
                  <a:pt x="2581586" y="2919209"/>
                </a:cubicBezTo>
                <a:cubicBezTo>
                  <a:pt x="2584367" y="2871555"/>
                  <a:pt x="2557116" y="2827731"/>
                  <a:pt x="2513635" y="2808052"/>
                </a:cubicBezTo>
                <a:cubicBezTo>
                  <a:pt x="2418308" y="2764923"/>
                  <a:pt x="2329126" y="2704287"/>
                  <a:pt x="2250887" y="2626039"/>
                </a:cubicBezTo>
                <a:cubicBezTo>
                  <a:pt x="1903130" y="2278281"/>
                  <a:pt x="1901596" y="1712515"/>
                  <a:pt x="2247363" y="1363214"/>
                </a:cubicBezTo>
                <a:lnTo>
                  <a:pt x="2250792" y="1359785"/>
                </a:lnTo>
                <a:lnTo>
                  <a:pt x="3005172" y="605405"/>
                </a:lnTo>
                <a:cubicBezTo>
                  <a:pt x="3355235" y="255543"/>
                  <a:pt x="3921296" y="255476"/>
                  <a:pt x="4271426" y="605405"/>
                </a:cubicBezTo>
                <a:cubicBezTo>
                  <a:pt x="4621289" y="955468"/>
                  <a:pt x="4621355" y="1521530"/>
                  <a:pt x="4271426" y="1871659"/>
                </a:cubicBezTo>
                <a:cubicBezTo>
                  <a:pt x="4269930" y="1873154"/>
                  <a:pt x="3711175" y="2431891"/>
                  <a:pt x="3554193" y="2588758"/>
                </a:cubicBezTo>
                <a:cubicBezTo>
                  <a:pt x="3528942" y="2613999"/>
                  <a:pt x="3517255" y="2649518"/>
                  <a:pt x="3521837" y="2684923"/>
                </a:cubicBezTo>
                <a:cubicBezTo>
                  <a:pt x="3527717" y="2730399"/>
                  <a:pt x="3531582" y="2776112"/>
                  <a:pt x="3533419" y="2821930"/>
                </a:cubicBezTo>
                <a:cubicBezTo>
                  <a:pt x="3537353" y="2919952"/>
                  <a:pt x="3653996" y="2967577"/>
                  <a:pt x="3725900" y="2900854"/>
                </a:cubicBezTo>
                <a:cubicBezTo>
                  <a:pt x="3737315" y="2890260"/>
                  <a:pt x="3748531" y="2879454"/>
                  <a:pt x="3759543" y="2868441"/>
                </a:cubicBezTo>
                <a:lnTo>
                  <a:pt x="4513827" y="2114061"/>
                </a:lnTo>
                <a:cubicBezTo>
                  <a:pt x="4997926" y="1630162"/>
                  <a:pt x="4997688" y="846645"/>
                  <a:pt x="4513827" y="362985"/>
                </a:cubicBezTo>
                <a:cubicBezTo>
                  <a:pt x="4029938" y="-121114"/>
                  <a:pt x="3246412" y="-120876"/>
                  <a:pt x="2762751" y="362985"/>
                </a:cubicBezTo>
                <a:lnTo>
                  <a:pt x="2008371" y="1117269"/>
                </a:lnTo>
                <a:cubicBezTo>
                  <a:pt x="1525654" y="1600016"/>
                  <a:pt x="1525568" y="2385647"/>
                  <a:pt x="2008371" y="286845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59212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8AD917B-C7FF-4822-B668-7BB32009E5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5418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8AD917B-C7FF-4822-B668-7BB32009E5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7E29E2-7E98-4C99-90AA-241235C586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01" y="849054"/>
            <a:ext cx="11231473" cy="467820"/>
          </a:xfrm>
        </p:spPr>
        <p:txBody>
          <a:bodyPr vert="horz"/>
          <a:lstStyle/>
          <a:p>
            <a:r>
              <a:rPr lang="de-DE" dirty="0"/>
              <a:t>Dienstleistungen </a:t>
            </a:r>
            <a:r>
              <a:rPr lang="de-DE"/>
              <a:t>als Inflectra-Partner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E7B4B5-E60E-4C7D-B88A-C353B4EED4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 dirty="0">
                <a:solidFill>
                  <a:schemeClr val="accent4"/>
                </a:solidFill>
              </a:rPr>
              <a:t>PTA – Vorstellung </a:t>
            </a:r>
            <a:r>
              <a:rPr lang="de-DE" noProof="0" dirty="0" err="1">
                <a:solidFill>
                  <a:schemeClr val="accent4"/>
                </a:solidFill>
              </a:rPr>
              <a:t>Inflectra</a:t>
            </a:r>
            <a:endParaRPr lang="de-DE" noProof="0" dirty="0">
              <a:solidFill>
                <a:schemeClr val="accent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98D16D-0D62-49D6-A2C6-8C230B76E9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F58692B-9CFC-42D8-9B64-0B547ADAD28E}" type="slidenum">
              <a:rPr lang="de-DE" noProof="0" smtClean="0"/>
              <a:pPr/>
              <a:t>19</a:t>
            </a:fld>
            <a:endParaRPr lang="de-DE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8316DF-9856-4AF6-9D33-406D66B007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0000" y="1664804"/>
            <a:ext cx="11232000" cy="318154"/>
          </a:xfrm>
        </p:spPr>
        <p:txBody>
          <a:bodyPr/>
          <a:lstStyle/>
          <a:p>
            <a:r>
              <a:rPr lang="de-DE" dirty="0"/>
              <a:t>Systembezogene Dienstleistungen</a:t>
            </a:r>
          </a:p>
        </p:txBody>
      </p:sp>
      <p:sp>
        <p:nvSpPr>
          <p:cNvPr id="16" name="Rechteck 10">
            <a:extLst>
              <a:ext uri="{FF2B5EF4-FFF2-40B4-BE49-F238E27FC236}">
                <a16:creationId xmlns:a16="http://schemas.microsoft.com/office/drawing/2014/main" id="{CF3D8E58-5715-47DA-9331-9D88A1F43F4B}"/>
              </a:ext>
            </a:extLst>
          </p:cNvPr>
          <p:cNvSpPr/>
          <p:nvPr/>
        </p:nvSpPr>
        <p:spPr>
          <a:xfrm>
            <a:off x="480000" y="2062262"/>
            <a:ext cx="684000" cy="68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B93136-6CAF-49AA-B03C-E5E78EC621E9}"/>
              </a:ext>
            </a:extLst>
          </p:cNvPr>
          <p:cNvSpPr txBox="1">
            <a:spLocks/>
          </p:cNvSpPr>
          <p:nvPr/>
        </p:nvSpPr>
        <p:spPr bwMode="gray">
          <a:xfrm>
            <a:off x="1274736" y="2062262"/>
            <a:ext cx="10437839" cy="16334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b="1" dirty="0">
                <a:latin typeface="Segoe UI" panose="020B0502040204020203" pitchFamily="34" charset="0"/>
                <a:cs typeface="Segoe UI" panose="020B0502040204020203" pitchFamily="34" charset="0"/>
              </a:rPr>
              <a:t>Initiales Aufsetzen</a:t>
            </a:r>
            <a:r>
              <a:rPr lang="de-DE" dirty="0"/>
              <a:t> des Systems</a:t>
            </a:r>
          </a:p>
          <a:p>
            <a:pPr lvl="3"/>
            <a:r>
              <a:rPr lang="de-DE" sz="1800" dirty="0"/>
              <a:t>Einrichtung der Berechtigungen und Rollen</a:t>
            </a:r>
          </a:p>
          <a:p>
            <a:pPr lvl="3"/>
            <a:r>
              <a:rPr lang="de-DE" sz="1800" dirty="0"/>
              <a:t>Einrichtung kundenindividueller Attribute und Workflows</a:t>
            </a:r>
          </a:p>
          <a:p>
            <a:pPr lvl="3"/>
            <a:r>
              <a:rPr lang="de-DE" sz="1800" dirty="0"/>
              <a:t>Migration von Daten (z.B. von Testfällen aus Altsystemen, Excellisten usw.)</a:t>
            </a:r>
          </a:p>
          <a:p>
            <a:pPr lvl="3"/>
            <a:r>
              <a:rPr lang="de-DE" sz="1800" dirty="0"/>
              <a:t>Integration in die Systemlandschaft</a:t>
            </a:r>
          </a:p>
        </p:txBody>
      </p:sp>
      <p:sp>
        <p:nvSpPr>
          <p:cNvPr id="20" name="Rechteck 10">
            <a:extLst>
              <a:ext uri="{FF2B5EF4-FFF2-40B4-BE49-F238E27FC236}">
                <a16:creationId xmlns:a16="http://schemas.microsoft.com/office/drawing/2014/main" id="{2F3F6280-EDB9-4D79-883F-F00A46A54B1C}"/>
              </a:ext>
            </a:extLst>
          </p:cNvPr>
          <p:cNvSpPr/>
          <p:nvPr/>
        </p:nvSpPr>
        <p:spPr>
          <a:xfrm>
            <a:off x="480000" y="3828113"/>
            <a:ext cx="684000" cy="68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30757B5E-966E-4CC2-9BB4-9A100EA7CC37}"/>
              </a:ext>
            </a:extLst>
          </p:cNvPr>
          <p:cNvSpPr txBox="1">
            <a:spLocks/>
          </p:cNvSpPr>
          <p:nvPr/>
        </p:nvSpPr>
        <p:spPr bwMode="gray">
          <a:xfrm>
            <a:off x="1274736" y="3828113"/>
            <a:ext cx="10437839" cy="676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b="1" dirty="0">
                <a:latin typeface="Segoe UI" panose="020B0502040204020203" pitchFamily="34" charset="0"/>
                <a:cs typeface="Segoe UI" panose="020B0502040204020203" pitchFamily="34" charset="0"/>
              </a:rPr>
              <a:t>Kundenindividuelle Anpassungen</a:t>
            </a:r>
            <a:r>
              <a:rPr lang="de-DE" dirty="0"/>
              <a:t> (z.B. Erstellung spezifischer Berichte)</a:t>
            </a:r>
          </a:p>
        </p:txBody>
      </p:sp>
      <p:sp>
        <p:nvSpPr>
          <p:cNvPr id="22" name="Rechteck 10">
            <a:extLst>
              <a:ext uri="{FF2B5EF4-FFF2-40B4-BE49-F238E27FC236}">
                <a16:creationId xmlns:a16="http://schemas.microsoft.com/office/drawing/2014/main" id="{29F52CD8-853B-429E-AA95-B2EC8C641BBD}"/>
              </a:ext>
            </a:extLst>
          </p:cNvPr>
          <p:cNvSpPr/>
          <p:nvPr/>
        </p:nvSpPr>
        <p:spPr>
          <a:xfrm>
            <a:off x="480000" y="4644526"/>
            <a:ext cx="684000" cy="68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548C2F4A-5C80-47D9-8736-B6A1EF0F3E92}"/>
              </a:ext>
            </a:extLst>
          </p:cNvPr>
          <p:cNvSpPr txBox="1">
            <a:spLocks/>
          </p:cNvSpPr>
          <p:nvPr/>
        </p:nvSpPr>
        <p:spPr bwMode="gray">
          <a:xfrm>
            <a:off x="1274736" y="4644526"/>
            <a:ext cx="10437839" cy="9272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b="1" dirty="0">
                <a:latin typeface="Segoe UI" panose="020B0502040204020203" pitchFamily="34" charset="0"/>
                <a:cs typeface="Segoe UI" panose="020B0502040204020203" pitchFamily="34" charset="0"/>
              </a:rPr>
              <a:t>Unterstützung</a:t>
            </a:r>
            <a:r>
              <a:rPr lang="de-DE" dirty="0"/>
              <a:t> bei </a:t>
            </a:r>
          </a:p>
          <a:p>
            <a:pPr lvl="3"/>
            <a:r>
              <a:rPr lang="de-DE" sz="1800" dirty="0"/>
              <a:t>Einführungsprojekten und/oder Proof-of-Concept (PoC)</a:t>
            </a:r>
          </a:p>
          <a:p>
            <a:pPr lvl="3"/>
            <a:r>
              <a:rPr lang="de-DE" sz="1800" dirty="0"/>
              <a:t>Aufbau eines kundeneigenen Kompetenzteams</a:t>
            </a:r>
            <a:endParaRPr lang="de-DE" dirty="0"/>
          </a:p>
        </p:txBody>
      </p:sp>
      <p:sp>
        <p:nvSpPr>
          <p:cNvPr id="24" name="Rechteck 10">
            <a:extLst>
              <a:ext uri="{FF2B5EF4-FFF2-40B4-BE49-F238E27FC236}">
                <a16:creationId xmlns:a16="http://schemas.microsoft.com/office/drawing/2014/main" id="{88B866F8-0D2A-4A58-9C20-DF3039C192A1}"/>
              </a:ext>
            </a:extLst>
          </p:cNvPr>
          <p:cNvSpPr/>
          <p:nvPr/>
        </p:nvSpPr>
        <p:spPr>
          <a:xfrm>
            <a:off x="480000" y="5704229"/>
            <a:ext cx="684000" cy="68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F784E534-5AC6-4E7E-A70A-5B68C2CA7D24}"/>
              </a:ext>
            </a:extLst>
          </p:cNvPr>
          <p:cNvSpPr txBox="1">
            <a:spLocks/>
          </p:cNvSpPr>
          <p:nvPr/>
        </p:nvSpPr>
        <p:spPr bwMode="gray">
          <a:xfrm>
            <a:off x="1274736" y="5704229"/>
            <a:ext cx="10437839" cy="676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/>
              <a:t>Standardisierte und kundenindividuelle </a:t>
            </a:r>
            <a:r>
              <a:rPr lang="de-DE" b="1" dirty="0">
                <a:latin typeface="Segoe UI" panose="020B0502040204020203" pitchFamily="34" charset="0"/>
                <a:cs typeface="Segoe UI" panose="020B0502040204020203" pitchFamily="34" charset="0"/>
              </a:rPr>
              <a:t>Schulungen</a:t>
            </a:r>
          </a:p>
        </p:txBody>
      </p:sp>
      <p:cxnSp>
        <p:nvCxnSpPr>
          <p:cNvPr id="28" name="Straight Connector 66">
            <a:extLst>
              <a:ext uri="{FF2B5EF4-FFF2-40B4-BE49-F238E27FC236}">
                <a16:creationId xmlns:a16="http://schemas.microsoft.com/office/drawing/2014/main" id="{428B1627-F9AB-4459-AC8C-39C4099C5935}"/>
              </a:ext>
            </a:extLst>
          </p:cNvPr>
          <p:cNvCxnSpPr>
            <a:cxnSpLocks/>
          </p:cNvCxnSpPr>
          <p:nvPr/>
        </p:nvCxnSpPr>
        <p:spPr>
          <a:xfrm>
            <a:off x="479901" y="3761907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66">
            <a:extLst>
              <a:ext uri="{FF2B5EF4-FFF2-40B4-BE49-F238E27FC236}">
                <a16:creationId xmlns:a16="http://schemas.microsoft.com/office/drawing/2014/main" id="{6699764D-20C0-4473-8DA7-8D4C509DC8E1}"/>
              </a:ext>
            </a:extLst>
          </p:cNvPr>
          <p:cNvCxnSpPr>
            <a:cxnSpLocks/>
          </p:cNvCxnSpPr>
          <p:nvPr/>
        </p:nvCxnSpPr>
        <p:spPr>
          <a:xfrm>
            <a:off x="479901" y="4578320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66">
            <a:extLst>
              <a:ext uri="{FF2B5EF4-FFF2-40B4-BE49-F238E27FC236}">
                <a16:creationId xmlns:a16="http://schemas.microsoft.com/office/drawing/2014/main" id="{19B5B20C-3FE6-4EC1-8B02-4115D82B8155}"/>
              </a:ext>
            </a:extLst>
          </p:cNvPr>
          <p:cNvCxnSpPr>
            <a:cxnSpLocks/>
          </p:cNvCxnSpPr>
          <p:nvPr/>
        </p:nvCxnSpPr>
        <p:spPr>
          <a:xfrm>
            <a:off x="479901" y="5638023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Graphic 423">
            <a:extLst>
              <a:ext uri="{FF2B5EF4-FFF2-40B4-BE49-F238E27FC236}">
                <a16:creationId xmlns:a16="http://schemas.microsoft.com/office/drawing/2014/main" id="{E857B622-4625-4802-87F1-FBCAC4434E36}"/>
              </a:ext>
            </a:extLst>
          </p:cNvPr>
          <p:cNvSpPr>
            <a:spLocks noChangeAspect="1"/>
          </p:cNvSpPr>
          <p:nvPr/>
        </p:nvSpPr>
        <p:spPr>
          <a:xfrm>
            <a:off x="616800" y="2199062"/>
            <a:ext cx="410400" cy="410400"/>
          </a:xfrm>
          <a:custGeom>
            <a:avLst/>
            <a:gdLst>
              <a:gd name="connsiteX0" fmla="*/ 2438400 w 4876800"/>
              <a:gd name="connsiteY0" fmla="*/ 2133600 h 4876800"/>
              <a:gd name="connsiteX1" fmla="*/ 4572000 w 4876800"/>
              <a:gd name="connsiteY1" fmla="*/ 2133600 h 4876800"/>
              <a:gd name="connsiteX2" fmla="*/ 4876800 w 4876800"/>
              <a:gd name="connsiteY2" fmla="*/ 1828800 h 4876800"/>
              <a:gd name="connsiteX3" fmla="*/ 4876800 w 4876800"/>
              <a:gd name="connsiteY3" fmla="*/ 609600 h 4876800"/>
              <a:gd name="connsiteX4" fmla="*/ 4572000 w 4876800"/>
              <a:gd name="connsiteY4" fmla="*/ 304800 h 4876800"/>
              <a:gd name="connsiteX5" fmla="*/ 3505200 w 4876800"/>
              <a:gd name="connsiteY5" fmla="*/ 304800 h 4876800"/>
              <a:gd name="connsiteX6" fmla="*/ 3200400 w 4876800"/>
              <a:gd name="connsiteY6" fmla="*/ 0 h 4876800"/>
              <a:gd name="connsiteX7" fmla="*/ 2438400 w 4876800"/>
              <a:gd name="connsiteY7" fmla="*/ 0 h 4876800"/>
              <a:gd name="connsiteX8" fmla="*/ 2133600 w 4876800"/>
              <a:gd name="connsiteY8" fmla="*/ 304800 h 4876800"/>
              <a:gd name="connsiteX9" fmla="*/ 2133600 w 4876800"/>
              <a:gd name="connsiteY9" fmla="*/ 914400 h 4876800"/>
              <a:gd name="connsiteX10" fmla="*/ 304800 w 4876800"/>
              <a:gd name="connsiteY10" fmla="*/ 914400 h 4876800"/>
              <a:gd name="connsiteX11" fmla="*/ 304800 w 4876800"/>
              <a:gd name="connsiteY11" fmla="*/ 76200 h 4876800"/>
              <a:gd name="connsiteX12" fmla="*/ 228600 w 4876800"/>
              <a:gd name="connsiteY12" fmla="*/ 0 h 4876800"/>
              <a:gd name="connsiteX13" fmla="*/ 76200 w 4876800"/>
              <a:gd name="connsiteY13" fmla="*/ 0 h 4876800"/>
              <a:gd name="connsiteX14" fmla="*/ 0 w 4876800"/>
              <a:gd name="connsiteY14" fmla="*/ 76200 h 4876800"/>
              <a:gd name="connsiteX15" fmla="*/ 0 w 4876800"/>
              <a:gd name="connsiteY15" fmla="*/ 3810000 h 4876800"/>
              <a:gd name="connsiteX16" fmla="*/ 152400 w 4876800"/>
              <a:gd name="connsiteY16" fmla="*/ 3962400 h 4876800"/>
              <a:gd name="connsiteX17" fmla="*/ 2133600 w 4876800"/>
              <a:gd name="connsiteY17" fmla="*/ 3962400 h 4876800"/>
              <a:gd name="connsiteX18" fmla="*/ 2133600 w 4876800"/>
              <a:gd name="connsiteY18" fmla="*/ 4572000 h 4876800"/>
              <a:gd name="connsiteX19" fmla="*/ 2438400 w 4876800"/>
              <a:gd name="connsiteY19" fmla="*/ 4876800 h 4876800"/>
              <a:gd name="connsiteX20" fmla="*/ 4572000 w 4876800"/>
              <a:gd name="connsiteY20" fmla="*/ 4876800 h 4876800"/>
              <a:gd name="connsiteX21" fmla="*/ 4876800 w 4876800"/>
              <a:gd name="connsiteY21" fmla="*/ 4572000 h 4876800"/>
              <a:gd name="connsiteX22" fmla="*/ 4876800 w 4876800"/>
              <a:gd name="connsiteY22" fmla="*/ 3352800 h 4876800"/>
              <a:gd name="connsiteX23" fmla="*/ 4572000 w 4876800"/>
              <a:gd name="connsiteY23" fmla="*/ 3048000 h 4876800"/>
              <a:gd name="connsiteX24" fmla="*/ 3505200 w 4876800"/>
              <a:gd name="connsiteY24" fmla="*/ 3048000 h 4876800"/>
              <a:gd name="connsiteX25" fmla="*/ 3200400 w 4876800"/>
              <a:gd name="connsiteY25" fmla="*/ 2743200 h 4876800"/>
              <a:gd name="connsiteX26" fmla="*/ 2438400 w 4876800"/>
              <a:gd name="connsiteY26" fmla="*/ 2743200 h 4876800"/>
              <a:gd name="connsiteX27" fmla="*/ 2133600 w 4876800"/>
              <a:gd name="connsiteY27" fmla="*/ 3048000 h 4876800"/>
              <a:gd name="connsiteX28" fmla="*/ 2133600 w 4876800"/>
              <a:gd name="connsiteY28" fmla="*/ 3657600 h 4876800"/>
              <a:gd name="connsiteX29" fmla="*/ 304800 w 4876800"/>
              <a:gd name="connsiteY29" fmla="*/ 3657600 h 4876800"/>
              <a:gd name="connsiteX30" fmla="*/ 304800 w 4876800"/>
              <a:gd name="connsiteY30" fmla="*/ 1219200 h 4876800"/>
              <a:gd name="connsiteX31" fmla="*/ 2133600 w 4876800"/>
              <a:gd name="connsiteY31" fmla="*/ 1219200 h 4876800"/>
              <a:gd name="connsiteX32" fmla="*/ 2133600 w 4876800"/>
              <a:gd name="connsiteY32" fmla="*/ 1828800 h 4876800"/>
              <a:gd name="connsiteX33" fmla="*/ 2438400 w 4876800"/>
              <a:gd name="connsiteY33" fmla="*/ 2133600 h 4876800"/>
              <a:gd name="connsiteX34" fmla="*/ 2438400 w 4876800"/>
              <a:gd name="connsiteY34" fmla="*/ 3048000 h 4876800"/>
              <a:gd name="connsiteX35" fmla="*/ 3074099 w 4876800"/>
              <a:gd name="connsiteY35" fmla="*/ 3048000 h 4876800"/>
              <a:gd name="connsiteX36" fmla="*/ 3378899 w 4876800"/>
              <a:gd name="connsiteY36" fmla="*/ 3352800 h 4876800"/>
              <a:gd name="connsiteX37" fmla="*/ 4572000 w 4876800"/>
              <a:gd name="connsiteY37" fmla="*/ 3352800 h 4876800"/>
              <a:gd name="connsiteX38" fmla="*/ 4572000 w 4876800"/>
              <a:gd name="connsiteY38" fmla="*/ 4572000 h 4876800"/>
              <a:gd name="connsiteX39" fmla="*/ 2438400 w 4876800"/>
              <a:gd name="connsiteY39" fmla="*/ 4572000 h 4876800"/>
              <a:gd name="connsiteX40" fmla="*/ 2438400 w 4876800"/>
              <a:gd name="connsiteY40" fmla="*/ 304800 h 4876800"/>
              <a:gd name="connsiteX41" fmla="*/ 3074099 w 4876800"/>
              <a:gd name="connsiteY41" fmla="*/ 304800 h 4876800"/>
              <a:gd name="connsiteX42" fmla="*/ 3378899 w 4876800"/>
              <a:gd name="connsiteY42" fmla="*/ 609600 h 4876800"/>
              <a:gd name="connsiteX43" fmla="*/ 4572000 w 4876800"/>
              <a:gd name="connsiteY43" fmla="*/ 609600 h 4876800"/>
              <a:gd name="connsiteX44" fmla="*/ 4572000 w 4876800"/>
              <a:gd name="connsiteY44" fmla="*/ 1828800 h 4876800"/>
              <a:gd name="connsiteX45" fmla="*/ 2438400 w 4876800"/>
              <a:gd name="connsiteY45" fmla="*/ 182880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4876800" h="4876800">
                <a:moveTo>
                  <a:pt x="2438400" y="2133600"/>
                </a:moveTo>
                <a:lnTo>
                  <a:pt x="4572000" y="2133600"/>
                </a:lnTo>
                <a:cubicBezTo>
                  <a:pt x="4740335" y="2133600"/>
                  <a:pt x="4876800" y="1997135"/>
                  <a:pt x="4876800" y="1828800"/>
                </a:cubicBezTo>
                <a:lnTo>
                  <a:pt x="4876800" y="609600"/>
                </a:lnTo>
                <a:cubicBezTo>
                  <a:pt x="4876800" y="441264"/>
                  <a:pt x="4740335" y="304800"/>
                  <a:pt x="4572000" y="304800"/>
                </a:cubicBezTo>
                <a:lnTo>
                  <a:pt x="3505200" y="304800"/>
                </a:lnTo>
                <a:lnTo>
                  <a:pt x="3200400" y="0"/>
                </a:lnTo>
                <a:lnTo>
                  <a:pt x="2438400" y="0"/>
                </a:lnTo>
                <a:cubicBezTo>
                  <a:pt x="2270065" y="0"/>
                  <a:pt x="2133600" y="136464"/>
                  <a:pt x="2133600" y="304800"/>
                </a:cubicBezTo>
                <a:lnTo>
                  <a:pt x="2133600" y="914400"/>
                </a:lnTo>
                <a:lnTo>
                  <a:pt x="304800" y="914400"/>
                </a:lnTo>
                <a:lnTo>
                  <a:pt x="304800" y="76200"/>
                </a:lnTo>
                <a:cubicBezTo>
                  <a:pt x="304800" y="34116"/>
                  <a:pt x="270684" y="0"/>
                  <a:pt x="228600" y="0"/>
                </a:cubicBezTo>
                <a:lnTo>
                  <a:pt x="76200" y="0"/>
                </a:lnTo>
                <a:cubicBezTo>
                  <a:pt x="34116" y="0"/>
                  <a:pt x="0" y="34116"/>
                  <a:pt x="0" y="76200"/>
                </a:cubicBezTo>
                <a:lnTo>
                  <a:pt x="0" y="3810000"/>
                </a:lnTo>
                <a:cubicBezTo>
                  <a:pt x="0" y="3894173"/>
                  <a:pt x="68231" y="3962400"/>
                  <a:pt x="152400" y="3962400"/>
                </a:cubicBezTo>
                <a:lnTo>
                  <a:pt x="2133600" y="3962400"/>
                </a:lnTo>
                <a:lnTo>
                  <a:pt x="2133600" y="4572000"/>
                </a:lnTo>
                <a:cubicBezTo>
                  <a:pt x="2133600" y="4740336"/>
                  <a:pt x="2270065" y="4876800"/>
                  <a:pt x="2438400" y="4876800"/>
                </a:cubicBezTo>
                <a:lnTo>
                  <a:pt x="4572000" y="4876800"/>
                </a:lnTo>
                <a:cubicBezTo>
                  <a:pt x="4740335" y="4876800"/>
                  <a:pt x="4876800" y="4740336"/>
                  <a:pt x="4876800" y="4572000"/>
                </a:cubicBezTo>
                <a:lnTo>
                  <a:pt x="4876800" y="3352800"/>
                </a:lnTo>
                <a:cubicBezTo>
                  <a:pt x="4876800" y="3184465"/>
                  <a:pt x="4740335" y="3048000"/>
                  <a:pt x="4572000" y="3048000"/>
                </a:cubicBezTo>
                <a:lnTo>
                  <a:pt x="3505200" y="3048000"/>
                </a:lnTo>
                <a:lnTo>
                  <a:pt x="3200400" y="2743200"/>
                </a:lnTo>
                <a:lnTo>
                  <a:pt x="2438400" y="2743200"/>
                </a:lnTo>
                <a:cubicBezTo>
                  <a:pt x="2270065" y="2743200"/>
                  <a:pt x="2133600" y="2879665"/>
                  <a:pt x="2133600" y="3048000"/>
                </a:cubicBezTo>
                <a:lnTo>
                  <a:pt x="2133600" y="3657600"/>
                </a:lnTo>
                <a:lnTo>
                  <a:pt x="304800" y="3657600"/>
                </a:lnTo>
                <a:lnTo>
                  <a:pt x="304800" y="1219200"/>
                </a:lnTo>
                <a:lnTo>
                  <a:pt x="2133600" y="1219200"/>
                </a:lnTo>
                <a:lnTo>
                  <a:pt x="2133600" y="1828800"/>
                </a:lnTo>
                <a:cubicBezTo>
                  <a:pt x="2133600" y="1997135"/>
                  <a:pt x="2270065" y="2133600"/>
                  <a:pt x="2438400" y="2133600"/>
                </a:cubicBezTo>
                <a:close/>
                <a:moveTo>
                  <a:pt x="2438400" y="3048000"/>
                </a:moveTo>
                <a:lnTo>
                  <a:pt x="3074099" y="3048000"/>
                </a:lnTo>
                <a:lnTo>
                  <a:pt x="3378899" y="3352800"/>
                </a:lnTo>
                <a:lnTo>
                  <a:pt x="4572000" y="3352800"/>
                </a:lnTo>
                <a:lnTo>
                  <a:pt x="4572000" y="4572000"/>
                </a:lnTo>
                <a:lnTo>
                  <a:pt x="2438400" y="4572000"/>
                </a:lnTo>
                <a:close/>
                <a:moveTo>
                  <a:pt x="2438400" y="304800"/>
                </a:moveTo>
                <a:lnTo>
                  <a:pt x="3074099" y="304800"/>
                </a:lnTo>
                <a:lnTo>
                  <a:pt x="3378899" y="609600"/>
                </a:lnTo>
                <a:lnTo>
                  <a:pt x="4572000" y="609600"/>
                </a:lnTo>
                <a:lnTo>
                  <a:pt x="4572000" y="1828800"/>
                </a:lnTo>
                <a:lnTo>
                  <a:pt x="2438400" y="1828800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12" name="Graphic 663">
            <a:extLst>
              <a:ext uri="{FF2B5EF4-FFF2-40B4-BE49-F238E27FC236}">
                <a16:creationId xmlns:a16="http://schemas.microsoft.com/office/drawing/2014/main" id="{09F5DD3B-892C-47C4-83CF-B93A8580A74E}"/>
              </a:ext>
            </a:extLst>
          </p:cNvPr>
          <p:cNvSpPr>
            <a:spLocks noChangeAspect="1"/>
          </p:cNvSpPr>
          <p:nvPr/>
        </p:nvSpPr>
        <p:spPr>
          <a:xfrm>
            <a:off x="668100" y="3964913"/>
            <a:ext cx="307800" cy="410400"/>
          </a:xfrm>
          <a:custGeom>
            <a:avLst/>
            <a:gdLst>
              <a:gd name="connsiteX0" fmla="*/ 2667000 w 3657600"/>
              <a:gd name="connsiteY0" fmla="*/ 2286000 h 4876800"/>
              <a:gd name="connsiteX1" fmla="*/ 1600200 w 3657600"/>
              <a:gd name="connsiteY1" fmla="*/ 2286000 h 4876800"/>
              <a:gd name="connsiteX2" fmla="*/ 1524000 w 3657600"/>
              <a:gd name="connsiteY2" fmla="*/ 2362200 h 4876800"/>
              <a:gd name="connsiteX3" fmla="*/ 1524000 w 3657600"/>
              <a:gd name="connsiteY3" fmla="*/ 2514600 h 4876800"/>
              <a:gd name="connsiteX4" fmla="*/ 1600200 w 3657600"/>
              <a:gd name="connsiteY4" fmla="*/ 2590800 h 4876800"/>
              <a:gd name="connsiteX5" fmla="*/ 2667000 w 3657600"/>
              <a:gd name="connsiteY5" fmla="*/ 2590800 h 4876800"/>
              <a:gd name="connsiteX6" fmla="*/ 2743200 w 3657600"/>
              <a:gd name="connsiteY6" fmla="*/ 2514600 h 4876800"/>
              <a:gd name="connsiteX7" fmla="*/ 2743200 w 3657600"/>
              <a:gd name="connsiteY7" fmla="*/ 2362200 h 4876800"/>
              <a:gd name="connsiteX8" fmla="*/ 2667000 w 3657600"/>
              <a:gd name="connsiteY8" fmla="*/ 2286000 h 4876800"/>
              <a:gd name="connsiteX9" fmla="*/ 2667000 w 3657600"/>
              <a:gd name="connsiteY9" fmla="*/ 3200400 h 4876800"/>
              <a:gd name="connsiteX10" fmla="*/ 1600200 w 3657600"/>
              <a:gd name="connsiteY10" fmla="*/ 3200400 h 4876800"/>
              <a:gd name="connsiteX11" fmla="*/ 1524000 w 3657600"/>
              <a:gd name="connsiteY11" fmla="*/ 3276600 h 4876800"/>
              <a:gd name="connsiteX12" fmla="*/ 1524000 w 3657600"/>
              <a:gd name="connsiteY12" fmla="*/ 3429000 h 4876800"/>
              <a:gd name="connsiteX13" fmla="*/ 1600200 w 3657600"/>
              <a:gd name="connsiteY13" fmla="*/ 3505200 h 4876800"/>
              <a:gd name="connsiteX14" fmla="*/ 2667000 w 3657600"/>
              <a:gd name="connsiteY14" fmla="*/ 3505200 h 4876800"/>
              <a:gd name="connsiteX15" fmla="*/ 2743200 w 3657600"/>
              <a:gd name="connsiteY15" fmla="*/ 3429000 h 4876800"/>
              <a:gd name="connsiteX16" fmla="*/ 2743200 w 3657600"/>
              <a:gd name="connsiteY16" fmla="*/ 3276600 h 4876800"/>
              <a:gd name="connsiteX17" fmla="*/ 2667000 w 3657600"/>
              <a:gd name="connsiteY17" fmla="*/ 3200400 h 4876800"/>
              <a:gd name="connsiteX18" fmla="*/ 1066800 w 3657600"/>
              <a:gd name="connsiteY18" fmla="*/ 2209800 h 4876800"/>
              <a:gd name="connsiteX19" fmla="*/ 838200 w 3657600"/>
              <a:gd name="connsiteY19" fmla="*/ 2438400 h 4876800"/>
              <a:gd name="connsiteX20" fmla="*/ 1066800 w 3657600"/>
              <a:gd name="connsiteY20" fmla="*/ 2667000 h 4876800"/>
              <a:gd name="connsiteX21" fmla="*/ 1295400 w 3657600"/>
              <a:gd name="connsiteY21" fmla="*/ 2438400 h 4876800"/>
              <a:gd name="connsiteX22" fmla="*/ 1066800 w 3657600"/>
              <a:gd name="connsiteY22" fmla="*/ 2209800 h 4876800"/>
              <a:gd name="connsiteX23" fmla="*/ 1066800 w 3657600"/>
              <a:gd name="connsiteY23" fmla="*/ 3124200 h 4876800"/>
              <a:gd name="connsiteX24" fmla="*/ 838200 w 3657600"/>
              <a:gd name="connsiteY24" fmla="*/ 3352800 h 4876800"/>
              <a:gd name="connsiteX25" fmla="*/ 1066800 w 3657600"/>
              <a:gd name="connsiteY25" fmla="*/ 3581400 h 4876800"/>
              <a:gd name="connsiteX26" fmla="*/ 1295400 w 3657600"/>
              <a:gd name="connsiteY26" fmla="*/ 3352800 h 4876800"/>
              <a:gd name="connsiteX27" fmla="*/ 1066800 w 3657600"/>
              <a:gd name="connsiteY27" fmla="*/ 3124200 h 4876800"/>
              <a:gd name="connsiteX28" fmla="*/ 3200400 w 3657600"/>
              <a:gd name="connsiteY28" fmla="*/ 609600 h 4876800"/>
              <a:gd name="connsiteX29" fmla="*/ 2356485 w 3657600"/>
              <a:gd name="connsiteY29" fmla="*/ 609600 h 4876800"/>
              <a:gd name="connsiteX30" fmla="*/ 2362200 w 3657600"/>
              <a:gd name="connsiteY30" fmla="*/ 533400 h 4876800"/>
              <a:gd name="connsiteX31" fmla="*/ 1828800 w 3657600"/>
              <a:gd name="connsiteY31" fmla="*/ 0 h 4876800"/>
              <a:gd name="connsiteX32" fmla="*/ 1295400 w 3657600"/>
              <a:gd name="connsiteY32" fmla="*/ 533400 h 4876800"/>
              <a:gd name="connsiteX33" fmla="*/ 1301115 w 3657600"/>
              <a:gd name="connsiteY33" fmla="*/ 609600 h 4876800"/>
              <a:gd name="connsiteX34" fmla="*/ 457200 w 3657600"/>
              <a:gd name="connsiteY34" fmla="*/ 609600 h 4876800"/>
              <a:gd name="connsiteX35" fmla="*/ 0 w 3657600"/>
              <a:gd name="connsiteY35" fmla="*/ 1066800 h 4876800"/>
              <a:gd name="connsiteX36" fmla="*/ 0 w 3657600"/>
              <a:gd name="connsiteY36" fmla="*/ 4419600 h 4876800"/>
              <a:gd name="connsiteX37" fmla="*/ 457200 w 3657600"/>
              <a:gd name="connsiteY37" fmla="*/ 4876800 h 4876800"/>
              <a:gd name="connsiteX38" fmla="*/ 3200400 w 3657600"/>
              <a:gd name="connsiteY38" fmla="*/ 4876800 h 4876800"/>
              <a:gd name="connsiteX39" fmla="*/ 3657600 w 3657600"/>
              <a:gd name="connsiteY39" fmla="*/ 4419600 h 4876800"/>
              <a:gd name="connsiteX40" fmla="*/ 3657600 w 3657600"/>
              <a:gd name="connsiteY40" fmla="*/ 1066800 h 4876800"/>
              <a:gd name="connsiteX41" fmla="*/ 3200400 w 3657600"/>
              <a:gd name="connsiteY41" fmla="*/ 609600 h 4876800"/>
              <a:gd name="connsiteX42" fmla="*/ 1828800 w 3657600"/>
              <a:gd name="connsiteY42" fmla="*/ 304800 h 4876800"/>
              <a:gd name="connsiteX43" fmla="*/ 2057400 w 3657600"/>
              <a:gd name="connsiteY43" fmla="*/ 533400 h 4876800"/>
              <a:gd name="connsiteX44" fmla="*/ 1828800 w 3657600"/>
              <a:gd name="connsiteY44" fmla="*/ 762000 h 4876800"/>
              <a:gd name="connsiteX45" fmla="*/ 1600200 w 3657600"/>
              <a:gd name="connsiteY45" fmla="*/ 533400 h 4876800"/>
              <a:gd name="connsiteX46" fmla="*/ 1828800 w 3657600"/>
              <a:gd name="connsiteY46" fmla="*/ 304800 h 4876800"/>
              <a:gd name="connsiteX47" fmla="*/ 3352800 w 3657600"/>
              <a:gd name="connsiteY47" fmla="*/ 4419600 h 4876800"/>
              <a:gd name="connsiteX48" fmla="*/ 3200400 w 3657600"/>
              <a:gd name="connsiteY48" fmla="*/ 4572000 h 4876800"/>
              <a:gd name="connsiteX49" fmla="*/ 457200 w 3657600"/>
              <a:gd name="connsiteY49" fmla="*/ 4572000 h 4876800"/>
              <a:gd name="connsiteX50" fmla="*/ 304800 w 3657600"/>
              <a:gd name="connsiteY50" fmla="*/ 4419600 h 4876800"/>
              <a:gd name="connsiteX51" fmla="*/ 304800 w 3657600"/>
              <a:gd name="connsiteY51" fmla="*/ 1066800 h 4876800"/>
              <a:gd name="connsiteX52" fmla="*/ 457200 w 3657600"/>
              <a:gd name="connsiteY52" fmla="*/ 914400 h 4876800"/>
              <a:gd name="connsiteX53" fmla="*/ 914400 w 3657600"/>
              <a:gd name="connsiteY53" fmla="*/ 914400 h 4876800"/>
              <a:gd name="connsiteX54" fmla="*/ 914400 w 3657600"/>
              <a:gd name="connsiteY54" fmla="*/ 1104900 h 4876800"/>
              <a:gd name="connsiteX55" fmla="*/ 1028700 w 3657600"/>
              <a:gd name="connsiteY55" fmla="*/ 1219200 h 4876800"/>
              <a:gd name="connsiteX56" fmla="*/ 2628900 w 3657600"/>
              <a:gd name="connsiteY56" fmla="*/ 1219200 h 4876800"/>
              <a:gd name="connsiteX57" fmla="*/ 2743200 w 3657600"/>
              <a:gd name="connsiteY57" fmla="*/ 1104900 h 4876800"/>
              <a:gd name="connsiteX58" fmla="*/ 2743200 w 3657600"/>
              <a:gd name="connsiteY58" fmla="*/ 914400 h 4876800"/>
              <a:gd name="connsiteX59" fmla="*/ 3200400 w 3657600"/>
              <a:gd name="connsiteY59" fmla="*/ 914400 h 4876800"/>
              <a:gd name="connsiteX60" fmla="*/ 3352800 w 3657600"/>
              <a:gd name="connsiteY60" fmla="*/ 1066800 h 4876800"/>
              <a:gd name="connsiteX61" fmla="*/ 3352800 w 3657600"/>
              <a:gd name="connsiteY61" fmla="*/ 441960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657600" h="4876800">
                <a:moveTo>
                  <a:pt x="2667000" y="2286000"/>
                </a:moveTo>
                <a:lnTo>
                  <a:pt x="1600200" y="2286000"/>
                </a:lnTo>
                <a:cubicBezTo>
                  <a:pt x="1558290" y="2286000"/>
                  <a:pt x="1524000" y="2320290"/>
                  <a:pt x="1524000" y="2362200"/>
                </a:cubicBezTo>
                <a:lnTo>
                  <a:pt x="1524000" y="2514600"/>
                </a:lnTo>
                <a:cubicBezTo>
                  <a:pt x="1524000" y="2556510"/>
                  <a:pt x="1558290" y="2590800"/>
                  <a:pt x="1600200" y="2590800"/>
                </a:cubicBezTo>
                <a:lnTo>
                  <a:pt x="2667000" y="2590800"/>
                </a:lnTo>
                <a:cubicBezTo>
                  <a:pt x="2708910" y="2590800"/>
                  <a:pt x="2743200" y="2556510"/>
                  <a:pt x="2743200" y="2514600"/>
                </a:cubicBezTo>
                <a:lnTo>
                  <a:pt x="2743200" y="2362200"/>
                </a:lnTo>
                <a:cubicBezTo>
                  <a:pt x="2743200" y="2320290"/>
                  <a:pt x="2708910" y="2286000"/>
                  <a:pt x="2667000" y="2286000"/>
                </a:cubicBezTo>
                <a:close/>
                <a:moveTo>
                  <a:pt x="2667000" y="3200400"/>
                </a:moveTo>
                <a:lnTo>
                  <a:pt x="1600200" y="3200400"/>
                </a:lnTo>
                <a:cubicBezTo>
                  <a:pt x="1558290" y="3200400"/>
                  <a:pt x="1524000" y="3234690"/>
                  <a:pt x="1524000" y="3276600"/>
                </a:cubicBezTo>
                <a:lnTo>
                  <a:pt x="1524000" y="3429000"/>
                </a:lnTo>
                <a:cubicBezTo>
                  <a:pt x="1524000" y="3470910"/>
                  <a:pt x="1558290" y="3505200"/>
                  <a:pt x="1600200" y="3505200"/>
                </a:cubicBezTo>
                <a:lnTo>
                  <a:pt x="2667000" y="3505200"/>
                </a:lnTo>
                <a:cubicBezTo>
                  <a:pt x="2708910" y="3505200"/>
                  <a:pt x="2743200" y="3470910"/>
                  <a:pt x="2743200" y="3429000"/>
                </a:cubicBezTo>
                <a:lnTo>
                  <a:pt x="2743200" y="3276600"/>
                </a:lnTo>
                <a:cubicBezTo>
                  <a:pt x="2743200" y="3234690"/>
                  <a:pt x="2708910" y="3200400"/>
                  <a:pt x="2667000" y="3200400"/>
                </a:cubicBezTo>
                <a:close/>
                <a:moveTo>
                  <a:pt x="1066800" y="2209800"/>
                </a:moveTo>
                <a:cubicBezTo>
                  <a:pt x="940118" y="2209800"/>
                  <a:pt x="838200" y="2311718"/>
                  <a:pt x="838200" y="2438400"/>
                </a:cubicBezTo>
                <a:cubicBezTo>
                  <a:pt x="838200" y="2565083"/>
                  <a:pt x="940118" y="2667000"/>
                  <a:pt x="1066800" y="2667000"/>
                </a:cubicBezTo>
                <a:cubicBezTo>
                  <a:pt x="1193483" y="2667000"/>
                  <a:pt x="1295400" y="2565083"/>
                  <a:pt x="1295400" y="2438400"/>
                </a:cubicBezTo>
                <a:cubicBezTo>
                  <a:pt x="1295400" y="2311718"/>
                  <a:pt x="1193483" y="2209800"/>
                  <a:pt x="1066800" y="2209800"/>
                </a:cubicBezTo>
                <a:close/>
                <a:moveTo>
                  <a:pt x="1066800" y="3124200"/>
                </a:moveTo>
                <a:cubicBezTo>
                  <a:pt x="940118" y="3124200"/>
                  <a:pt x="838200" y="3226118"/>
                  <a:pt x="838200" y="3352800"/>
                </a:cubicBezTo>
                <a:cubicBezTo>
                  <a:pt x="838200" y="3479483"/>
                  <a:pt x="940118" y="3581400"/>
                  <a:pt x="1066800" y="3581400"/>
                </a:cubicBezTo>
                <a:cubicBezTo>
                  <a:pt x="1193483" y="3581400"/>
                  <a:pt x="1295400" y="3479483"/>
                  <a:pt x="1295400" y="3352800"/>
                </a:cubicBezTo>
                <a:cubicBezTo>
                  <a:pt x="1295400" y="3226118"/>
                  <a:pt x="1193483" y="3124200"/>
                  <a:pt x="1066800" y="3124200"/>
                </a:cubicBezTo>
                <a:close/>
                <a:moveTo>
                  <a:pt x="3200400" y="609600"/>
                </a:moveTo>
                <a:lnTo>
                  <a:pt x="2356485" y="609600"/>
                </a:lnTo>
                <a:cubicBezTo>
                  <a:pt x="2360295" y="584835"/>
                  <a:pt x="2362200" y="559118"/>
                  <a:pt x="2362200" y="533400"/>
                </a:cubicBezTo>
                <a:cubicBezTo>
                  <a:pt x="2362200" y="239078"/>
                  <a:pt x="2123123" y="0"/>
                  <a:pt x="1828800" y="0"/>
                </a:cubicBezTo>
                <a:cubicBezTo>
                  <a:pt x="1534478" y="0"/>
                  <a:pt x="1295400" y="239078"/>
                  <a:pt x="1295400" y="533400"/>
                </a:cubicBezTo>
                <a:cubicBezTo>
                  <a:pt x="1295400" y="559118"/>
                  <a:pt x="1297305" y="584835"/>
                  <a:pt x="1301115" y="609600"/>
                </a:cubicBezTo>
                <a:lnTo>
                  <a:pt x="457200" y="609600"/>
                </a:lnTo>
                <a:cubicBezTo>
                  <a:pt x="204788" y="609600"/>
                  <a:pt x="0" y="814388"/>
                  <a:pt x="0" y="1066800"/>
                </a:cubicBezTo>
                <a:lnTo>
                  <a:pt x="0" y="4419600"/>
                </a:lnTo>
                <a:cubicBezTo>
                  <a:pt x="0" y="4672013"/>
                  <a:pt x="204788" y="4876800"/>
                  <a:pt x="457200" y="4876800"/>
                </a:cubicBezTo>
                <a:lnTo>
                  <a:pt x="3200400" y="4876800"/>
                </a:lnTo>
                <a:cubicBezTo>
                  <a:pt x="3452813" y="4876800"/>
                  <a:pt x="3657600" y="4672013"/>
                  <a:pt x="3657600" y="4419600"/>
                </a:cubicBezTo>
                <a:lnTo>
                  <a:pt x="3657600" y="1066800"/>
                </a:lnTo>
                <a:cubicBezTo>
                  <a:pt x="3657600" y="814388"/>
                  <a:pt x="3452813" y="609600"/>
                  <a:pt x="3200400" y="609600"/>
                </a:cubicBezTo>
                <a:close/>
                <a:moveTo>
                  <a:pt x="1828800" y="304800"/>
                </a:moveTo>
                <a:cubicBezTo>
                  <a:pt x="1955483" y="304800"/>
                  <a:pt x="2057400" y="406718"/>
                  <a:pt x="2057400" y="533400"/>
                </a:cubicBezTo>
                <a:cubicBezTo>
                  <a:pt x="2057400" y="660083"/>
                  <a:pt x="1955483" y="762000"/>
                  <a:pt x="1828800" y="762000"/>
                </a:cubicBezTo>
                <a:cubicBezTo>
                  <a:pt x="1702118" y="762000"/>
                  <a:pt x="1600200" y="660083"/>
                  <a:pt x="1600200" y="533400"/>
                </a:cubicBezTo>
                <a:cubicBezTo>
                  <a:pt x="1600200" y="406718"/>
                  <a:pt x="1702118" y="304800"/>
                  <a:pt x="1828800" y="304800"/>
                </a:cubicBezTo>
                <a:close/>
                <a:moveTo>
                  <a:pt x="3352800" y="4419600"/>
                </a:moveTo>
                <a:cubicBezTo>
                  <a:pt x="3352800" y="4503420"/>
                  <a:pt x="3284220" y="4572000"/>
                  <a:pt x="3200400" y="4572000"/>
                </a:cubicBezTo>
                <a:lnTo>
                  <a:pt x="457200" y="4572000"/>
                </a:lnTo>
                <a:cubicBezTo>
                  <a:pt x="373380" y="4572000"/>
                  <a:pt x="304800" y="4503420"/>
                  <a:pt x="304800" y="4419600"/>
                </a:cubicBezTo>
                <a:lnTo>
                  <a:pt x="304800" y="1066800"/>
                </a:lnTo>
                <a:cubicBezTo>
                  <a:pt x="304800" y="982980"/>
                  <a:pt x="373380" y="914400"/>
                  <a:pt x="457200" y="914400"/>
                </a:cubicBezTo>
                <a:lnTo>
                  <a:pt x="914400" y="914400"/>
                </a:lnTo>
                <a:lnTo>
                  <a:pt x="914400" y="1104900"/>
                </a:lnTo>
                <a:cubicBezTo>
                  <a:pt x="914400" y="1167765"/>
                  <a:pt x="965835" y="1219200"/>
                  <a:pt x="1028700" y="1219200"/>
                </a:cubicBezTo>
                <a:lnTo>
                  <a:pt x="2628900" y="1219200"/>
                </a:lnTo>
                <a:cubicBezTo>
                  <a:pt x="2691765" y="1219200"/>
                  <a:pt x="2743200" y="1167765"/>
                  <a:pt x="2743200" y="1104900"/>
                </a:cubicBezTo>
                <a:lnTo>
                  <a:pt x="2743200" y="914400"/>
                </a:lnTo>
                <a:lnTo>
                  <a:pt x="3200400" y="914400"/>
                </a:lnTo>
                <a:cubicBezTo>
                  <a:pt x="3284220" y="914400"/>
                  <a:pt x="3352800" y="982980"/>
                  <a:pt x="3352800" y="1066800"/>
                </a:cubicBezTo>
                <a:lnTo>
                  <a:pt x="3352800" y="4419600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13" name="Graphic 447">
            <a:extLst>
              <a:ext uri="{FF2B5EF4-FFF2-40B4-BE49-F238E27FC236}">
                <a16:creationId xmlns:a16="http://schemas.microsoft.com/office/drawing/2014/main" id="{500A7EB6-B9B9-40DA-BF94-87C0D76FFA50}"/>
              </a:ext>
            </a:extLst>
          </p:cNvPr>
          <p:cNvSpPr>
            <a:spLocks noChangeAspect="1"/>
          </p:cNvSpPr>
          <p:nvPr/>
        </p:nvSpPr>
        <p:spPr>
          <a:xfrm>
            <a:off x="565502" y="4781326"/>
            <a:ext cx="512997" cy="410400"/>
          </a:xfrm>
          <a:custGeom>
            <a:avLst/>
            <a:gdLst>
              <a:gd name="connsiteX0" fmla="*/ 6085956 w 6096152"/>
              <a:gd name="connsiteY0" fmla="*/ 1997826 h 4876951"/>
              <a:gd name="connsiteX1" fmla="*/ 6009756 w 6096152"/>
              <a:gd name="connsiteY1" fmla="*/ 1865428 h 4876951"/>
              <a:gd name="connsiteX2" fmla="*/ 5905933 w 6096152"/>
              <a:gd name="connsiteY2" fmla="*/ 1837806 h 4876951"/>
              <a:gd name="connsiteX3" fmla="*/ 4877233 w 6096152"/>
              <a:gd name="connsiteY3" fmla="*/ 2437881 h 4876951"/>
              <a:gd name="connsiteX4" fmla="*/ 4877233 w 6096152"/>
              <a:gd name="connsiteY4" fmla="*/ 2286433 h 4876951"/>
              <a:gd name="connsiteX5" fmla="*/ 4420033 w 6096152"/>
              <a:gd name="connsiteY5" fmla="*/ 1829233 h 4876951"/>
              <a:gd name="connsiteX6" fmla="*/ 3048433 w 6096152"/>
              <a:gd name="connsiteY6" fmla="*/ 1829233 h 4876951"/>
              <a:gd name="connsiteX7" fmla="*/ 3048433 w 6096152"/>
              <a:gd name="connsiteY7" fmla="*/ 2421688 h 4876951"/>
              <a:gd name="connsiteX8" fmla="*/ 2795068 w 6096152"/>
              <a:gd name="connsiteY8" fmla="*/ 2738871 h 4876951"/>
              <a:gd name="connsiteX9" fmla="*/ 2438833 w 6096152"/>
              <a:gd name="connsiteY9" fmla="*/ 2437881 h 4876951"/>
              <a:gd name="connsiteX10" fmla="*/ 2438833 w 6096152"/>
              <a:gd name="connsiteY10" fmla="*/ 1539673 h 4876951"/>
              <a:gd name="connsiteX11" fmla="*/ 2617903 w 6096152"/>
              <a:gd name="connsiteY11" fmla="*/ 1216776 h 4876951"/>
              <a:gd name="connsiteX12" fmla="*/ 2936038 w 6096152"/>
              <a:gd name="connsiteY12" fmla="*/ 1017703 h 4876951"/>
              <a:gd name="connsiteX13" fmla="*/ 3298941 w 6096152"/>
              <a:gd name="connsiteY13" fmla="*/ 913881 h 4876951"/>
              <a:gd name="connsiteX14" fmla="*/ 4281921 w 6096152"/>
              <a:gd name="connsiteY14" fmla="*/ 913881 h 4876951"/>
              <a:gd name="connsiteX15" fmla="*/ 5410633 w 6096152"/>
              <a:gd name="connsiteY15" fmla="*/ 275706 h 4876951"/>
              <a:gd name="connsiteX16" fmla="*/ 5439208 w 6096152"/>
              <a:gd name="connsiteY16" fmla="*/ 171883 h 4876951"/>
              <a:gd name="connsiteX17" fmla="*/ 5363008 w 6096152"/>
              <a:gd name="connsiteY17" fmla="*/ 38533 h 4876951"/>
              <a:gd name="connsiteX18" fmla="*/ 5259186 w 6096152"/>
              <a:gd name="connsiteY18" fmla="*/ 9958 h 4876951"/>
              <a:gd name="connsiteX19" fmla="*/ 4201911 w 6096152"/>
              <a:gd name="connsiteY19" fmla="*/ 610033 h 4876951"/>
              <a:gd name="connsiteX20" fmla="*/ 3299893 w 6096152"/>
              <a:gd name="connsiteY20" fmla="*/ 610033 h 4876951"/>
              <a:gd name="connsiteX21" fmla="*/ 2775066 w 6096152"/>
              <a:gd name="connsiteY21" fmla="*/ 760528 h 4876951"/>
              <a:gd name="connsiteX22" fmla="*/ 2455978 w 6096152"/>
              <a:gd name="connsiteY22" fmla="*/ 959601 h 4876951"/>
              <a:gd name="connsiteX23" fmla="*/ 2149273 w 6096152"/>
              <a:gd name="connsiteY23" fmla="*/ 1421563 h 4876951"/>
              <a:gd name="connsiteX24" fmla="*/ 1553961 w 6096152"/>
              <a:gd name="connsiteY24" fmla="*/ 1773988 h 4876951"/>
              <a:gd name="connsiteX25" fmla="*/ 1219633 w 6096152"/>
              <a:gd name="connsiteY25" fmla="*/ 2363586 h 4876951"/>
              <a:gd name="connsiteX26" fmla="*/ 1219633 w 6096152"/>
              <a:gd name="connsiteY26" fmla="*/ 2731251 h 4876951"/>
              <a:gd name="connsiteX27" fmla="*/ 38533 w 6096152"/>
              <a:gd name="connsiteY27" fmla="*/ 3401811 h 4876951"/>
              <a:gd name="connsiteX28" fmla="*/ 9958 w 6096152"/>
              <a:gd name="connsiteY28" fmla="*/ 3505633 h 4876951"/>
              <a:gd name="connsiteX29" fmla="*/ 86158 w 6096152"/>
              <a:gd name="connsiteY29" fmla="*/ 3638031 h 4876951"/>
              <a:gd name="connsiteX30" fmla="*/ 189981 w 6096152"/>
              <a:gd name="connsiteY30" fmla="*/ 3666606 h 4876951"/>
              <a:gd name="connsiteX31" fmla="*/ 1524433 w 6096152"/>
              <a:gd name="connsiteY31" fmla="*/ 2908416 h 4876951"/>
              <a:gd name="connsiteX32" fmla="*/ 1524433 w 6096152"/>
              <a:gd name="connsiteY32" fmla="*/ 2363586 h 4876951"/>
              <a:gd name="connsiteX33" fmla="*/ 1709218 w 6096152"/>
              <a:gd name="connsiteY33" fmla="*/ 2035926 h 4876951"/>
              <a:gd name="connsiteX34" fmla="*/ 2134033 w 6096152"/>
              <a:gd name="connsiteY34" fmla="*/ 1784466 h 4876951"/>
              <a:gd name="connsiteX35" fmla="*/ 2134033 w 6096152"/>
              <a:gd name="connsiteY35" fmla="*/ 2412163 h 4876951"/>
              <a:gd name="connsiteX36" fmla="*/ 2682673 w 6096152"/>
              <a:gd name="connsiteY36" fmla="*/ 3045576 h 4876951"/>
              <a:gd name="connsiteX37" fmla="*/ 3353233 w 6096152"/>
              <a:gd name="connsiteY37" fmla="*/ 2438833 h 4876951"/>
              <a:gd name="connsiteX38" fmla="*/ 3353233 w 6096152"/>
              <a:gd name="connsiteY38" fmla="*/ 2134033 h 4876951"/>
              <a:gd name="connsiteX39" fmla="*/ 4420033 w 6096152"/>
              <a:gd name="connsiteY39" fmla="*/ 2134033 h 4876951"/>
              <a:gd name="connsiteX40" fmla="*/ 4572433 w 6096152"/>
              <a:gd name="connsiteY40" fmla="*/ 2286433 h 4876951"/>
              <a:gd name="connsiteX41" fmla="*/ 4572433 w 6096152"/>
              <a:gd name="connsiteY41" fmla="*/ 2591233 h 4876951"/>
              <a:gd name="connsiteX42" fmla="*/ 4420033 w 6096152"/>
              <a:gd name="connsiteY42" fmla="*/ 2743633 h 4876951"/>
              <a:gd name="connsiteX43" fmla="*/ 4191433 w 6096152"/>
              <a:gd name="connsiteY43" fmla="*/ 2743633 h 4876951"/>
              <a:gd name="connsiteX44" fmla="*/ 4191433 w 6096152"/>
              <a:gd name="connsiteY44" fmla="*/ 3086533 h 4876951"/>
              <a:gd name="connsiteX45" fmla="*/ 3850438 w 6096152"/>
              <a:gd name="connsiteY45" fmla="*/ 3427528 h 4876951"/>
              <a:gd name="connsiteX46" fmla="*/ 3697086 w 6096152"/>
              <a:gd name="connsiteY46" fmla="*/ 3427528 h 4876951"/>
              <a:gd name="connsiteX47" fmla="*/ 3697086 w 6096152"/>
              <a:gd name="connsiteY47" fmla="*/ 3579928 h 4876951"/>
              <a:gd name="connsiteX48" fmla="*/ 3314181 w 6096152"/>
              <a:gd name="connsiteY48" fmla="*/ 3962833 h 4876951"/>
              <a:gd name="connsiteX49" fmla="*/ 2272146 w 6096152"/>
              <a:gd name="connsiteY49" fmla="*/ 3962833 h 4876951"/>
              <a:gd name="connsiteX50" fmla="*/ 1171056 w 6096152"/>
              <a:gd name="connsiteY50" fmla="*/ 4603866 h 4876951"/>
              <a:gd name="connsiteX51" fmla="*/ 1143433 w 6096152"/>
              <a:gd name="connsiteY51" fmla="*/ 4707689 h 4876951"/>
              <a:gd name="connsiteX52" fmla="*/ 1219633 w 6096152"/>
              <a:gd name="connsiteY52" fmla="*/ 4839133 h 4876951"/>
              <a:gd name="connsiteX53" fmla="*/ 1323456 w 6096152"/>
              <a:gd name="connsiteY53" fmla="*/ 4866756 h 4876951"/>
              <a:gd name="connsiteX54" fmla="*/ 2354061 w 6096152"/>
              <a:gd name="connsiteY54" fmla="*/ 4267633 h 4876951"/>
              <a:gd name="connsiteX55" fmla="*/ 3314181 w 6096152"/>
              <a:gd name="connsiteY55" fmla="*/ 4267633 h 4876951"/>
              <a:gd name="connsiteX56" fmla="*/ 3988551 w 6096152"/>
              <a:gd name="connsiteY56" fmla="*/ 3718041 h 4876951"/>
              <a:gd name="connsiteX57" fmla="*/ 4496233 w 6096152"/>
              <a:gd name="connsiteY57" fmla="*/ 3086533 h 4876951"/>
              <a:gd name="connsiteX58" fmla="*/ 4496233 w 6096152"/>
              <a:gd name="connsiteY58" fmla="*/ 3041766 h 4876951"/>
              <a:gd name="connsiteX59" fmla="*/ 4799128 w 6096152"/>
              <a:gd name="connsiteY59" fmla="*/ 2835073 h 4876951"/>
              <a:gd name="connsiteX60" fmla="*/ 6058333 w 6096152"/>
              <a:gd name="connsiteY60" fmla="*/ 2101648 h 4876951"/>
              <a:gd name="connsiteX61" fmla="*/ 6085956 w 6096152"/>
              <a:gd name="connsiteY61" fmla="*/ 1997826 h 4876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6096152" h="4876951">
                <a:moveTo>
                  <a:pt x="6085956" y="1997826"/>
                </a:moveTo>
                <a:lnTo>
                  <a:pt x="6009756" y="1865428"/>
                </a:lnTo>
                <a:cubicBezTo>
                  <a:pt x="5988801" y="1829233"/>
                  <a:pt x="5942128" y="1816851"/>
                  <a:pt x="5905933" y="1837806"/>
                </a:cubicBezTo>
                <a:lnTo>
                  <a:pt x="4877233" y="2437881"/>
                </a:lnTo>
                <a:lnTo>
                  <a:pt x="4877233" y="2286433"/>
                </a:lnTo>
                <a:cubicBezTo>
                  <a:pt x="4877233" y="2034021"/>
                  <a:pt x="4672446" y="1829233"/>
                  <a:pt x="4420033" y="1829233"/>
                </a:cubicBezTo>
                <a:lnTo>
                  <a:pt x="3048433" y="1829233"/>
                </a:lnTo>
                <a:lnTo>
                  <a:pt x="3048433" y="2421688"/>
                </a:lnTo>
                <a:cubicBezTo>
                  <a:pt x="3048433" y="2574088"/>
                  <a:pt x="2944611" y="2715058"/>
                  <a:pt x="2795068" y="2738871"/>
                </a:cubicBezTo>
                <a:cubicBezTo>
                  <a:pt x="2604568" y="2770303"/>
                  <a:pt x="2438833" y="2622666"/>
                  <a:pt x="2438833" y="2437881"/>
                </a:cubicBezTo>
                <a:lnTo>
                  <a:pt x="2438833" y="1539673"/>
                </a:lnTo>
                <a:cubicBezTo>
                  <a:pt x="2438833" y="1408228"/>
                  <a:pt x="2506461" y="1286308"/>
                  <a:pt x="2617903" y="1216776"/>
                </a:cubicBezTo>
                <a:lnTo>
                  <a:pt x="2936038" y="1017703"/>
                </a:lnTo>
                <a:cubicBezTo>
                  <a:pt x="3044623" y="950076"/>
                  <a:pt x="3170353" y="913881"/>
                  <a:pt x="3298941" y="913881"/>
                </a:cubicBezTo>
                <a:lnTo>
                  <a:pt x="4281921" y="913881"/>
                </a:lnTo>
                <a:lnTo>
                  <a:pt x="5410633" y="275706"/>
                </a:lnTo>
                <a:cubicBezTo>
                  <a:pt x="5446828" y="254751"/>
                  <a:pt x="5460164" y="208078"/>
                  <a:pt x="5439208" y="171883"/>
                </a:cubicBezTo>
                <a:lnTo>
                  <a:pt x="5363008" y="38533"/>
                </a:lnTo>
                <a:cubicBezTo>
                  <a:pt x="5342053" y="2338"/>
                  <a:pt x="5295381" y="-10997"/>
                  <a:pt x="5259186" y="9958"/>
                </a:cubicBezTo>
                <a:lnTo>
                  <a:pt x="4201911" y="610033"/>
                </a:lnTo>
                <a:lnTo>
                  <a:pt x="3299893" y="610033"/>
                </a:lnTo>
                <a:cubicBezTo>
                  <a:pt x="3114156" y="610033"/>
                  <a:pt x="2932228" y="662421"/>
                  <a:pt x="2775066" y="760528"/>
                </a:cubicBezTo>
                <a:lnTo>
                  <a:pt x="2455978" y="959601"/>
                </a:lnTo>
                <a:cubicBezTo>
                  <a:pt x="2289291" y="1064376"/>
                  <a:pt x="2182611" y="1232016"/>
                  <a:pt x="2149273" y="1421563"/>
                </a:cubicBezTo>
                <a:lnTo>
                  <a:pt x="1553961" y="1773988"/>
                </a:lnTo>
                <a:cubicBezTo>
                  <a:pt x="1348221" y="1897813"/>
                  <a:pt x="1219633" y="2123556"/>
                  <a:pt x="1219633" y="2363586"/>
                </a:cubicBezTo>
                <a:lnTo>
                  <a:pt x="1219633" y="2731251"/>
                </a:lnTo>
                <a:lnTo>
                  <a:pt x="38533" y="3401811"/>
                </a:lnTo>
                <a:cubicBezTo>
                  <a:pt x="2338" y="3422766"/>
                  <a:pt x="-10997" y="3469438"/>
                  <a:pt x="9958" y="3505633"/>
                </a:cubicBezTo>
                <a:lnTo>
                  <a:pt x="86158" y="3638031"/>
                </a:lnTo>
                <a:cubicBezTo>
                  <a:pt x="107113" y="3674226"/>
                  <a:pt x="153786" y="3687561"/>
                  <a:pt x="189981" y="3666606"/>
                </a:cubicBezTo>
                <a:lnTo>
                  <a:pt x="1524433" y="2908416"/>
                </a:lnTo>
                <a:lnTo>
                  <a:pt x="1524433" y="2363586"/>
                </a:lnTo>
                <a:cubicBezTo>
                  <a:pt x="1524433" y="2230236"/>
                  <a:pt x="1595871" y="2104506"/>
                  <a:pt x="1709218" y="2035926"/>
                </a:cubicBezTo>
                <a:lnTo>
                  <a:pt x="2134033" y="1784466"/>
                </a:lnTo>
                <a:lnTo>
                  <a:pt x="2134033" y="2412163"/>
                </a:lnTo>
                <a:cubicBezTo>
                  <a:pt x="2134033" y="2730298"/>
                  <a:pt x="2365491" y="3015096"/>
                  <a:pt x="2682673" y="3045576"/>
                </a:cubicBezTo>
                <a:cubicBezTo>
                  <a:pt x="3045576" y="3080818"/>
                  <a:pt x="3353233" y="2795068"/>
                  <a:pt x="3353233" y="2438833"/>
                </a:cubicBezTo>
                <a:lnTo>
                  <a:pt x="3353233" y="2134033"/>
                </a:lnTo>
                <a:lnTo>
                  <a:pt x="4420033" y="2134033"/>
                </a:lnTo>
                <a:cubicBezTo>
                  <a:pt x="4503853" y="2134033"/>
                  <a:pt x="4572433" y="2202613"/>
                  <a:pt x="4572433" y="2286433"/>
                </a:cubicBezTo>
                <a:lnTo>
                  <a:pt x="4572433" y="2591233"/>
                </a:lnTo>
                <a:cubicBezTo>
                  <a:pt x="4572433" y="2675053"/>
                  <a:pt x="4503853" y="2743633"/>
                  <a:pt x="4420033" y="2743633"/>
                </a:cubicBezTo>
                <a:lnTo>
                  <a:pt x="4191433" y="2743633"/>
                </a:lnTo>
                <a:lnTo>
                  <a:pt x="4191433" y="3086533"/>
                </a:lnTo>
                <a:cubicBezTo>
                  <a:pt x="4191433" y="3275128"/>
                  <a:pt x="4039033" y="3427528"/>
                  <a:pt x="3850438" y="3427528"/>
                </a:cubicBezTo>
                <a:lnTo>
                  <a:pt x="3697086" y="3427528"/>
                </a:lnTo>
                <a:lnTo>
                  <a:pt x="3697086" y="3579928"/>
                </a:lnTo>
                <a:cubicBezTo>
                  <a:pt x="3697086" y="3791383"/>
                  <a:pt x="3525636" y="3962833"/>
                  <a:pt x="3314181" y="3962833"/>
                </a:cubicBezTo>
                <a:lnTo>
                  <a:pt x="2272146" y="3962833"/>
                </a:lnTo>
                <a:lnTo>
                  <a:pt x="1171056" y="4603866"/>
                </a:lnTo>
                <a:cubicBezTo>
                  <a:pt x="1134861" y="4624821"/>
                  <a:pt x="1122478" y="4671493"/>
                  <a:pt x="1143433" y="4707689"/>
                </a:cubicBezTo>
                <a:lnTo>
                  <a:pt x="1219633" y="4839133"/>
                </a:lnTo>
                <a:cubicBezTo>
                  <a:pt x="1240588" y="4875328"/>
                  <a:pt x="1287261" y="4887711"/>
                  <a:pt x="1323456" y="4866756"/>
                </a:cubicBezTo>
                <a:lnTo>
                  <a:pt x="2354061" y="4267633"/>
                </a:lnTo>
                <a:lnTo>
                  <a:pt x="3314181" y="4267633"/>
                </a:lnTo>
                <a:cubicBezTo>
                  <a:pt x="3645651" y="4267633"/>
                  <a:pt x="3923781" y="4031413"/>
                  <a:pt x="3988551" y="3718041"/>
                </a:cubicBezTo>
                <a:cubicBezTo>
                  <a:pt x="4278111" y="3654223"/>
                  <a:pt x="4496233" y="3395143"/>
                  <a:pt x="4496233" y="3086533"/>
                </a:cubicBezTo>
                <a:lnTo>
                  <a:pt x="4496233" y="3041766"/>
                </a:lnTo>
                <a:cubicBezTo>
                  <a:pt x="4625774" y="3019858"/>
                  <a:pt x="4730549" y="2940801"/>
                  <a:pt x="4799128" y="2835073"/>
                </a:cubicBezTo>
                <a:lnTo>
                  <a:pt x="6058333" y="2101648"/>
                </a:lnTo>
                <a:cubicBezTo>
                  <a:pt x="6094528" y="2080693"/>
                  <a:pt x="6106911" y="2034021"/>
                  <a:pt x="6085956" y="1997826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14" name="Graphic 509">
            <a:extLst>
              <a:ext uri="{FF2B5EF4-FFF2-40B4-BE49-F238E27FC236}">
                <a16:creationId xmlns:a16="http://schemas.microsoft.com/office/drawing/2014/main" id="{D48AEFF9-16F1-47EA-9DE7-3D13F8106E21}"/>
              </a:ext>
            </a:extLst>
          </p:cNvPr>
          <p:cNvSpPr>
            <a:spLocks noChangeAspect="1"/>
          </p:cNvSpPr>
          <p:nvPr/>
        </p:nvSpPr>
        <p:spPr>
          <a:xfrm>
            <a:off x="642450" y="5841029"/>
            <a:ext cx="359100" cy="410400"/>
          </a:xfrm>
          <a:custGeom>
            <a:avLst/>
            <a:gdLst>
              <a:gd name="connsiteX0" fmla="*/ 3042285 w 4267200"/>
              <a:gd name="connsiteY0" fmla="*/ 3053715 h 4876800"/>
              <a:gd name="connsiteX1" fmla="*/ 2133600 w 4267200"/>
              <a:gd name="connsiteY1" fmla="*/ 3810000 h 4876800"/>
              <a:gd name="connsiteX2" fmla="*/ 1224915 w 4267200"/>
              <a:gd name="connsiteY2" fmla="*/ 3053715 h 4876800"/>
              <a:gd name="connsiteX3" fmla="*/ 0 w 4267200"/>
              <a:gd name="connsiteY3" fmla="*/ 4419600 h 4876800"/>
              <a:gd name="connsiteX4" fmla="*/ 457200 w 4267200"/>
              <a:gd name="connsiteY4" fmla="*/ 4876800 h 4876800"/>
              <a:gd name="connsiteX5" fmla="*/ 3810000 w 4267200"/>
              <a:gd name="connsiteY5" fmla="*/ 4876800 h 4876800"/>
              <a:gd name="connsiteX6" fmla="*/ 4267200 w 4267200"/>
              <a:gd name="connsiteY6" fmla="*/ 4419600 h 4876800"/>
              <a:gd name="connsiteX7" fmla="*/ 3042285 w 4267200"/>
              <a:gd name="connsiteY7" fmla="*/ 3053715 h 4876800"/>
              <a:gd name="connsiteX8" fmla="*/ 1981200 w 4267200"/>
              <a:gd name="connsiteY8" fmla="*/ 4572000 h 4876800"/>
              <a:gd name="connsiteX9" fmla="*/ 457200 w 4267200"/>
              <a:gd name="connsiteY9" fmla="*/ 4572000 h 4876800"/>
              <a:gd name="connsiteX10" fmla="*/ 304800 w 4267200"/>
              <a:gd name="connsiteY10" fmla="*/ 4419600 h 4876800"/>
              <a:gd name="connsiteX11" fmla="*/ 1127760 w 4267200"/>
              <a:gd name="connsiteY11" fmla="*/ 3368993 h 4876800"/>
              <a:gd name="connsiteX12" fmla="*/ 1981200 w 4267200"/>
              <a:gd name="connsiteY12" fmla="*/ 4079558 h 4876800"/>
              <a:gd name="connsiteX13" fmla="*/ 1981200 w 4267200"/>
              <a:gd name="connsiteY13" fmla="*/ 4572000 h 4876800"/>
              <a:gd name="connsiteX14" fmla="*/ 3962400 w 4267200"/>
              <a:gd name="connsiteY14" fmla="*/ 4419600 h 4876800"/>
              <a:gd name="connsiteX15" fmla="*/ 3810000 w 4267200"/>
              <a:gd name="connsiteY15" fmla="*/ 4572000 h 4876800"/>
              <a:gd name="connsiteX16" fmla="*/ 2286000 w 4267200"/>
              <a:gd name="connsiteY16" fmla="*/ 4572000 h 4876800"/>
              <a:gd name="connsiteX17" fmla="*/ 2286000 w 4267200"/>
              <a:gd name="connsiteY17" fmla="*/ 4079558 h 4876800"/>
              <a:gd name="connsiteX18" fmla="*/ 3139440 w 4267200"/>
              <a:gd name="connsiteY18" fmla="*/ 3368993 h 4876800"/>
              <a:gd name="connsiteX19" fmla="*/ 3962400 w 4267200"/>
              <a:gd name="connsiteY19" fmla="*/ 4419600 h 4876800"/>
              <a:gd name="connsiteX20" fmla="*/ 125730 w 4267200"/>
              <a:gd name="connsiteY20" fmla="*/ 952500 h 4876800"/>
              <a:gd name="connsiteX21" fmla="*/ 190500 w 4267200"/>
              <a:gd name="connsiteY21" fmla="*/ 971550 h 4876800"/>
              <a:gd name="connsiteX22" fmla="*/ 190500 w 4267200"/>
              <a:gd name="connsiteY22" fmla="*/ 1329690 h 4876800"/>
              <a:gd name="connsiteX23" fmla="*/ 76200 w 4267200"/>
              <a:gd name="connsiteY23" fmla="*/ 1523048 h 4876800"/>
              <a:gd name="connsiteX24" fmla="*/ 181928 w 4267200"/>
              <a:gd name="connsiteY24" fmla="*/ 1710690 h 4876800"/>
              <a:gd name="connsiteX25" fmla="*/ 33338 w 4267200"/>
              <a:gd name="connsiteY25" fmla="*/ 2305050 h 4876800"/>
              <a:gd name="connsiteX26" fmla="*/ 105728 w 4267200"/>
              <a:gd name="connsiteY26" fmla="*/ 2438400 h 4876800"/>
              <a:gd name="connsiteX27" fmla="*/ 503873 w 4267200"/>
              <a:gd name="connsiteY27" fmla="*/ 2438400 h 4876800"/>
              <a:gd name="connsiteX28" fmla="*/ 576263 w 4267200"/>
              <a:gd name="connsiteY28" fmla="*/ 2305050 h 4876800"/>
              <a:gd name="connsiteX29" fmla="*/ 427673 w 4267200"/>
              <a:gd name="connsiteY29" fmla="*/ 1711643 h 4876800"/>
              <a:gd name="connsiteX30" fmla="*/ 533400 w 4267200"/>
              <a:gd name="connsiteY30" fmla="*/ 1524000 h 4876800"/>
              <a:gd name="connsiteX31" fmla="*/ 419100 w 4267200"/>
              <a:gd name="connsiteY31" fmla="*/ 1330643 h 4876800"/>
              <a:gd name="connsiteX32" fmla="*/ 419100 w 4267200"/>
              <a:gd name="connsiteY32" fmla="*/ 1040130 h 4876800"/>
              <a:gd name="connsiteX33" fmla="*/ 863918 w 4267200"/>
              <a:gd name="connsiteY33" fmla="*/ 1171575 h 4876800"/>
              <a:gd name="connsiteX34" fmla="*/ 762000 w 4267200"/>
              <a:gd name="connsiteY34" fmla="*/ 1676400 h 4876800"/>
              <a:gd name="connsiteX35" fmla="*/ 2133600 w 4267200"/>
              <a:gd name="connsiteY35" fmla="*/ 3048000 h 4876800"/>
              <a:gd name="connsiteX36" fmla="*/ 3505200 w 4267200"/>
              <a:gd name="connsiteY36" fmla="*/ 1676400 h 4876800"/>
              <a:gd name="connsiteX37" fmla="*/ 3403283 w 4267200"/>
              <a:gd name="connsiteY37" fmla="*/ 1171575 h 4876800"/>
              <a:gd name="connsiteX38" fmla="*/ 4141470 w 4267200"/>
              <a:gd name="connsiteY38" fmla="*/ 952500 h 4876800"/>
              <a:gd name="connsiteX39" fmla="*/ 4141470 w 4267200"/>
              <a:gd name="connsiteY39" fmla="*/ 571500 h 4876800"/>
              <a:gd name="connsiteX40" fmla="*/ 2294573 w 4267200"/>
              <a:gd name="connsiteY40" fmla="*/ 23813 h 4876800"/>
              <a:gd name="connsiteX41" fmla="*/ 2133600 w 4267200"/>
              <a:gd name="connsiteY41" fmla="*/ 0 h 4876800"/>
              <a:gd name="connsiteX42" fmla="*/ 1972628 w 4267200"/>
              <a:gd name="connsiteY42" fmla="*/ 23813 h 4876800"/>
              <a:gd name="connsiteX43" fmla="*/ 125730 w 4267200"/>
              <a:gd name="connsiteY43" fmla="*/ 571500 h 4876800"/>
              <a:gd name="connsiteX44" fmla="*/ 125730 w 4267200"/>
              <a:gd name="connsiteY44" fmla="*/ 952500 h 4876800"/>
              <a:gd name="connsiteX45" fmla="*/ 2133600 w 4267200"/>
              <a:gd name="connsiteY45" fmla="*/ 2743200 h 4876800"/>
              <a:gd name="connsiteX46" fmla="*/ 1066800 w 4267200"/>
              <a:gd name="connsiteY46" fmla="*/ 1676400 h 4876800"/>
              <a:gd name="connsiteX47" fmla="*/ 1158240 w 4267200"/>
              <a:gd name="connsiteY47" fmla="*/ 1259205 h 4876800"/>
              <a:gd name="connsiteX48" fmla="*/ 1972628 w 4267200"/>
              <a:gd name="connsiteY48" fmla="*/ 1501140 h 4876800"/>
              <a:gd name="connsiteX49" fmla="*/ 2294573 w 4267200"/>
              <a:gd name="connsiteY49" fmla="*/ 1501140 h 4876800"/>
              <a:gd name="connsiteX50" fmla="*/ 3108960 w 4267200"/>
              <a:gd name="connsiteY50" fmla="*/ 1259205 h 4876800"/>
              <a:gd name="connsiteX51" fmla="*/ 3200400 w 4267200"/>
              <a:gd name="connsiteY51" fmla="*/ 1676400 h 4876800"/>
              <a:gd name="connsiteX52" fmla="*/ 2133600 w 4267200"/>
              <a:gd name="connsiteY52" fmla="*/ 2743200 h 4876800"/>
              <a:gd name="connsiteX53" fmla="*/ 2059305 w 4267200"/>
              <a:gd name="connsiteY53" fmla="*/ 315278 h 4876800"/>
              <a:gd name="connsiteX54" fmla="*/ 2207895 w 4267200"/>
              <a:gd name="connsiteY54" fmla="*/ 315278 h 4876800"/>
              <a:gd name="connsiteX55" fmla="*/ 3712845 w 4267200"/>
              <a:gd name="connsiteY55" fmla="*/ 762000 h 4876800"/>
              <a:gd name="connsiteX56" fmla="*/ 2207895 w 4267200"/>
              <a:gd name="connsiteY56" fmla="*/ 1208723 h 4876800"/>
              <a:gd name="connsiteX57" fmla="*/ 2059305 w 4267200"/>
              <a:gd name="connsiteY57" fmla="*/ 1208723 h 4876800"/>
              <a:gd name="connsiteX58" fmla="*/ 554355 w 4267200"/>
              <a:gd name="connsiteY58" fmla="*/ 762000 h 4876800"/>
              <a:gd name="connsiteX59" fmla="*/ 2059305 w 4267200"/>
              <a:gd name="connsiteY59" fmla="*/ 315278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4267200" h="4876800">
                <a:moveTo>
                  <a:pt x="3042285" y="3053715"/>
                </a:moveTo>
                <a:lnTo>
                  <a:pt x="2133600" y="3810000"/>
                </a:lnTo>
                <a:lnTo>
                  <a:pt x="1224915" y="3053715"/>
                </a:lnTo>
                <a:cubicBezTo>
                  <a:pt x="1049655" y="3061335"/>
                  <a:pt x="0" y="3201353"/>
                  <a:pt x="0" y="4419600"/>
                </a:cubicBezTo>
                <a:cubicBezTo>
                  <a:pt x="0" y="4672013"/>
                  <a:pt x="204788" y="4876800"/>
                  <a:pt x="457200" y="4876800"/>
                </a:cubicBezTo>
                <a:lnTo>
                  <a:pt x="3810000" y="4876800"/>
                </a:lnTo>
                <a:cubicBezTo>
                  <a:pt x="4062413" y="4876800"/>
                  <a:pt x="4267200" y="4672013"/>
                  <a:pt x="4267200" y="4419600"/>
                </a:cubicBezTo>
                <a:cubicBezTo>
                  <a:pt x="4267200" y="3201353"/>
                  <a:pt x="3218498" y="3061335"/>
                  <a:pt x="3042285" y="3053715"/>
                </a:cubicBezTo>
                <a:close/>
                <a:moveTo>
                  <a:pt x="1981200" y="4572000"/>
                </a:moveTo>
                <a:lnTo>
                  <a:pt x="457200" y="4572000"/>
                </a:lnTo>
                <a:cubicBezTo>
                  <a:pt x="373380" y="4572000"/>
                  <a:pt x="304800" y="4503420"/>
                  <a:pt x="304800" y="4419600"/>
                </a:cubicBezTo>
                <a:cubicBezTo>
                  <a:pt x="304800" y="3470910"/>
                  <a:pt x="1105853" y="3372803"/>
                  <a:pt x="1127760" y="3368993"/>
                </a:cubicBezTo>
                <a:lnTo>
                  <a:pt x="1981200" y="4079558"/>
                </a:lnTo>
                <a:lnTo>
                  <a:pt x="1981200" y="4572000"/>
                </a:lnTo>
                <a:close/>
                <a:moveTo>
                  <a:pt x="3962400" y="4419600"/>
                </a:moveTo>
                <a:cubicBezTo>
                  <a:pt x="3962400" y="4503420"/>
                  <a:pt x="3893820" y="4572000"/>
                  <a:pt x="3810000" y="4572000"/>
                </a:cubicBezTo>
                <a:lnTo>
                  <a:pt x="2286000" y="4572000"/>
                </a:lnTo>
                <a:lnTo>
                  <a:pt x="2286000" y="4079558"/>
                </a:lnTo>
                <a:lnTo>
                  <a:pt x="3139440" y="3368993"/>
                </a:lnTo>
                <a:cubicBezTo>
                  <a:pt x="3161348" y="3372803"/>
                  <a:pt x="3962400" y="3470910"/>
                  <a:pt x="3962400" y="4419600"/>
                </a:cubicBezTo>
                <a:close/>
                <a:moveTo>
                  <a:pt x="125730" y="952500"/>
                </a:moveTo>
                <a:lnTo>
                  <a:pt x="190500" y="971550"/>
                </a:lnTo>
                <a:lnTo>
                  <a:pt x="190500" y="1329690"/>
                </a:lnTo>
                <a:cubicBezTo>
                  <a:pt x="123825" y="1369695"/>
                  <a:pt x="76200" y="1439228"/>
                  <a:pt x="76200" y="1523048"/>
                </a:cubicBezTo>
                <a:cubicBezTo>
                  <a:pt x="76200" y="1603058"/>
                  <a:pt x="120015" y="1669733"/>
                  <a:pt x="181928" y="1710690"/>
                </a:cubicBezTo>
                <a:lnTo>
                  <a:pt x="33338" y="2305050"/>
                </a:lnTo>
                <a:cubicBezTo>
                  <a:pt x="17145" y="2370773"/>
                  <a:pt x="53340" y="2438400"/>
                  <a:pt x="105728" y="2438400"/>
                </a:cubicBezTo>
                <a:lnTo>
                  <a:pt x="503873" y="2438400"/>
                </a:lnTo>
                <a:cubicBezTo>
                  <a:pt x="556260" y="2438400"/>
                  <a:pt x="592455" y="2370773"/>
                  <a:pt x="576263" y="2305050"/>
                </a:cubicBezTo>
                <a:lnTo>
                  <a:pt x="427673" y="1711643"/>
                </a:lnTo>
                <a:cubicBezTo>
                  <a:pt x="489585" y="1670685"/>
                  <a:pt x="533400" y="1604010"/>
                  <a:pt x="533400" y="1524000"/>
                </a:cubicBezTo>
                <a:cubicBezTo>
                  <a:pt x="533400" y="1440180"/>
                  <a:pt x="485775" y="1370648"/>
                  <a:pt x="419100" y="1330643"/>
                </a:cubicBezTo>
                <a:lnTo>
                  <a:pt x="419100" y="1040130"/>
                </a:lnTo>
                <a:lnTo>
                  <a:pt x="863918" y="1171575"/>
                </a:lnTo>
                <a:cubicBezTo>
                  <a:pt x="800100" y="1327785"/>
                  <a:pt x="762000" y="1497330"/>
                  <a:pt x="762000" y="1676400"/>
                </a:cubicBezTo>
                <a:cubicBezTo>
                  <a:pt x="762000" y="2433638"/>
                  <a:pt x="1376363" y="3048000"/>
                  <a:pt x="2133600" y="3048000"/>
                </a:cubicBezTo>
                <a:cubicBezTo>
                  <a:pt x="2890838" y="3048000"/>
                  <a:pt x="3505200" y="2433638"/>
                  <a:pt x="3505200" y="1676400"/>
                </a:cubicBezTo>
                <a:cubicBezTo>
                  <a:pt x="3505200" y="1497330"/>
                  <a:pt x="3467100" y="1327785"/>
                  <a:pt x="3403283" y="1171575"/>
                </a:cubicBezTo>
                <a:lnTo>
                  <a:pt x="4141470" y="952500"/>
                </a:lnTo>
                <a:cubicBezTo>
                  <a:pt x="4309110" y="902970"/>
                  <a:pt x="4309110" y="621030"/>
                  <a:pt x="4141470" y="571500"/>
                </a:cubicBezTo>
                <a:lnTo>
                  <a:pt x="2294573" y="23813"/>
                </a:lnTo>
                <a:cubicBezTo>
                  <a:pt x="2241233" y="7620"/>
                  <a:pt x="2187893" y="0"/>
                  <a:pt x="2133600" y="0"/>
                </a:cubicBezTo>
                <a:cubicBezTo>
                  <a:pt x="2079308" y="0"/>
                  <a:pt x="2025968" y="7620"/>
                  <a:pt x="1972628" y="23813"/>
                </a:cubicBezTo>
                <a:lnTo>
                  <a:pt x="125730" y="571500"/>
                </a:lnTo>
                <a:cubicBezTo>
                  <a:pt x="-41910" y="621030"/>
                  <a:pt x="-41910" y="902970"/>
                  <a:pt x="125730" y="952500"/>
                </a:cubicBezTo>
                <a:close/>
                <a:moveTo>
                  <a:pt x="2133600" y="2743200"/>
                </a:moveTo>
                <a:cubicBezTo>
                  <a:pt x="1544955" y="2743200"/>
                  <a:pt x="1066800" y="2265045"/>
                  <a:pt x="1066800" y="1676400"/>
                </a:cubicBezTo>
                <a:cubicBezTo>
                  <a:pt x="1066800" y="1526858"/>
                  <a:pt x="1102043" y="1387793"/>
                  <a:pt x="1158240" y="1259205"/>
                </a:cubicBezTo>
                <a:lnTo>
                  <a:pt x="1972628" y="1501140"/>
                </a:lnTo>
                <a:cubicBezTo>
                  <a:pt x="2113598" y="1543050"/>
                  <a:pt x="2231708" y="1520190"/>
                  <a:pt x="2294573" y="1501140"/>
                </a:cubicBezTo>
                <a:lnTo>
                  <a:pt x="3108960" y="1259205"/>
                </a:lnTo>
                <a:cubicBezTo>
                  <a:pt x="3165158" y="1387793"/>
                  <a:pt x="3200400" y="1527810"/>
                  <a:pt x="3200400" y="1676400"/>
                </a:cubicBezTo>
                <a:cubicBezTo>
                  <a:pt x="3200400" y="2265045"/>
                  <a:pt x="2722245" y="2743200"/>
                  <a:pt x="2133600" y="2743200"/>
                </a:cubicBezTo>
                <a:close/>
                <a:moveTo>
                  <a:pt x="2059305" y="315278"/>
                </a:moveTo>
                <a:cubicBezTo>
                  <a:pt x="2066925" y="313373"/>
                  <a:pt x="2128838" y="292418"/>
                  <a:pt x="2207895" y="315278"/>
                </a:cubicBezTo>
                <a:lnTo>
                  <a:pt x="3712845" y="762000"/>
                </a:lnTo>
                <a:lnTo>
                  <a:pt x="2207895" y="1208723"/>
                </a:lnTo>
                <a:cubicBezTo>
                  <a:pt x="2200275" y="1210628"/>
                  <a:pt x="2138363" y="1231583"/>
                  <a:pt x="2059305" y="1208723"/>
                </a:cubicBezTo>
                <a:lnTo>
                  <a:pt x="554355" y="762000"/>
                </a:lnTo>
                <a:lnTo>
                  <a:pt x="2059305" y="315278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962545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F1E88FFF-D7C9-4AB3-B400-D041C3ADDF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252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F1E88FFF-D7C9-4AB3-B400-D041C3ADDF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E3808A26-41A4-4F3B-AD91-9329AAB72A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Agenda</a:t>
            </a:r>
            <a:endParaRPr lang="de-D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AC28584-27F2-46DF-898C-72491139B3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01</a:t>
            </a:r>
            <a:endParaRPr lang="de-D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4A863BF-8EAE-4D39-B18F-6A46910134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>
                <a:cs typeface="Segoe UI" panose="020B0502040204020203" pitchFamily="34" charset="0"/>
              </a:rPr>
              <a:t>Einführung</a:t>
            </a:r>
            <a:endParaRPr lang="de-DE" dirty="0">
              <a:cs typeface="Segoe UI" panose="020B0502040204020203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AB60FE2-40A2-4617-B8BE-C6B2A4CCFBA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/>
              <a:t>02</a:t>
            </a:r>
            <a:endParaRPr lang="de-DE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D1CB599-60E1-40A6-9691-043F23814A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201047" y="2504606"/>
            <a:ext cx="7596000" cy="276999"/>
          </a:xfrm>
        </p:spPr>
        <p:txBody>
          <a:bodyPr/>
          <a:lstStyle/>
          <a:p>
            <a:r>
              <a:rPr lang="de-DE"/>
              <a:t>Inflectra und deren Produkte</a:t>
            </a:r>
            <a:endParaRPr lang="de-DE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426D1FA-F6ED-4C98-B145-4FD1DAA9B57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/>
              <a:t>03</a:t>
            </a:r>
            <a:endParaRPr lang="de-D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DFACE558-F798-4984-84BD-9C4D9952747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01047" y="3344699"/>
            <a:ext cx="7596000" cy="276999"/>
          </a:xfrm>
        </p:spPr>
        <p:txBody>
          <a:bodyPr/>
          <a:lstStyle/>
          <a:p>
            <a:r>
              <a:rPr lang="de-DE"/>
              <a:t>Portfolio der PTA</a:t>
            </a:r>
            <a:endParaRPr lang="de-DE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80A40C0-ACEE-4E69-A07B-2BAEACBCD23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/>
              <a:t>04</a:t>
            </a:r>
            <a:endParaRPr lang="de-DE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F015A67-5F7F-4CAD-9F25-A40BFB59D67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201047" y="4184794"/>
            <a:ext cx="7596000" cy="276999"/>
          </a:xfrm>
        </p:spPr>
        <p:txBody>
          <a:bodyPr/>
          <a:lstStyle/>
          <a:p>
            <a:r>
              <a:rPr lang="de-DE"/>
              <a:t>Hosting der Inflectra-Produkte</a:t>
            </a:r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EA3997F-2737-4530-962E-02A70503234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94E85D0-DC6B-4EB7-BC8E-5215E23903E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7778445-B2A5-4291-9545-04A2CE41206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98D16D-0D62-49D6-A2C6-8C230B76E94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480175"/>
            <a:ext cx="215900" cy="139700"/>
          </a:xfrm>
        </p:spPr>
        <p:txBody>
          <a:bodyPr/>
          <a:lstStyle/>
          <a:p>
            <a:fld id="{DF58692B-9CFC-42D8-9B64-0B547ADAD28E}" type="slidenum">
              <a:rPr lang="de-DE" noProof="0" smtClean="0"/>
              <a:pPr/>
              <a:t>2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8165800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B5A45386-3C6E-4A6B-ABB3-27DE9DF3E2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0808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B5A45386-3C6E-4A6B-ABB3-27DE9DF3E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621DA415-35A2-4A56-B44C-65F784A7B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Hosting der Inflectra-Produkte</a:t>
            </a:r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1E784E0-206A-4531-8BB2-DBD698362E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0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58791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97AA848-A0DB-4864-8155-7731EF4EF7F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5379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97AA848-A0DB-4864-8155-7731EF4EF7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7E29E2-7E98-4C99-90AA-241235C586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Unternehmensprofil DATIS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E7B4B5-E60E-4C7D-B88A-C353B4EED4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 dirty="0">
                <a:solidFill>
                  <a:schemeClr val="accent4"/>
                </a:solidFill>
              </a:rPr>
              <a:t>PTA – Vorstellung </a:t>
            </a:r>
            <a:r>
              <a:rPr lang="de-DE" noProof="0" dirty="0" err="1">
                <a:solidFill>
                  <a:schemeClr val="accent4"/>
                </a:solidFill>
              </a:rPr>
              <a:t>Inflectra</a:t>
            </a:r>
            <a:endParaRPr lang="de-DE" noProof="0" dirty="0">
              <a:solidFill>
                <a:schemeClr val="accent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98D16D-0D62-49D6-A2C6-8C230B76E9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F58692B-9CFC-42D8-9B64-0B547ADAD28E}" type="slidenum">
              <a:rPr lang="de-DE" noProof="0" smtClean="0"/>
              <a:pPr/>
              <a:t>21</a:t>
            </a:fld>
            <a:endParaRPr lang="de-DE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8316DF-9856-4AF6-9D33-406D66B007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0000" y="1664804"/>
            <a:ext cx="11232000" cy="325921"/>
          </a:xfrm>
        </p:spPr>
        <p:txBody>
          <a:bodyPr/>
          <a:lstStyle/>
          <a:p>
            <a:r>
              <a:rPr lang="de-DE"/>
              <a:t>Übersicht</a:t>
            </a:r>
            <a:endParaRPr lang="de-DE" dirty="0"/>
          </a:p>
        </p:txBody>
      </p:sp>
      <p:sp>
        <p:nvSpPr>
          <p:cNvPr id="14" name="Rechteck 10">
            <a:extLst>
              <a:ext uri="{FF2B5EF4-FFF2-40B4-BE49-F238E27FC236}">
                <a16:creationId xmlns:a16="http://schemas.microsoft.com/office/drawing/2014/main" id="{6C4B40F3-ABE5-40C4-BCA7-34D078DCD3DF}"/>
              </a:ext>
            </a:extLst>
          </p:cNvPr>
          <p:cNvSpPr/>
          <p:nvPr/>
        </p:nvSpPr>
        <p:spPr>
          <a:xfrm>
            <a:off x="480000" y="2062262"/>
            <a:ext cx="684000" cy="68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822DCDD-E2A7-481F-AA48-87BF20C7CA44}"/>
              </a:ext>
            </a:extLst>
          </p:cNvPr>
          <p:cNvSpPr txBox="1">
            <a:spLocks/>
          </p:cNvSpPr>
          <p:nvPr/>
        </p:nvSpPr>
        <p:spPr bwMode="gray">
          <a:xfrm>
            <a:off x="1274736" y="2062262"/>
            <a:ext cx="10437839" cy="68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600" b="1" dirty="0">
                <a:latin typeface="+mj-lt"/>
                <a:cs typeface="Segoe UI" panose="020B0502040204020203" pitchFamily="34" charset="0"/>
              </a:rPr>
              <a:t>Gründung:</a:t>
            </a:r>
          </a:p>
          <a:p>
            <a:pPr lvl="1"/>
            <a:r>
              <a:rPr lang="de-DE" sz="1600" dirty="0">
                <a:cs typeface="Segoe UI" panose="020B0502040204020203" pitchFamily="34" charset="0"/>
              </a:rPr>
              <a:t>1969 </a:t>
            </a:r>
          </a:p>
        </p:txBody>
      </p:sp>
      <p:sp>
        <p:nvSpPr>
          <p:cNvPr id="18" name="Rechteck 10">
            <a:extLst>
              <a:ext uri="{FF2B5EF4-FFF2-40B4-BE49-F238E27FC236}">
                <a16:creationId xmlns:a16="http://schemas.microsoft.com/office/drawing/2014/main" id="{8811D5ED-FDFF-4515-AD37-1B9CFC2C9BFD}"/>
              </a:ext>
            </a:extLst>
          </p:cNvPr>
          <p:cNvSpPr/>
          <p:nvPr/>
        </p:nvSpPr>
        <p:spPr>
          <a:xfrm>
            <a:off x="480000" y="2928257"/>
            <a:ext cx="684000" cy="68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FFB8D553-FDFA-41EE-BDB4-A68ECBE170C6}"/>
              </a:ext>
            </a:extLst>
          </p:cNvPr>
          <p:cNvSpPr txBox="1">
            <a:spLocks/>
          </p:cNvSpPr>
          <p:nvPr/>
        </p:nvSpPr>
        <p:spPr bwMode="gray">
          <a:xfrm>
            <a:off x="1274736" y="2928257"/>
            <a:ext cx="10437839" cy="68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600" b="1" dirty="0">
                <a:latin typeface="+mj-lt"/>
                <a:cs typeface="Segoe UI" panose="020B0502040204020203" pitchFamily="34" charset="0"/>
              </a:rPr>
              <a:t>Mitarbeiter:</a:t>
            </a:r>
          </a:p>
          <a:p>
            <a:pPr lvl="1"/>
            <a:r>
              <a:rPr lang="de-DE" sz="1600" b="0">
                <a:solidFill>
                  <a:schemeClr val="tx1"/>
                </a:solidFill>
              </a:rPr>
              <a:t>50</a:t>
            </a:r>
            <a:r>
              <a:rPr lang="de-DE" sz="1600">
                <a:cs typeface="Segoe UI" panose="020B0502040204020203" pitchFamily="34" charset="0"/>
              </a:rPr>
              <a:t> </a:t>
            </a:r>
            <a:endParaRPr lang="de-DE" sz="1600" dirty="0">
              <a:cs typeface="Segoe UI" panose="020B0502040204020203" pitchFamily="34" charset="0"/>
            </a:endParaRPr>
          </a:p>
        </p:txBody>
      </p:sp>
      <p:sp>
        <p:nvSpPr>
          <p:cNvPr id="20" name="Rechteck 10">
            <a:extLst>
              <a:ext uri="{FF2B5EF4-FFF2-40B4-BE49-F238E27FC236}">
                <a16:creationId xmlns:a16="http://schemas.microsoft.com/office/drawing/2014/main" id="{AC04DADB-F272-495D-B5D5-E237077598CF}"/>
              </a:ext>
            </a:extLst>
          </p:cNvPr>
          <p:cNvSpPr/>
          <p:nvPr/>
        </p:nvSpPr>
        <p:spPr>
          <a:xfrm>
            <a:off x="480000" y="3794252"/>
            <a:ext cx="684000" cy="68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2FCF17FB-B817-430C-A6FB-759FFF98BD92}"/>
              </a:ext>
            </a:extLst>
          </p:cNvPr>
          <p:cNvSpPr txBox="1">
            <a:spLocks/>
          </p:cNvSpPr>
          <p:nvPr/>
        </p:nvSpPr>
        <p:spPr bwMode="gray">
          <a:xfrm>
            <a:off x="1274736" y="3794252"/>
            <a:ext cx="10437839" cy="68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600" b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unden</a:t>
            </a:r>
            <a:r>
              <a:rPr lang="de-DE" sz="1600" b="1">
                <a:latin typeface="+mj-lt"/>
                <a:cs typeface="Segoe UI" panose="020B0502040204020203" pitchFamily="34" charset="0"/>
              </a:rPr>
              <a:t>:</a:t>
            </a:r>
            <a:endParaRPr lang="de-DE" sz="1600" b="1" dirty="0">
              <a:latin typeface="+mj-lt"/>
              <a:cs typeface="Segoe UI" panose="020B0502040204020203" pitchFamily="34" charset="0"/>
            </a:endParaRPr>
          </a:p>
          <a:p>
            <a:pPr lvl="1"/>
            <a:r>
              <a:rPr lang="de-DE" sz="1600" b="0">
                <a:solidFill>
                  <a:schemeClr val="tx1"/>
                </a:solidFill>
              </a:rPr>
              <a:t>mittelständisches Unternehmen, branchenunabhängig</a:t>
            </a:r>
            <a:endParaRPr lang="de-DE" sz="1600" b="0" dirty="0">
              <a:solidFill>
                <a:schemeClr val="tx1"/>
              </a:solidFill>
            </a:endParaRPr>
          </a:p>
        </p:txBody>
      </p:sp>
      <p:sp>
        <p:nvSpPr>
          <p:cNvPr id="22" name="Rechteck 10">
            <a:extLst>
              <a:ext uri="{FF2B5EF4-FFF2-40B4-BE49-F238E27FC236}">
                <a16:creationId xmlns:a16="http://schemas.microsoft.com/office/drawing/2014/main" id="{DA569E3F-9D8E-4441-9B01-C84E751E24A9}"/>
              </a:ext>
            </a:extLst>
          </p:cNvPr>
          <p:cNvSpPr/>
          <p:nvPr/>
        </p:nvSpPr>
        <p:spPr>
          <a:xfrm>
            <a:off x="480000" y="4660248"/>
            <a:ext cx="684000" cy="68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7DF3DE4D-21BC-4027-9A68-E6435663FF94}"/>
              </a:ext>
            </a:extLst>
          </p:cNvPr>
          <p:cNvSpPr txBox="1">
            <a:spLocks/>
          </p:cNvSpPr>
          <p:nvPr/>
        </p:nvSpPr>
        <p:spPr bwMode="gray">
          <a:xfrm>
            <a:off x="1274736" y="4660247"/>
            <a:ext cx="10437839" cy="8587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600" b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ortfolio &amp; Services</a:t>
            </a:r>
            <a:r>
              <a:rPr lang="de-DE" sz="1600" b="1">
                <a:latin typeface="+mj-lt"/>
                <a:cs typeface="Segoe UI" panose="020B0502040204020203" pitchFamily="34" charset="0"/>
              </a:rPr>
              <a:t>:</a:t>
            </a:r>
            <a:endParaRPr lang="de-DE" sz="1600" b="1" dirty="0">
              <a:latin typeface="+mj-lt"/>
              <a:cs typeface="Segoe UI" panose="020B0502040204020203" pitchFamily="34" charset="0"/>
            </a:endParaRPr>
          </a:p>
          <a:p>
            <a:pPr lvl="1"/>
            <a:r>
              <a:rPr lang="de-DE" sz="1600" b="0">
                <a:solidFill>
                  <a:schemeClr val="tx1"/>
                </a:solidFill>
              </a:rPr>
              <a:t>Individuelles Housing, Full Service Hosting, IT-Outsourcing, EDI, Backup as a Service, Disaster Recovery as a Service und Managed Services</a:t>
            </a:r>
            <a:endParaRPr lang="de-DE" sz="1600" b="0" dirty="0">
              <a:solidFill>
                <a:schemeClr val="tx1"/>
              </a:solidFill>
            </a:endParaRPr>
          </a:p>
        </p:txBody>
      </p:sp>
      <p:sp>
        <p:nvSpPr>
          <p:cNvPr id="24" name="Rechteck 10">
            <a:extLst>
              <a:ext uri="{FF2B5EF4-FFF2-40B4-BE49-F238E27FC236}">
                <a16:creationId xmlns:a16="http://schemas.microsoft.com/office/drawing/2014/main" id="{AE86E4C8-0DBF-41DE-AA58-2B07896BFCE6}"/>
              </a:ext>
            </a:extLst>
          </p:cNvPr>
          <p:cNvSpPr/>
          <p:nvPr/>
        </p:nvSpPr>
        <p:spPr>
          <a:xfrm>
            <a:off x="480000" y="5701012"/>
            <a:ext cx="684000" cy="68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e-DE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8BD86C7D-FA17-47B9-B572-98F15F803B2B}"/>
              </a:ext>
            </a:extLst>
          </p:cNvPr>
          <p:cNvSpPr txBox="1">
            <a:spLocks/>
          </p:cNvSpPr>
          <p:nvPr/>
        </p:nvSpPr>
        <p:spPr bwMode="gray">
          <a:xfrm>
            <a:off x="1274736" y="5701012"/>
            <a:ext cx="10437839" cy="68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600" b="1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ndorte</a:t>
            </a:r>
            <a:r>
              <a:rPr lang="de-DE" sz="1600" b="1">
                <a:latin typeface="+mj-lt"/>
                <a:cs typeface="Segoe UI" panose="020B0502040204020203" pitchFamily="34" charset="0"/>
              </a:rPr>
              <a:t>:</a:t>
            </a:r>
            <a:endParaRPr lang="de-DE" sz="1600" b="1" dirty="0">
              <a:latin typeface="+mj-lt"/>
              <a:cs typeface="Segoe UI" panose="020B0502040204020203" pitchFamily="34" charset="0"/>
            </a:endParaRPr>
          </a:p>
          <a:p>
            <a:pPr lvl="1"/>
            <a:r>
              <a:rPr lang="de-DE" sz="1600" b="0" dirty="0">
                <a:solidFill>
                  <a:schemeClr val="tx1"/>
                </a:solidFill>
              </a:rPr>
              <a:t>Zwei DIN ISO 27001 zertifizierte Rechenzentren in Mannheim</a:t>
            </a:r>
          </a:p>
        </p:txBody>
      </p:sp>
      <p:cxnSp>
        <p:nvCxnSpPr>
          <p:cNvPr id="28" name="Straight Connector 66">
            <a:extLst>
              <a:ext uri="{FF2B5EF4-FFF2-40B4-BE49-F238E27FC236}">
                <a16:creationId xmlns:a16="http://schemas.microsoft.com/office/drawing/2014/main" id="{D66552F2-8FF7-4F47-9834-001A40084E11}"/>
              </a:ext>
            </a:extLst>
          </p:cNvPr>
          <p:cNvCxnSpPr>
            <a:cxnSpLocks/>
          </p:cNvCxnSpPr>
          <p:nvPr/>
        </p:nvCxnSpPr>
        <p:spPr>
          <a:xfrm>
            <a:off x="479901" y="3703255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66">
            <a:extLst>
              <a:ext uri="{FF2B5EF4-FFF2-40B4-BE49-F238E27FC236}">
                <a16:creationId xmlns:a16="http://schemas.microsoft.com/office/drawing/2014/main" id="{4A12432D-DD33-4D87-8315-46FFEBC34189}"/>
              </a:ext>
            </a:extLst>
          </p:cNvPr>
          <p:cNvCxnSpPr>
            <a:cxnSpLocks/>
          </p:cNvCxnSpPr>
          <p:nvPr/>
        </p:nvCxnSpPr>
        <p:spPr>
          <a:xfrm>
            <a:off x="479901" y="2837260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66">
            <a:extLst>
              <a:ext uri="{FF2B5EF4-FFF2-40B4-BE49-F238E27FC236}">
                <a16:creationId xmlns:a16="http://schemas.microsoft.com/office/drawing/2014/main" id="{75D5973E-F24E-49CB-B217-E05E243B9BB5}"/>
              </a:ext>
            </a:extLst>
          </p:cNvPr>
          <p:cNvCxnSpPr>
            <a:cxnSpLocks/>
          </p:cNvCxnSpPr>
          <p:nvPr/>
        </p:nvCxnSpPr>
        <p:spPr>
          <a:xfrm>
            <a:off x="479901" y="4569250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66">
            <a:extLst>
              <a:ext uri="{FF2B5EF4-FFF2-40B4-BE49-F238E27FC236}">
                <a16:creationId xmlns:a16="http://schemas.microsoft.com/office/drawing/2014/main" id="{D5094995-BB5E-4260-A000-72C62978F41F}"/>
              </a:ext>
            </a:extLst>
          </p:cNvPr>
          <p:cNvCxnSpPr>
            <a:cxnSpLocks/>
          </p:cNvCxnSpPr>
          <p:nvPr/>
        </p:nvCxnSpPr>
        <p:spPr>
          <a:xfrm>
            <a:off x="479901" y="5610015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Graphic 609">
            <a:extLst>
              <a:ext uri="{FF2B5EF4-FFF2-40B4-BE49-F238E27FC236}">
                <a16:creationId xmlns:a16="http://schemas.microsoft.com/office/drawing/2014/main" id="{9D711D19-AE39-454C-BF00-6E027C9AC237}"/>
              </a:ext>
            </a:extLst>
          </p:cNvPr>
          <p:cNvSpPr>
            <a:spLocks noChangeAspect="1"/>
          </p:cNvSpPr>
          <p:nvPr/>
        </p:nvSpPr>
        <p:spPr>
          <a:xfrm>
            <a:off x="565500" y="2199062"/>
            <a:ext cx="513000" cy="410400"/>
          </a:xfrm>
          <a:custGeom>
            <a:avLst/>
            <a:gdLst>
              <a:gd name="connsiteX0" fmla="*/ 457200 w 6096000"/>
              <a:gd name="connsiteY0" fmla="*/ 3962400 h 4876800"/>
              <a:gd name="connsiteX1" fmla="*/ 304800 w 6096000"/>
              <a:gd name="connsiteY1" fmla="*/ 3810000 h 4876800"/>
              <a:gd name="connsiteX2" fmla="*/ 304800 w 6096000"/>
              <a:gd name="connsiteY2" fmla="*/ 2438400 h 4876800"/>
              <a:gd name="connsiteX3" fmla="*/ 1828800 w 6096000"/>
              <a:gd name="connsiteY3" fmla="*/ 2438400 h 4876800"/>
              <a:gd name="connsiteX4" fmla="*/ 1828800 w 6096000"/>
              <a:gd name="connsiteY4" fmla="*/ 2819400 h 4876800"/>
              <a:gd name="connsiteX5" fmla="*/ 2057400 w 6096000"/>
              <a:gd name="connsiteY5" fmla="*/ 3048000 h 4876800"/>
              <a:gd name="connsiteX6" fmla="*/ 2819400 w 6096000"/>
              <a:gd name="connsiteY6" fmla="*/ 3048000 h 4876800"/>
              <a:gd name="connsiteX7" fmla="*/ 3048000 w 6096000"/>
              <a:gd name="connsiteY7" fmla="*/ 2819400 h 4876800"/>
              <a:gd name="connsiteX8" fmla="*/ 3048000 w 6096000"/>
              <a:gd name="connsiteY8" fmla="*/ 2438400 h 4876800"/>
              <a:gd name="connsiteX9" fmla="*/ 3431191 w 6096000"/>
              <a:gd name="connsiteY9" fmla="*/ 2438400 h 4876800"/>
              <a:gd name="connsiteX10" fmla="*/ 3762375 w 6096000"/>
              <a:gd name="connsiteY10" fmla="*/ 2133600 h 4876800"/>
              <a:gd name="connsiteX11" fmla="*/ 304800 w 6096000"/>
              <a:gd name="connsiteY11" fmla="*/ 2133600 h 4876800"/>
              <a:gd name="connsiteX12" fmla="*/ 304800 w 6096000"/>
              <a:gd name="connsiteY12" fmla="*/ 1371600 h 4876800"/>
              <a:gd name="connsiteX13" fmla="*/ 457200 w 6096000"/>
              <a:gd name="connsiteY13" fmla="*/ 1219200 h 4876800"/>
              <a:gd name="connsiteX14" fmla="*/ 4419600 w 6096000"/>
              <a:gd name="connsiteY14" fmla="*/ 1219200 h 4876800"/>
              <a:gd name="connsiteX15" fmla="*/ 4572000 w 6096000"/>
              <a:gd name="connsiteY15" fmla="*/ 1371600 h 4876800"/>
              <a:gd name="connsiteX16" fmla="*/ 4572000 w 6096000"/>
              <a:gd name="connsiteY16" fmla="*/ 1836515 h 4876800"/>
              <a:gd name="connsiteX17" fmla="*/ 4724400 w 6096000"/>
              <a:gd name="connsiteY17" fmla="*/ 1828800 h 4876800"/>
              <a:gd name="connsiteX18" fmla="*/ 4876800 w 6096000"/>
              <a:gd name="connsiteY18" fmla="*/ 1836515 h 4876800"/>
              <a:gd name="connsiteX19" fmla="*/ 4876800 w 6096000"/>
              <a:gd name="connsiteY19" fmla="*/ 1371600 h 4876800"/>
              <a:gd name="connsiteX20" fmla="*/ 4419600 w 6096000"/>
              <a:gd name="connsiteY20" fmla="*/ 914400 h 4876800"/>
              <a:gd name="connsiteX21" fmla="*/ 3352800 w 6096000"/>
              <a:gd name="connsiteY21" fmla="*/ 914400 h 4876800"/>
              <a:gd name="connsiteX22" fmla="*/ 3352800 w 6096000"/>
              <a:gd name="connsiteY22" fmla="*/ 228600 h 4876800"/>
              <a:gd name="connsiteX23" fmla="*/ 3124200 w 6096000"/>
              <a:gd name="connsiteY23" fmla="*/ 0 h 4876800"/>
              <a:gd name="connsiteX24" fmla="*/ 1752600 w 6096000"/>
              <a:gd name="connsiteY24" fmla="*/ 0 h 4876800"/>
              <a:gd name="connsiteX25" fmla="*/ 1524000 w 6096000"/>
              <a:gd name="connsiteY25" fmla="*/ 228600 h 4876800"/>
              <a:gd name="connsiteX26" fmla="*/ 1524000 w 6096000"/>
              <a:gd name="connsiteY26" fmla="*/ 914400 h 4876800"/>
              <a:gd name="connsiteX27" fmla="*/ 457200 w 6096000"/>
              <a:gd name="connsiteY27" fmla="*/ 914400 h 4876800"/>
              <a:gd name="connsiteX28" fmla="*/ 0 w 6096000"/>
              <a:gd name="connsiteY28" fmla="*/ 1371600 h 4876800"/>
              <a:gd name="connsiteX29" fmla="*/ 0 w 6096000"/>
              <a:gd name="connsiteY29" fmla="*/ 3810000 h 4876800"/>
              <a:gd name="connsiteX30" fmla="*/ 457200 w 6096000"/>
              <a:gd name="connsiteY30" fmla="*/ 4267200 h 4876800"/>
              <a:gd name="connsiteX31" fmla="*/ 3232499 w 6096000"/>
              <a:gd name="connsiteY31" fmla="*/ 4267200 h 4876800"/>
              <a:gd name="connsiteX32" fmla="*/ 3112770 w 6096000"/>
              <a:gd name="connsiteY32" fmla="*/ 3962400 h 4876800"/>
              <a:gd name="connsiteX33" fmla="*/ 457200 w 6096000"/>
              <a:gd name="connsiteY33" fmla="*/ 3962400 h 4876800"/>
              <a:gd name="connsiteX34" fmla="*/ 2133600 w 6096000"/>
              <a:gd name="connsiteY34" fmla="*/ 2438400 h 4876800"/>
              <a:gd name="connsiteX35" fmla="*/ 2743200 w 6096000"/>
              <a:gd name="connsiteY35" fmla="*/ 2438400 h 4876800"/>
              <a:gd name="connsiteX36" fmla="*/ 2743200 w 6096000"/>
              <a:gd name="connsiteY36" fmla="*/ 2743200 h 4876800"/>
              <a:gd name="connsiteX37" fmla="*/ 2133600 w 6096000"/>
              <a:gd name="connsiteY37" fmla="*/ 2743200 h 4876800"/>
              <a:gd name="connsiteX38" fmla="*/ 2133600 w 6096000"/>
              <a:gd name="connsiteY38" fmla="*/ 2438400 h 4876800"/>
              <a:gd name="connsiteX39" fmla="*/ 1828800 w 6096000"/>
              <a:gd name="connsiteY39" fmla="*/ 304800 h 4876800"/>
              <a:gd name="connsiteX40" fmla="*/ 3048000 w 6096000"/>
              <a:gd name="connsiteY40" fmla="*/ 304800 h 4876800"/>
              <a:gd name="connsiteX41" fmla="*/ 3048000 w 6096000"/>
              <a:gd name="connsiteY41" fmla="*/ 914400 h 4876800"/>
              <a:gd name="connsiteX42" fmla="*/ 1828800 w 6096000"/>
              <a:gd name="connsiteY42" fmla="*/ 914400 h 4876800"/>
              <a:gd name="connsiteX43" fmla="*/ 1828800 w 6096000"/>
              <a:gd name="connsiteY43" fmla="*/ 304800 h 4876800"/>
              <a:gd name="connsiteX44" fmla="*/ 5241512 w 6096000"/>
              <a:gd name="connsiteY44" fmla="*/ 3352800 h 4876800"/>
              <a:gd name="connsiteX45" fmla="*/ 4876800 w 6096000"/>
              <a:gd name="connsiteY45" fmla="*/ 3352800 h 4876800"/>
              <a:gd name="connsiteX46" fmla="*/ 4876800 w 6096000"/>
              <a:gd name="connsiteY46" fmla="*/ 2835688 h 4876800"/>
              <a:gd name="connsiteX47" fmla="*/ 4784313 w 6096000"/>
              <a:gd name="connsiteY47" fmla="*/ 2743200 h 4876800"/>
              <a:gd name="connsiteX48" fmla="*/ 4664583 w 6096000"/>
              <a:gd name="connsiteY48" fmla="*/ 2743200 h 4876800"/>
              <a:gd name="connsiteX49" fmla="*/ 4572096 w 6096000"/>
              <a:gd name="connsiteY49" fmla="*/ 2835688 h 4876800"/>
              <a:gd name="connsiteX50" fmla="*/ 4572096 w 6096000"/>
              <a:gd name="connsiteY50" fmla="*/ 3565017 h 4876800"/>
              <a:gd name="connsiteX51" fmla="*/ 4664583 w 6096000"/>
              <a:gd name="connsiteY51" fmla="*/ 3657505 h 4876800"/>
              <a:gd name="connsiteX52" fmla="*/ 5241512 w 6096000"/>
              <a:gd name="connsiteY52" fmla="*/ 3657505 h 4876800"/>
              <a:gd name="connsiteX53" fmla="*/ 5334000 w 6096000"/>
              <a:gd name="connsiteY53" fmla="*/ 3565017 h 4876800"/>
              <a:gd name="connsiteX54" fmla="*/ 5334000 w 6096000"/>
              <a:gd name="connsiteY54" fmla="*/ 3445288 h 4876800"/>
              <a:gd name="connsiteX55" fmla="*/ 5241512 w 6096000"/>
              <a:gd name="connsiteY55" fmla="*/ 3352800 h 4876800"/>
              <a:gd name="connsiteX56" fmla="*/ 4724400 w 6096000"/>
              <a:gd name="connsiteY56" fmla="*/ 2133600 h 4876800"/>
              <a:gd name="connsiteX57" fmla="*/ 3352800 w 6096000"/>
              <a:gd name="connsiteY57" fmla="*/ 3505200 h 4876800"/>
              <a:gd name="connsiteX58" fmla="*/ 4724400 w 6096000"/>
              <a:gd name="connsiteY58" fmla="*/ 4876800 h 4876800"/>
              <a:gd name="connsiteX59" fmla="*/ 6096000 w 6096000"/>
              <a:gd name="connsiteY59" fmla="*/ 3505200 h 4876800"/>
              <a:gd name="connsiteX60" fmla="*/ 4724400 w 6096000"/>
              <a:gd name="connsiteY60" fmla="*/ 2133600 h 4876800"/>
              <a:gd name="connsiteX61" fmla="*/ 4724400 w 6096000"/>
              <a:gd name="connsiteY61" fmla="*/ 4572000 h 4876800"/>
              <a:gd name="connsiteX62" fmla="*/ 3657600 w 6096000"/>
              <a:gd name="connsiteY62" fmla="*/ 3505200 h 4876800"/>
              <a:gd name="connsiteX63" fmla="*/ 4724400 w 6096000"/>
              <a:gd name="connsiteY63" fmla="*/ 2438400 h 4876800"/>
              <a:gd name="connsiteX64" fmla="*/ 5791200 w 6096000"/>
              <a:gd name="connsiteY64" fmla="*/ 3505200 h 4876800"/>
              <a:gd name="connsiteX65" fmla="*/ 4724400 w 6096000"/>
              <a:gd name="connsiteY65" fmla="*/ 457200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6096000" h="4876800">
                <a:moveTo>
                  <a:pt x="457200" y="3962400"/>
                </a:moveTo>
                <a:cubicBezTo>
                  <a:pt x="373190" y="3962400"/>
                  <a:pt x="304800" y="3894011"/>
                  <a:pt x="304800" y="3810000"/>
                </a:cubicBezTo>
                <a:lnTo>
                  <a:pt x="304800" y="2438400"/>
                </a:lnTo>
                <a:lnTo>
                  <a:pt x="1828800" y="2438400"/>
                </a:lnTo>
                <a:lnTo>
                  <a:pt x="1828800" y="2819400"/>
                </a:lnTo>
                <a:cubicBezTo>
                  <a:pt x="1828800" y="2945606"/>
                  <a:pt x="1931194" y="3048000"/>
                  <a:pt x="2057400" y="3048000"/>
                </a:cubicBezTo>
                <a:lnTo>
                  <a:pt x="2819400" y="3048000"/>
                </a:lnTo>
                <a:cubicBezTo>
                  <a:pt x="2945606" y="3048000"/>
                  <a:pt x="3048000" y="2945606"/>
                  <a:pt x="3048000" y="2819400"/>
                </a:cubicBezTo>
                <a:lnTo>
                  <a:pt x="3048000" y="2438400"/>
                </a:lnTo>
                <a:lnTo>
                  <a:pt x="3431191" y="2438400"/>
                </a:lnTo>
                <a:cubicBezTo>
                  <a:pt x="3527012" y="2322290"/>
                  <a:pt x="3638931" y="2220278"/>
                  <a:pt x="3762375" y="2133600"/>
                </a:cubicBezTo>
                <a:lnTo>
                  <a:pt x="304800" y="2133600"/>
                </a:lnTo>
                <a:lnTo>
                  <a:pt x="304800" y="1371600"/>
                </a:lnTo>
                <a:cubicBezTo>
                  <a:pt x="304800" y="1287589"/>
                  <a:pt x="373190" y="1219200"/>
                  <a:pt x="457200" y="1219200"/>
                </a:cubicBezTo>
                <a:lnTo>
                  <a:pt x="4419600" y="1219200"/>
                </a:lnTo>
                <a:cubicBezTo>
                  <a:pt x="4503611" y="1219200"/>
                  <a:pt x="4572000" y="1287589"/>
                  <a:pt x="4572000" y="1371600"/>
                </a:cubicBezTo>
                <a:lnTo>
                  <a:pt x="4572000" y="1836515"/>
                </a:lnTo>
                <a:cubicBezTo>
                  <a:pt x="4622292" y="1831943"/>
                  <a:pt x="4672965" y="1828800"/>
                  <a:pt x="4724400" y="1828800"/>
                </a:cubicBezTo>
                <a:cubicBezTo>
                  <a:pt x="4775835" y="1828800"/>
                  <a:pt x="4826508" y="1831943"/>
                  <a:pt x="4876800" y="1836515"/>
                </a:cubicBezTo>
                <a:lnTo>
                  <a:pt x="4876800" y="1371600"/>
                </a:lnTo>
                <a:cubicBezTo>
                  <a:pt x="4876800" y="1119092"/>
                  <a:pt x="4672108" y="914400"/>
                  <a:pt x="4419600" y="914400"/>
                </a:cubicBezTo>
                <a:lnTo>
                  <a:pt x="3352800" y="914400"/>
                </a:lnTo>
                <a:lnTo>
                  <a:pt x="3352800" y="228600"/>
                </a:lnTo>
                <a:cubicBezTo>
                  <a:pt x="3352800" y="102299"/>
                  <a:pt x="3250502" y="0"/>
                  <a:pt x="3124200" y="0"/>
                </a:cubicBezTo>
                <a:lnTo>
                  <a:pt x="1752600" y="0"/>
                </a:lnTo>
                <a:cubicBezTo>
                  <a:pt x="1626299" y="0"/>
                  <a:pt x="1524000" y="102299"/>
                  <a:pt x="1524000" y="228600"/>
                </a:cubicBezTo>
                <a:lnTo>
                  <a:pt x="1524000" y="914400"/>
                </a:lnTo>
                <a:lnTo>
                  <a:pt x="457200" y="914400"/>
                </a:lnTo>
                <a:cubicBezTo>
                  <a:pt x="204692" y="914400"/>
                  <a:pt x="0" y="1119092"/>
                  <a:pt x="0" y="1371600"/>
                </a:cubicBezTo>
                <a:lnTo>
                  <a:pt x="0" y="3810000"/>
                </a:lnTo>
                <a:cubicBezTo>
                  <a:pt x="0" y="4062508"/>
                  <a:pt x="204692" y="4267200"/>
                  <a:pt x="457200" y="4267200"/>
                </a:cubicBezTo>
                <a:lnTo>
                  <a:pt x="3232499" y="4267200"/>
                </a:lnTo>
                <a:cubicBezTo>
                  <a:pt x="3182655" y="4169788"/>
                  <a:pt x="3142555" y="4067689"/>
                  <a:pt x="3112770" y="3962400"/>
                </a:cubicBezTo>
                <a:lnTo>
                  <a:pt x="457200" y="3962400"/>
                </a:lnTo>
                <a:close/>
                <a:moveTo>
                  <a:pt x="2133600" y="2438400"/>
                </a:moveTo>
                <a:lnTo>
                  <a:pt x="2743200" y="2438400"/>
                </a:lnTo>
                <a:lnTo>
                  <a:pt x="2743200" y="2743200"/>
                </a:lnTo>
                <a:lnTo>
                  <a:pt x="2133600" y="2743200"/>
                </a:lnTo>
                <a:lnTo>
                  <a:pt x="2133600" y="2438400"/>
                </a:lnTo>
                <a:close/>
                <a:moveTo>
                  <a:pt x="1828800" y="304800"/>
                </a:moveTo>
                <a:lnTo>
                  <a:pt x="3048000" y="304800"/>
                </a:lnTo>
                <a:lnTo>
                  <a:pt x="3048000" y="914400"/>
                </a:lnTo>
                <a:lnTo>
                  <a:pt x="1828800" y="914400"/>
                </a:lnTo>
                <a:lnTo>
                  <a:pt x="1828800" y="304800"/>
                </a:lnTo>
                <a:close/>
                <a:moveTo>
                  <a:pt x="5241512" y="3352800"/>
                </a:moveTo>
                <a:lnTo>
                  <a:pt x="4876800" y="3352800"/>
                </a:lnTo>
                <a:lnTo>
                  <a:pt x="4876800" y="2835688"/>
                </a:lnTo>
                <a:cubicBezTo>
                  <a:pt x="4876800" y="2784824"/>
                  <a:pt x="4835176" y="2743200"/>
                  <a:pt x="4784313" y="2743200"/>
                </a:cubicBezTo>
                <a:lnTo>
                  <a:pt x="4664583" y="2743200"/>
                </a:lnTo>
                <a:cubicBezTo>
                  <a:pt x="4613720" y="2743200"/>
                  <a:pt x="4572096" y="2784824"/>
                  <a:pt x="4572096" y="2835688"/>
                </a:cubicBezTo>
                <a:lnTo>
                  <a:pt x="4572096" y="3565017"/>
                </a:lnTo>
                <a:cubicBezTo>
                  <a:pt x="4572096" y="3615881"/>
                  <a:pt x="4613720" y="3657505"/>
                  <a:pt x="4664583" y="3657505"/>
                </a:cubicBezTo>
                <a:lnTo>
                  <a:pt x="5241512" y="3657505"/>
                </a:lnTo>
                <a:cubicBezTo>
                  <a:pt x="5292376" y="3657505"/>
                  <a:pt x="5334000" y="3615881"/>
                  <a:pt x="5334000" y="3565017"/>
                </a:cubicBezTo>
                <a:lnTo>
                  <a:pt x="5334000" y="3445288"/>
                </a:lnTo>
                <a:cubicBezTo>
                  <a:pt x="5334000" y="3394424"/>
                  <a:pt x="5292376" y="3352800"/>
                  <a:pt x="5241512" y="3352800"/>
                </a:cubicBezTo>
                <a:close/>
                <a:moveTo>
                  <a:pt x="4724400" y="2133600"/>
                </a:moveTo>
                <a:cubicBezTo>
                  <a:pt x="3966305" y="2133600"/>
                  <a:pt x="3352800" y="2747105"/>
                  <a:pt x="3352800" y="3505200"/>
                </a:cubicBezTo>
                <a:cubicBezTo>
                  <a:pt x="3352800" y="4263295"/>
                  <a:pt x="3966305" y="4876800"/>
                  <a:pt x="4724400" y="4876800"/>
                </a:cubicBezTo>
                <a:cubicBezTo>
                  <a:pt x="5482495" y="4876800"/>
                  <a:pt x="6096000" y="4263295"/>
                  <a:pt x="6096000" y="3505200"/>
                </a:cubicBezTo>
                <a:cubicBezTo>
                  <a:pt x="6096000" y="2747105"/>
                  <a:pt x="5482495" y="2133600"/>
                  <a:pt x="4724400" y="2133600"/>
                </a:cubicBezTo>
                <a:close/>
                <a:moveTo>
                  <a:pt x="4724400" y="4572000"/>
                </a:moveTo>
                <a:cubicBezTo>
                  <a:pt x="4136136" y="4572000"/>
                  <a:pt x="3657600" y="4093464"/>
                  <a:pt x="3657600" y="3505200"/>
                </a:cubicBezTo>
                <a:cubicBezTo>
                  <a:pt x="3657600" y="2916936"/>
                  <a:pt x="4136136" y="2438400"/>
                  <a:pt x="4724400" y="2438400"/>
                </a:cubicBezTo>
                <a:cubicBezTo>
                  <a:pt x="5312664" y="2438400"/>
                  <a:pt x="5791200" y="2916936"/>
                  <a:pt x="5791200" y="3505200"/>
                </a:cubicBezTo>
                <a:cubicBezTo>
                  <a:pt x="5791200" y="4093464"/>
                  <a:pt x="5312664" y="4572000"/>
                  <a:pt x="4724400" y="457200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11" name="Graphic 521">
            <a:extLst>
              <a:ext uri="{FF2B5EF4-FFF2-40B4-BE49-F238E27FC236}">
                <a16:creationId xmlns:a16="http://schemas.microsoft.com/office/drawing/2014/main" id="{4A28600D-56E1-4E8D-ABB8-68E7FD447660}"/>
              </a:ext>
            </a:extLst>
          </p:cNvPr>
          <p:cNvSpPr>
            <a:spLocks noChangeAspect="1"/>
          </p:cNvSpPr>
          <p:nvPr/>
        </p:nvSpPr>
        <p:spPr>
          <a:xfrm>
            <a:off x="567316" y="3091979"/>
            <a:ext cx="509368" cy="356557"/>
          </a:xfrm>
          <a:custGeom>
            <a:avLst/>
            <a:gdLst>
              <a:gd name="connsiteX0" fmla="*/ 5181600 w 6096000"/>
              <a:gd name="connsiteY0" fmla="*/ 1828800 h 4267200"/>
              <a:gd name="connsiteX1" fmla="*/ 5943600 w 6096000"/>
              <a:gd name="connsiteY1" fmla="*/ 1066800 h 4267200"/>
              <a:gd name="connsiteX2" fmla="*/ 5181600 w 6096000"/>
              <a:gd name="connsiteY2" fmla="*/ 304800 h 4267200"/>
              <a:gd name="connsiteX3" fmla="*/ 4419600 w 6096000"/>
              <a:gd name="connsiteY3" fmla="*/ 1066800 h 4267200"/>
              <a:gd name="connsiteX4" fmla="*/ 5181600 w 6096000"/>
              <a:gd name="connsiteY4" fmla="*/ 1828800 h 4267200"/>
              <a:gd name="connsiteX5" fmla="*/ 5181600 w 6096000"/>
              <a:gd name="connsiteY5" fmla="*/ 609600 h 4267200"/>
              <a:gd name="connsiteX6" fmla="*/ 5638800 w 6096000"/>
              <a:gd name="connsiteY6" fmla="*/ 1066800 h 4267200"/>
              <a:gd name="connsiteX7" fmla="*/ 5181600 w 6096000"/>
              <a:gd name="connsiteY7" fmla="*/ 1524000 h 4267200"/>
              <a:gd name="connsiteX8" fmla="*/ 4724400 w 6096000"/>
              <a:gd name="connsiteY8" fmla="*/ 1066800 h 4267200"/>
              <a:gd name="connsiteX9" fmla="*/ 5181600 w 6096000"/>
              <a:gd name="connsiteY9" fmla="*/ 609600 h 4267200"/>
              <a:gd name="connsiteX10" fmla="*/ 3048000 w 6096000"/>
              <a:gd name="connsiteY10" fmla="*/ 2133600 h 4267200"/>
              <a:gd name="connsiteX11" fmla="*/ 4114800 w 6096000"/>
              <a:gd name="connsiteY11" fmla="*/ 1066800 h 4267200"/>
              <a:gd name="connsiteX12" fmla="*/ 3048000 w 6096000"/>
              <a:gd name="connsiteY12" fmla="*/ 0 h 4267200"/>
              <a:gd name="connsiteX13" fmla="*/ 1981200 w 6096000"/>
              <a:gd name="connsiteY13" fmla="*/ 1066800 h 4267200"/>
              <a:gd name="connsiteX14" fmla="*/ 3048000 w 6096000"/>
              <a:gd name="connsiteY14" fmla="*/ 2133600 h 4267200"/>
              <a:gd name="connsiteX15" fmla="*/ 3048000 w 6096000"/>
              <a:gd name="connsiteY15" fmla="*/ 304800 h 4267200"/>
              <a:gd name="connsiteX16" fmla="*/ 3810000 w 6096000"/>
              <a:gd name="connsiteY16" fmla="*/ 1066800 h 4267200"/>
              <a:gd name="connsiteX17" fmla="*/ 3048000 w 6096000"/>
              <a:gd name="connsiteY17" fmla="*/ 1828800 h 4267200"/>
              <a:gd name="connsiteX18" fmla="*/ 2286000 w 6096000"/>
              <a:gd name="connsiteY18" fmla="*/ 1066800 h 4267200"/>
              <a:gd name="connsiteX19" fmla="*/ 3048000 w 6096000"/>
              <a:gd name="connsiteY19" fmla="*/ 304800 h 4267200"/>
              <a:gd name="connsiteX20" fmla="*/ 5372100 w 6096000"/>
              <a:gd name="connsiteY20" fmla="*/ 2133600 h 4267200"/>
              <a:gd name="connsiteX21" fmla="*/ 4991100 w 6096000"/>
              <a:gd name="connsiteY21" fmla="*/ 2133600 h 4267200"/>
              <a:gd name="connsiteX22" fmla="*/ 4599623 w 6096000"/>
              <a:gd name="connsiteY22" fmla="*/ 2256473 h 4267200"/>
              <a:gd name="connsiteX23" fmla="*/ 4841558 w 6096000"/>
              <a:gd name="connsiteY23" fmla="*/ 2469833 h 4267200"/>
              <a:gd name="connsiteX24" fmla="*/ 4991100 w 6096000"/>
              <a:gd name="connsiteY24" fmla="*/ 2438400 h 4267200"/>
              <a:gd name="connsiteX25" fmla="*/ 5372100 w 6096000"/>
              <a:gd name="connsiteY25" fmla="*/ 2438400 h 4267200"/>
              <a:gd name="connsiteX26" fmla="*/ 5791200 w 6096000"/>
              <a:gd name="connsiteY26" fmla="*/ 2895600 h 4267200"/>
              <a:gd name="connsiteX27" fmla="*/ 5943600 w 6096000"/>
              <a:gd name="connsiteY27" fmla="*/ 3048000 h 4267200"/>
              <a:gd name="connsiteX28" fmla="*/ 6096000 w 6096000"/>
              <a:gd name="connsiteY28" fmla="*/ 2895600 h 4267200"/>
              <a:gd name="connsiteX29" fmla="*/ 5372100 w 6096000"/>
              <a:gd name="connsiteY29" fmla="*/ 2133600 h 4267200"/>
              <a:gd name="connsiteX30" fmla="*/ 914400 w 6096000"/>
              <a:gd name="connsiteY30" fmla="*/ 1828800 h 4267200"/>
              <a:gd name="connsiteX31" fmla="*/ 1676400 w 6096000"/>
              <a:gd name="connsiteY31" fmla="*/ 1066800 h 4267200"/>
              <a:gd name="connsiteX32" fmla="*/ 914400 w 6096000"/>
              <a:gd name="connsiteY32" fmla="*/ 304800 h 4267200"/>
              <a:gd name="connsiteX33" fmla="*/ 152400 w 6096000"/>
              <a:gd name="connsiteY33" fmla="*/ 1066800 h 4267200"/>
              <a:gd name="connsiteX34" fmla="*/ 914400 w 6096000"/>
              <a:gd name="connsiteY34" fmla="*/ 1828800 h 4267200"/>
              <a:gd name="connsiteX35" fmla="*/ 914400 w 6096000"/>
              <a:gd name="connsiteY35" fmla="*/ 609600 h 4267200"/>
              <a:gd name="connsiteX36" fmla="*/ 1371600 w 6096000"/>
              <a:gd name="connsiteY36" fmla="*/ 1066800 h 4267200"/>
              <a:gd name="connsiteX37" fmla="*/ 914400 w 6096000"/>
              <a:gd name="connsiteY37" fmla="*/ 1524000 h 4267200"/>
              <a:gd name="connsiteX38" fmla="*/ 457200 w 6096000"/>
              <a:gd name="connsiteY38" fmla="*/ 1066800 h 4267200"/>
              <a:gd name="connsiteX39" fmla="*/ 914400 w 6096000"/>
              <a:gd name="connsiteY39" fmla="*/ 609600 h 4267200"/>
              <a:gd name="connsiteX40" fmla="*/ 3810953 w 6096000"/>
              <a:gd name="connsiteY40" fmla="*/ 2324100 h 4267200"/>
              <a:gd name="connsiteX41" fmla="*/ 3048000 w 6096000"/>
              <a:gd name="connsiteY41" fmla="*/ 2438400 h 4267200"/>
              <a:gd name="connsiteX42" fmla="*/ 2285048 w 6096000"/>
              <a:gd name="connsiteY42" fmla="*/ 2324100 h 4267200"/>
              <a:gd name="connsiteX43" fmla="*/ 1405890 w 6096000"/>
              <a:gd name="connsiteY43" fmla="*/ 2770823 h 4267200"/>
              <a:gd name="connsiteX44" fmla="*/ 1219200 w 6096000"/>
              <a:gd name="connsiteY44" fmla="*/ 3383280 h 4267200"/>
              <a:gd name="connsiteX45" fmla="*/ 1219200 w 6096000"/>
              <a:gd name="connsiteY45" fmla="*/ 3810000 h 4267200"/>
              <a:gd name="connsiteX46" fmla="*/ 1676400 w 6096000"/>
              <a:gd name="connsiteY46" fmla="*/ 4267200 h 4267200"/>
              <a:gd name="connsiteX47" fmla="*/ 4419600 w 6096000"/>
              <a:gd name="connsiteY47" fmla="*/ 4267200 h 4267200"/>
              <a:gd name="connsiteX48" fmla="*/ 4876800 w 6096000"/>
              <a:gd name="connsiteY48" fmla="*/ 3810000 h 4267200"/>
              <a:gd name="connsiteX49" fmla="*/ 4876800 w 6096000"/>
              <a:gd name="connsiteY49" fmla="*/ 3383280 h 4267200"/>
              <a:gd name="connsiteX50" fmla="*/ 4690110 w 6096000"/>
              <a:gd name="connsiteY50" fmla="*/ 2770823 h 4267200"/>
              <a:gd name="connsiteX51" fmla="*/ 3810953 w 6096000"/>
              <a:gd name="connsiteY51" fmla="*/ 2324100 h 4267200"/>
              <a:gd name="connsiteX52" fmla="*/ 4572000 w 6096000"/>
              <a:gd name="connsiteY52" fmla="*/ 3810000 h 4267200"/>
              <a:gd name="connsiteX53" fmla="*/ 4419600 w 6096000"/>
              <a:gd name="connsiteY53" fmla="*/ 3962400 h 4267200"/>
              <a:gd name="connsiteX54" fmla="*/ 1676400 w 6096000"/>
              <a:gd name="connsiteY54" fmla="*/ 3962400 h 4267200"/>
              <a:gd name="connsiteX55" fmla="*/ 1524000 w 6096000"/>
              <a:gd name="connsiteY55" fmla="*/ 3810000 h 4267200"/>
              <a:gd name="connsiteX56" fmla="*/ 1524000 w 6096000"/>
              <a:gd name="connsiteY56" fmla="*/ 3383280 h 4267200"/>
              <a:gd name="connsiteX57" fmla="*/ 1658303 w 6096000"/>
              <a:gd name="connsiteY57" fmla="*/ 2941320 h 4267200"/>
              <a:gd name="connsiteX58" fmla="*/ 2284095 w 6096000"/>
              <a:gd name="connsiteY58" fmla="*/ 2628900 h 4267200"/>
              <a:gd name="connsiteX59" fmla="*/ 3048000 w 6096000"/>
              <a:gd name="connsiteY59" fmla="*/ 2743200 h 4267200"/>
              <a:gd name="connsiteX60" fmla="*/ 3810953 w 6096000"/>
              <a:gd name="connsiteY60" fmla="*/ 2628900 h 4267200"/>
              <a:gd name="connsiteX61" fmla="*/ 4436745 w 6096000"/>
              <a:gd name="connsiteY61" fmla="*/ 2941320 h 4267200"/>
              <a:gd name="connsiteX62" fmla="*/ 4571048 w 6096000"/>
              <a:gd name="connsiteY62" fmla="*/ 3383280 h 4267200"/>
              <a:gd name="connsiteX63" fmla="*/ 4571048 w 6096000"/>
              <a:gd name="connsiteY63" fmla="*/ 3810000 h 4267200"/>
              <a:gd name="connsiteX64" fmla="*/ 1496378 w 6096000"/>
              <a:gd name="connsiteY64" fmla="*/ 2256473 h 4267200"/>
              <a:gd name="connsiteX65" fmla="*/ 1104900 w 6096000"/>
              <a:gd name="connsiteY65" fmla="*/ 2133600 h 4267200"/>
              <a:gd name="connsiteX66" fmla="*/ 723900 w 6096000"/>
              <a:gd name="connsiteY66" fmla="*/ 2133600 h 4267200"/>
              <a:gd name="connsiteX67" fmla="*/ 0 w 6096000"/>
              <a:gd name="connsiteY67" fmla="*/ 2895600 h 4267200"/>
              <a:gd name="connsiteX68" fmla="*/ 152400 w 6096000"/>
              <a:gd name="connsiteY68" fmla="*/ 3048000 h 4267200"/>
              <a:gd name="connsiteX69" fmla="*/ 304800 w 6096000"/>
              <a:gd name="connsiteY69" fmla="*/ 2895600 h 4267200"/>
              <a:gd name="connsiteX70" fmla="*/ 723900 w 6096000"/>
              <a:gd name="connsiteY70" fmla="*/ 2438400 h 4267200"/>
              <a:gd name="connsiteX71" fmla="*/ 1104900 w 6096000"/>
              <a:gd name="connsiteY71" fmla="*/ 2438400 h 4267200"/>
              <a:gd name="connsiteX72" fmla="*/ 1254443 w 6096000"/>
              <a:gd name="connsiteY72" fmla="*/ 2469833 h 4267200"/>
              <a:gd name="connsiteX73" fmla="*/ 1496378 w 6096000"/>
              <a:gd name="connsiteY73" fmla="*/ 2256473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6096000" h="4267200">
                <a:moveTo>
                  <a:pt x="5181600" y="1828800"/>
                </a:moveTo>
                <a:cubicBezTo>
                  <a:pt x="5602605" y="1828800"/>
                  <a:pt x="5943600" y="1487805"/>
                  <a:pt x="5943600" y="1066800"/>
                </a:cubicBezTo>
                <a:cubicBezTo>
                  <a:pt x="5943600" y="645795"/>
                  <a:pt x="5602605" y="304800"/>
                  <a:pt x="5181600" y="304800"/>
                </a:cubicBezTo>
                <a:cubicBezTo>
                  <a:pt x="4760595" y="304800"/>
                  <a:pt x="4419600" y="645795"/>
                  <a:pt x="4419600" y="1066800"/>
                </a:cubicBezTo>
                <a:cubicBezTo>
                  <a:pt x="4419600" y="1487805"/>
                  <a:pt x="4760595" y="1828800"/>
                  <a:pt x="5181600" y="1828800"/>
                </a:cubicBezTo>
                <a:close/>
                <a:moveTo>
                  <a:pt x="5181600" y="609600"/>
                </a:moveTo>
                <a:cubicBezTo>
                  <a:pt x="5434013" y="609600"/>
                  <a:pt x="5638800" y="814388"/>
                  <a:pt x="5638800" y="1066800"/>
                </a:cubicBezTo>
                <a:cubicBezTo>
                  <a:pt x="5638800" y="1319213"/>
                  <a:pt x="5434013" y="1524000"/>
                  <a:pt x="5181600" y="1524000"/>
                </a:cubicBezTo>
                <a:cubicBezTo>
                  <a:pt x="4929188" y="1524000"/>
                  <a:pt x="4724400" y="1319213"/>
                  <a:pt x="4724400" y="1066800"/>
                </a:cubicBezTo>
                <a:cubicBezTo>
                  <a:pt x="4724400" y="814388"/>
                  <a:pt x="4929188" y="609600"/>
                  <a:pt x="5181600" y="609600"/>
                </a:cubicBezTo>
                <a:close/>
                <a:moveTo>
                  <a:pt x="3048000" y="2133600"/>
                </a:moveTo>
                <a:cubicBezTo>
                  <a:pt x="3637598" y="2133600"/>
                  <a:pt x="4114800" y="1656398"/>
                  <a:pt x="4114800" y="1066800"/>
                </a:cubicBezTo>
                <a:cubicBezTo>
                  <a:pt x="4114800" y="477203"/>
                  <a:pt x="3637598" y="0"/>
                  <a:pt x="3048000" y="0"/>
                </a:cubicBezTo>
                <a:cubicBezTo>
                  <a:pt x="2458403" y="0"/>
                  <a:pt x="1981200" y="477203"/>
                  <a:pt x="1981200" y="1066800"/>
                </a:cubicBezTo>
                <a:cubicBezTo>
                  <a:pt x="1981200" y="1656398"/>
                  <a:pt x="2458403" y="2133600"/>
                  <a:pt x="3048000" y="2133600"/>
                </a:cubicBezTo>
                <a:close/>
                <a:moveTo>
                  <a:pt x="3048000" y="304800"/>
                </a:moveTo>
                <a:cubicBezTo>
                  <a:pt x="3468053" y="304800"/>
                  <a:pt x="3810000" y="646748"/>
                  <a:pt x="3810000" y="1066800"/>
                </a:cubicBezTo>
                <a:cubicBezTo>
                  <a:pt x="3810000" y="1486853"/>
                  <a:pt x="3468053" y="1828800"/>
                  <a:pt x="3048000" y="1828800"/>
                </a:cubicBezTo>
                <a:cubicBezTo>
                  <a:pt x="2627948" y="1828800"/>
                  <a:pt x="2286000" y="1486853"/>
                  <a:pt x="2286000" y="1066800"/>
                </a:cubicBezTo>
                <a:cubicBezTo>
                  <a:pt x="2286000" y="646748"/>
                  <a:pt x="2627948" y="304800"/>
                  <a:pt x="3048000" y="304800"/>
                </a:cubicBezTo>
                <a:close/>
                <a:moveTo>
                  <a:pt x="5372100" y="2133600"/>
                </a:moveTo>
                <a:lnTo>
                  <a:pt x="4991100" y="2133600"/>
                </a:lnTo>
                <a:cubicBezTo>
                  <a:pt x="4846320" y="2133600"/>
                  <a:pt x="4712018" y="2179320"/>
                  <a:pt x="4599623" y="2256473"/>
                </a:cubicBezTo>
                <a:cubicBezTo>
                  <a:pt x="4689158" y="2317433"/>
                  <a:pt x="4770120" y="2388870"/>
                  <a:pt x="4841558" y="2469833"/>
                </a:cubicBezTo>
                <a:cubicBezTo>
                  <a:pt x="4888230" y="2449830"/>
                  <a:pt x="4938713" y="2438400"/>
                  <a:pt x="4991100" y="2438400"/>
                </a:cubicBezTo>
                <a:lnTo>
                  <a:pt x="5372100" y="2438400"/>
                </a:lnTo>
                <a:cubicBezTo>
                  <a:pt x="5602605" y="2438400"/>
                  <a:pt x="5791200" y="2643188"/>
                  <a:pt x="5791200" y="2895600"/>
                </a:cubicBezTo>
                <a:cubicBezTo>
                  <a:pt x="5791200" y="2979420"/>
                  <a:pt x="5859780" y="3048000"/>
                  <a:pt x="5943600" y="3048000"/>
                </a:cubicBezTo>
                <a:cubicBezTo>
                  <a:pt x="6027420" y="3048000"/>
                  <a:pt x="6096000" y="2979420"/>
                  <a:pt x="6096000" y="2895600"/>
                </a:cubicBezTo>
                <a:cubicBezTo>
                  <a:pt x="6096000" y="2475548"/>
                  <a:pt x="5771198" y="2133600"/>
                  <a:pt x="5372100" y="2133600"/>
                </a:cubicBezTo>
                <a:close/>
                <a:moveTo>
                  <a:pt x="914400" y="1828800"/>
                </a:moveTo>
                <a:cubicBezTo>
                  <a:pt x="1335405" y="1828800"/>
                  <a:pt x="1676400" y="1487805"/>
                  <a:pt x="1676400" y="1066800"/>
                </a:cubicBezTo>
                <a:cubicBezTo>
                  <a:pt x="1676400" y="645795"/>
                  <a:pt x="1335405" y="304800"/>
                  <a:pt x="914400" y="304800"/>
                </a:cubicBezTo>
                <a:cubicBezTo>
                  <a:pt x="493395" y="304800"/>
                  <a:pt x="152400" y="645795"/>
                  <a:pt x="152400" y="1066800"/>
                </a:cubicBezTo>
                <a:cubicBezTo>
                  <a:pt x="152400" y="1487805"/>
                  <a:pt x="493395" y="1828800"/>
                  <a:pt x="914400" y="1828800"/>
                </a:cubicBezTo>
                <a:close/>
                <a:moveTo>
                  <a:pt x="914400" y="609600"/>
                </a:moveTo>
                <a:cubicBezTo>
                  <a:pt x="1166813" y="609600"/>
                  <a:pt x="1371600" y="814388"/>
                  <a:pt x="1371600" y="1066800"/>
                </a:cubicBezTo>
                <a:cubicBezTo>
                  <a:pt x="1371600" y="1319213"/>
                  <a:pt x="1166813" y="1524000"/>
                  <a:pt x="914400" y="1524000"/>
                </a:cubicBezTo>
                <a:cubicBezTo>
                  <a:pt x="661988" y="1524000"/>
                  <a:pt x="457200" y="1319213"/>
                  <a:pt x="457200" y="1066800"/>
                </a:cubicBezTo>
                <a:cubicBezTo>
                  <a:pt x="457200" y="814388"/>
                  <a:pt x="661988" y="609600"/>
                  <a:pt x="914400" y="609600"/>
                </a:cubicBezTo>
                <a:close/>
                <a:moveTo>
                  <a:pt x="3810953" y="2324100"/>
                </a:moveTo>
                <a:cubicBezTo>
                  <a:pt x="3492818" y="2324100"/>
                  <a:pt x="3413760" y="2438400"/>
                  <a:pt x="3048000" y="2438400"/>
                </a:cubicBezTo>
                <a:cubicBezTo>
                  <a:pt x="2682240" y="2438400"/>
                  <a:pt x="2603183" y="2324100"/>
                  <a:pt x="2285048" y="2324100"/>
                </a:cubicBezTo>
                <a:cubicBezTo>
                  <a:pt x="1939290" y="2324100"/>
                  <a:pt x="1603058" y="2478405"/>
                  <a:pt x="1405890" y="2770823"/>
                </a:cubicBezTo>
                <a:cubicBezTo>
                  <a:pt x="1287780" y="2946083"/>
                  <a:pt x="1219200" y="3156585"/>
                  <a:pt x="1219200" y="3383280"/>
                </a:cubicBezTo>
                <a:lnTo>
                  <a:pt x="1219200" y="3810000"/>
                </a:lnTo>
                <a:cubicBezTo>
                  <a:pt x="1219200" y="4062413"/>
                  <a:pt x="1423988" y="4267200"/>
                  <a:pt x="1676400" y="4267200"/>
                </a:cubicBezTo>
                <a:lnTo>
                  <a:pt x="4419600" y="4267200"/>
                </a:lnTo>
                <a:cubicBezTo>
                  <a:pt x="4672013" y="4267200"/>
                  <a:pt x="4876800" y="4062413"/>
                  <a:pt x="4876800" y="3810000"/>
                </a:cubicBezTo>
                <a:lnTo>
                  <a:pt x="4876800" y="3383280"/>
                </a:lnTo>
                <a:cubicBezTo>
                  <a:pt x="4876800" y="3156585"/>
                  <a:pt x="4808220" y="2946083"/>
                  <a:pt x="4690110" y="2770823"/>
                </a:cubicBezTo>
                <a:cubicBezTo>
                  <a:pt x="4492943" y="2478405"/>
                  <a:pt x="4156710" y="2324100"/>
                  <a:pt x="3810953" y="2324100"/>
                </a:cubicBezTo>
                <a:close/>
                <a:moveTo>
                  <a:pt x="4572000" y="3810000"/>
                </a:moveTo>
                <a:cubicBezTo>
                  <a:pt x="4572000" y="3893820"/>
                  <a:pt x="4503420" y="3962400"/>
                  <a:pt x="4419600" y="3962400"/>
                </a:cubicBezTo>
                <a:lnTo>
                  <a:pt x="1676400" y="3962400"/>
                </a:lnTo>
                <a:cubicBezTo>
                  <a:pt x="1592580" y="3962400"/>
                  <a:pt x="1524000" y="3893820"/>
                  <a:pt x="1524000" y="3810000"/>
                </a:cubicBezTo>
                <a:lnTo>
                  <a:pt x="1524000" y="3383280"/>
                </a:lnTo>
                <a:cubicBezTo>
                  <a:pt x="1524000" y="3225165"/>
                  <a:pt x="1570673" y="3071813"/>
                  <a:pt x="1658303" y="2941320"/>
                </a:cubicBezTo>
                <a:cubicBezTo>
                  <a:pt x="1789748" y="2746058"/>
                  <a:pt x="2024063" y="2628900"/>
                  <a:pt x="2284095" y="2628900"/>
                </a:cubicBezTo>
                <a:cubicBezTo>
                  <a:pt x="2545080" y="2628900"/>
                  <a:pt x="2638425" y="2743200"/>
                  <a:pt x="3048000" y="2743200"/>
                </a:cubicBezTo>
                <a:cubicBezTo>
                  <a:pt x="3457575" y="2743200"/>
                  <a:pt x="3550920" y="2628900"/>
                  <a:pt x="3810953" y="2628900"/>
                </a:cubicBezTo>
                <a:cubicBezTo>
                  <a:pt x="4070985" y="2628900"/>
                  <a:pt x="4305300" y="2746058"/>
                  <a:pt x="4436745" y="2941320"/>
                </a:cubicBezTo>
                <a:cubicBezTo>
                  <a:pt x="4524375" y="3071813"/>
                  <a:pt x="4571048" y="3225165"/>
                  <a:pt x="4571048" y="3383280"/>
                </a:cubicBezTo>
                <a:lnTo>
                  <a:pt x="4571048" y="3810000"/>
                </a:lnTo>
                <a:close/>
                <a:moveTo>
                  <a:pt x="1496378" y="2256473"/>
                </a:moveTo>
                <a:cubicBezTo>
                  <a:pt x="1383030" y="2179320"/>
                  <a:pt x="1248728" y="2133600"/>
                  <a:pt x="1104900" y="2133600"/>
                </a:cubicBezTo>
                <a:lnTo>
                  <a:pt x="723900" y="2133600"/>
                </a:lnTo>
                <a:cubicBezTo>
                  <a:pt x="324803" y="2133600"/>
                  <a:pt x="0" y="2475548"/>
                  <a:pt x="0" y="2895600"/>
                </a:cubicBezTo>
                <a:cubicBezTo>
                  <a:pt x="0" y="2979420"/>
                  <a:pt x="68580" y="3048000"/>
                  <a:pt x="152400" y="3048000"/>
                </a:cubicBezTo>
                <a:cubicBezTo>
                  <a:pt x="236220" y="3048000"/>
                  <a:pt x="304800" y="2979420"/>
                  <a:pt x="304800" y="2895600"/>
                </a:cubicBezTo>
                <a:cubicBezTo>
                  <a:pt x="304800" y="2643188"/>
                  <a:pt x="493395" y="2438400"/>
                  <a:pt x="723900" y="2438400"/>
                </a:cubicBezTo>
                <a:lnTo>
                  <a:pt x="1104900" y="2438400"/>
                </a:lnTo>
                <a:cubicBezTo>
                  <a:pt x="1157288" y="2438400"/>
                  <a:pt x="1207770" y="2449830"/>
                  <a:pt x="1254443" y="2469833"/>
                </a:cubicBezTo>
                <a:cubicBezTo>
                  <a:pt x="1325880" y="2388870"/>
                  <a:pt x="1407795" y="2317433"/>
                  <a:pt x="1496378" y="2256473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12" name="Graphic 527">
            <a:extLst>
              <a:ext uri="{FF2B5EF4-FFF2-40B4-BE49-F238E27FC236}">
                <a16:creationId xmlns:a16="http://schemas.microsoft.com/office/drawing/2014/main" id="{57ED4CAC-BE97-4E30-A4BE-E9B733F63879}"/>
              </a:ext>
            </a:extLst>
          </p:cNvPr>
          <p:cNvSpPr>
            <a:spLocks noChangeAspect="1"/>
          </p:cNvSpPr>
          <p:nvPr/>
        </p:nvSpPr>
        <p:spPr>
          <a:xfrm>
            <a:off x="548087" y="3944513"/>
            <a:ext cx="547827" cy="383479"/>
          </a:xfrm>
          <a:custGeom>
            <a:avLst/>
            <a:gdLst>
              <a:gd name="connsiteX0" fmla="*/ 5372100 w 6096000"/>
              <a:gd name="connsiteY0" fmla="*/ 2438400 h 4267200"/>
              <a:gd name="connsiteX1" fmla="*/ 4991100 w 6096000"/>
              <a:gd name="connsiteY1" fmla="*/ 2438400 h 4267200"/>
              <a:gd name="connsiteX2" fmla="*/ 4599147 w 6096000"/>
              <a:gd name="connsiteY2" fmla="*/ 2561558 h 4267200"/>
              <a:gd name="connsiteX3" fmla="*/ 4841558 w 6096000"/>
              <a:gd name="connsiteY3" fmla="*/ 2774633 h 4267200"/>
              <a:gd name="connsiteX4" fmla="*/ 4991100 w 6096000"/>
              <a:gd name="connsiteY4" fmla="*/ 2743200 h 4267200"/>
              <a:gd name="connsiteX5" fmla="*/ 5372100 w 6096000"/>
              <a:gd name="connsiteY5" fmla="*/ 2743200 h 4267200"/>
              <a:gd name="connsiteX6" fmla="*/ 5791200 w 6096000"/>
              <a:gd name="connsiteY6" fmla="*/ 3200400 h 4267200"/>
              <a:gd name="connsiteX7" fmla="*/ 5943600 w 6096000"/>
              <a:gd name="connsiteY7" fmla="*/ 3352800 h 4267200"/>
              <a:gd name="connsiteX8" fmla="*/ 6096000 w 6096000"/>
              <a:gd name="connsiteY8" fmla="*/ 3200400 h 4267200"/>
              <a:gd name="connsiteX9" fmla="*/ 5372100 w 6096000"/>
              <a:gd name="connsiteY9" fmla="*/ 2438400 h 4267200"/>
              <a:gd name="connsiteX10" fmla="*/ 5181600 w 6096000"/>
              <a:gd name="connsiteY10" fmla="*/ 2133600 h 4267200"/>
              <a:gd name="connsiteX11" fmla="*/ 5943600 w 6096000"/>
              <a:gd name="connsiteY11" fmla="*/ 1371600 h 4267200"/>
              <a:gd name="connsiteX12" fmla="*/ 5181600 w 6096000"/>
              <a:gd name="connsiteY12" fmla="*/ 609600 h 4267200"/>
              <a:gd name="connsiteX13" fmla="*/ 4419600 w 6096000"/>
              <a:gd name="connsiteY13" fmla="*/ 1371600 h 4267200"/>
              <a:gd name="connsiteX14" fmla="*/ 5181600 w 6096000"/>
              <a:gd name="connsiteY14" fmla="*/ 2133600 h 4267200"/>
              <a:gd name="connsiteX15" fmla="*/ 5181600 w 6096000"/>
              <a:gd name="connsiteY15" fmla="*/ 914400 h 4267200"/>
              <a:gd name="connsiteX16" fmla="*/ 5638800 w 6096000"/>
              <a:gd name="connsiteY16" fmla="*/ 1371600 h 4267200"/>
              <a:gd name="connsiteX17" fmla="*/ 5181600 w 6096000"/>
              <a:gd name="connsiteY17" fmla="*/ 1828800 h 4267200"/>
              <a:gd name="connsiteX18" fmla="*/ 4724400 w 6096000"/>
              <a:gd name="connsiteY18" fmla="*/ 1371600 h 4267200"/>
              <a:gd name="connsiteX19" fmla="*/ 5181600 w 6096000"/>
              <a:gd name="connsiteY19" fmla="*/ 914400 h 4267200"/>
              <a:gd name="connsiteX20" fmla="*/ 3811429 w 6096000"/>
              <a:gd name="connsiteY20" fmla="*/ 2629091 h 4267200"/>
              <a:gd name="connsiteX21" fmla="*/ 3473387 w 6096000"/>
              <a:gd name="connsiteY21" fmla="*/ 2679192 h 4267200"/>
              <a:gd name="connsiteX22" fmla="*/ 3048000 w 6096000"/>
              <a:gd name="connsiteY22" fmla="*/ 2743200 h 4267200"/>
              <a:gd name="connsiteX23" fmla="*/ 2622614 w 6096000"/>
              <a:gd name="connsiteY23" fmla="*/ 2679287 h 4267200"/>
              <a:gd name="connsiteX24" fmla="*/ 2284571 w 6096000"/>
              <a:gd name="connsiteY24" fmla="*/ 2629186 h 4267200"/>
              <a:gd name="connsiteX25" fmla="*/ 1405604 w 6096000"/>
              <a:gd name="connsiteY25" fmla="*/ 3076194 h 4267200"/>
              <a:gd name="connsiteX26" fmla="*/ 1219200 w 6096000"/>
              <a:gd name="connsiteY26" fmla="*/ 3688080 h 4267200"/>
              <a:gd name="connsiteX27" fmla="*/ 1219200 w 6096000"/>
              <a:gd name="connsiteY27" fmla="*/ 3810000 h 4267200"/>
              <a:gd name="connsiteX28" fmla="*/ 1676400 w 6096000"/>
              <a:gd name="connsiteY28" fmla="*/ 4267200 h 4267200"/>
              <a:gd name="connsiteX29" fmla="*/ 4419600 w 6096000"/>
              <a:gd name="connsiteY29" fmla="*/ 4267200 h 4267200"/>
              <a:gd name="connsiteX30" fmla="*/ 4876800 w 6096000"/>
              <a:gd name="connsiteY30" fmla="*/ 3810000 h 4267200"/>
              <a:gd name="connsiteX31" fmla="*/ 4876800 w 6096000"/>
              <a:gd name="connsiteY31" fmla="*/ 3688080 h 4267200"/>
              <a:gd name="connsiteX32" fmla="*/ 4690396 w 6096000"/>
              <a:gd name="connsiteY32" fmla="*/ 3076099 h 4267200"/>
              <a:gd name="connsiteX33" fmla="*/ 3811429 w 6096000"/>
              <a:gd name="connsiteY33" fmla="*/ 2629091 h 4267200"/>
              <a:gd name="connsiteX34" fmla="*/ 4572000 w 6096000"/>
              <a:gd name="connsiteY34" fmla="*/ 3810000 h 4267200"/>
              <a:gd name="connsiteX35" fmla="*/ 4419600 w 6096000"/>
              <a:gd name="connsiteY35" fmla="*/ 3962400 h 4267200"/>
              <a:gd name="connsiteX36" fmla="*/ 1676400 w 6096000"/>
              <a:gd name="connsiteY36" fmla="*/ 3962400 h 4267200"/>
              <a:gd name="connsiteX37" fmla="*/ 1524000 w 6096000"/>
              <a:gd name="connsiteY37" fmla="*/ 3810000 h 4267200"/>
              <a:gd name="connsiteX38" fmla="*/ 1524000 w 6096000"/>
              <a:gd name="connsiteY38" fmla="*/ 3688080 h 4267200"/>
              <a:gd name="connsiteX39" fmla="*/ 1658398 w 6096000"/>
              <a:gd name="connsiteY39" fmla="*/ 3246311 h 4267200"/>
              <a:gd name="connsiteX40" fmla="*/ 2284571 w 6096000"/>
              <a:gd name="connsiteY40" fmla="*/ 2933891 h 4267200"/>
              <a:gd name="connsiteX41" fmla="*/ 2534031 w 6096000"/>
              <a:gd name="connsiteY41" fmla="*/ 2970848 h 4267200"/>
              <a:gd name="connsiteX42" fmla="*/ 3048000 w 6096000"/>
              <a:gd name="connsiteY42" fmla="*/ 3048000 h 4267200"/>
              <a:gd name="connsiteX43" fmla="*/ 3561969 w 6096000"/>
              <a:gd name="connsiteY43" fmla="*/ 2970848 h 4267200"/>
              <a:gd name="connsiteX44" fmla="*/ 3811429 w 6096000"/>
              <a:gd name="connsiteY44" fmla="*/ 2933891 h 4267200"/>
              <a:gd name="connsiteX45" fmla="*/ 4437603 w 6096000"/>
              <a:gd name="connsiteY45" fmla="*/ 3246311 h 4267200"/>
              <a:gd name="connsiteX46" fmla="*/ 4572000 w 6096000"/>
              <a:gd name="connsiteY46" fmla="*/ 3688080 h 4267200"/>
              <a:gd name="connsiteX47" fmla="*/ 4572000 w 6096000"/>
              <a:gd name="connsiteY47" fmla="*/ 3810000 h 4267200"/>
              <a:gd name="connsiteX48" fmla="*/ 914400 w 6096000"/>
              <a:gd name="connsiteY48" fmla="*/ 2133600 h 4267200"/>
              <a:gd name="connsiteX49" fmla="*/ 1676400 w 6096000"/>
              <a:gd name="connsiteY49" fmla="*/ 1371600 h 4267200"/>
              <a:gd name="connsiteX50" fmla="*/ 914400 w 6096000"/>
              <a:gd name="connsiteY50" fmla="*/ 609600 h 4267200"/>
              <a:gd name="connsiteX51" fmla="*/ 152400 w 6096000"/>
              <a:gd name="connsiteY51" fmla="*/ 1371600 h 4267200"/>
              <a:gd name="connsiteX52" fmla="*/ 914400 w 6096000"/>
              <a:gd name="connsiteY52" fmla="*/ 2133600 h 4267200"/>
              <a:gd name="connsiteX53" fmla="*/ 914400 w 6096000"/>
              <a:gd name="connsiteY53" fmla="*/ 914400 h 4267200"/>
              <a:gd name="connsiteX54" fmla="*/ 1371600 w 6096000"/>
              <a:gd name="connsiteY54" fmla="*/ 1371600 h 4267200"/>
              <a:gd name="connsiteX55" fmla="*/ 914400 w 6096000"/>
              <a:gd name="connsiteY55" fmla="*/ 1828800 h 4267200"/>
              <a:gd name="connsiteX56" fmla="*/ 457200 w 6096000"/>
              <a:gd name="connsiteY56" fmla="*/ 1371600 h 4267200"/>
              <a:gd name="connsiteX57" fmla="*/ 914400 w 6096000"/>
              <a:gd name="connsiteY57" fmla="*/ 914400 h 4267200"/>
              <a:gd name="connsiteX58" fmla="*/ 1496854 w 6096000"/>
              <a:gd name="connsiteY58" fmla="*/ 2561558 h 4267200"/>
              <a:gd name="connsiteX59" fmla="*/ 1104900 w 6096000"/>
              <a:gd name="connsiteY59" fmla="*/ 2438400 h 4267200"/>
              <a:gd name="connsiteX60" fmla="*/ 723900 w 6096000"/>
              <a:gd name="connsiteY60" fmla="*/ 2438400 h 4267200"/>
              <a:gd name="connsiteX61" fmla="*/ 0 w 6096000"/>
              <a:gd name="connsiteY61" fmla="*/ 3200400 h 4267200"/>
              <a:gd name="connsiteX62" fmla="*/ 152400 w 6096000"/>
              <a:gd name="connsiteY62" fmla="*/ 3352800 h 4267200"/>
              <a:gd name="connsiteX63" fmla="*/ 304800 w 6096000"/>
              <a:gd name="connsiteY63" fmla="*/ 3200400 h 4267200"/>
              <a:gd name="connsiteX64" fmla="*/ 723900 w 6096000"/>
              <a:gd name="connsiteY64" fmla="*/ 2743200 h 4267200"/>
              <a:gd name="connsiteX65" fmla="*/ 1104900 w 6096000"/>
              <a:gd name="connsiteY65" fmla="*/ 2743200 h 4267200"/>
              <a:gd name="connsiteX66" fmla="*/ 1254443 w 6096000"/>
              <a:gd name="connsiteY66" fmla="*/ 2774633 h 4267200"/>
              <a:gd name="connsiteX67" fmla="*/ 1496854 w 6096000"/>
              <a:gd name="connsiteY67" fmla="*/ 2561558 h 4267200"/>
              <a:gd name="connsiteX68" fmla="*/ 3048000 w 6096000"/>
              <a:gd name="connsiteY68" fmla="*/ 2438400 h 4267200"/>
              <a:gd name="connsiteX69" fmla="*/ 4114800 w 6096000"/>
              <a:gd name="connsiteY69" fmla="*/ 1371600 h 4267200"/>
              <a:gd name="connsiteX70" fmla="*/ 4114800 w 6096000"/>
              <a:gd name="connsiteY70" fmla="*/ 0 h 4267200"/>
              <a:gd name="connsiteX71" fmla="*/ 3581400 w 6096000"/>
              <a:gd name="connsiteY71" fmla="*/ 266700 h 4267200"/>
              <a:gd name="connsiteX72" fmla="*/ 3048000 w 6096000"/>
              <a:gd name="connsiteY72" fmla="*/ 0 h 4267200"/>
              <a:gd name="connsiteX73" fmla="*/ 2514600 w 6096000"/>
              <a:gd name="connsiteY73" fmla="*/ 266700 h 4267200"/>
              <a:gd name="connsiteX74" fmla="*/ 1981200 w 6096000"/>
              <a:gd name="connsiteY74" fmla="*/ 0 h 4267200"/>
              <a:gd name="connsiteX75" fmla="*/ 1981200 w 6096000"/>
              <a:gd name="connsiteY75" fmla="*/ 1371600 h 4267200"/>
              <a:gd name="connsiteX76" fmla="*/ 3048000 w 6096000"/>
              <a:gd name="connsiteY76" fmla="*/ 2438400 h 4267200"/>
              <a:gd name="connsiteX77" fmla="*/ 2286000 w 6096000"/>
              <a:gd name="connsiteY77" fmla="*/ 493205 h 4267200"/>
              <a:gd name="connsiteX78" fmla="*/ 2514600 w 6096000"/>
              <a:gd name="connsiteY78" fmla="*/ 607505 h 4267200"/>
              <a:gd name="connsiteX79" fmla="*/ 3048000 w 6096000"/>
              <a:gd name="connsiteY79" fmla="*/ 340805 h 4267200"/>
              <a:gd name="connsiteX80" fmla="*/ 3581400 w 6096000"/>
              <a:gd name="connsiteY80" fmla="*/ 607505 h 4267200"/>
              <a:gd name="connsiteX81" fmla="*/ 3810000 w 6096000"/>
              <a:gd name="connsiteY81" fmla="*/ 493205 h 4267200"/>
              <a:gd name="connsiteX82" fmla="*/ 3810000 w 6096000"/>
              <a:gd name="connsiteY82" fmla="*/ 914400 h 4267200"/>
              <a:gd name="connsiteX83" fmla="*/ 2286000 w 6096000"/>
              <a:gd name="connsiteY83" fmla="*/ 914400 h 4267200"/>
              <a:gd name="connsiteX84" fmla="*/ 2286000 w 6096000"/>
              <a:gd name="connsiteY84" fmla="*/ 493205 h 4267200"/>
              <a:gd name="connsiteX85" fmla="*/ 2286000 w 6096000"/>
              <a:gd name="connsiteY85" fmla="*/ 1219200 h 4267200"/>
              <a:gd name="connsiteX86" fmla="*/ 3810000 w 6096000"/>
              <a:gd name="connsiteY86" fmla="*/ 1219200 h 4267200"/>
              <a:gd name="connsiteX87" fmla="*/ 3810000 w 6096000"/>
              <a:gd name="connsiteY87" fmla="*/ 1371600 h 4267200"/>
              <a:gd name="connsiteX88" fmla="*/ 3048000 w 6096000"/>
              <a:gd name="connsiteY88" fmla="*/ 2133600 h 4267200"/>
              <a:gd name="connsiteX89" fmla="*/ 2286000 w 6096000"/>
              <a:gd name="connsiteY89" fmla="*/ 1371600 h 4267200"/>
              <a:gd name="connsiteX90" fmla="*/ 2286000 w 6096000"/>
              <a:gd name="connsiteY90" fmla="*/ 1219200 h 426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6096000" h="4267200">
                <a:moveTo>
                  <a:pt x="5372100" y="2438400"/>
                </a:moveTo>
                <a:lnTo>
                  <a:pt x="4991100" y="2438400"/>
                </a:lnTo>
                <a:cubicBezTo>
                  <a:pt x="4846511" y="2438400"/>
                  <a:pt x="4712304" y="2484406"/>
                  <a:pt x="4599147" y="2561558"/>
                </a:cubicBezTo>
                <a:cubicBezTo>
                  <a:pt x="4688491" y="2622233"/>
                  <a:pt x="4769930" y="2693670"/>
                  <a:pt x="4841558" y="2774633"/>
                </a:cubicBezTo>
                <a:cubicBezTo>
                  <a:pt x="4888135" y="2755106"/>
                  <a:pt x="4938237" y="2743200"/>
                  <a:pt x="4991100" y="2743200"/>
                </a:cubicBezTo>
                <a:lnTo>
                  <a:pt x="5372100" y="2743200"/>
                </a:lnTo>
                <a:cubicBezTo>
                  <a:pt x="5603081" y="2743200"/>
                  <a:pt x="5791200" y="2948273"/>
                  <a:pt x="5791200" y="3200400"/>
                </a:cubicBezTo>
                <a:cubicBezTo>
                  <a:pt x="5791200" y="3284601"/>
                  <a:pt x="5859399" y="3352800"/>
                  <a:pt x="5943600" y="3352800"/>
                </a:cubicBezTo>
                <a:cubicBezTo>
                  <a:pt x="6027802" y="3352800"/>
                  <a:pt x="6096000" y="3284601"/>
                  <a:pt x="6096000" y="3200400"/>
                </a:cubicBezTo>
                <a:cubicBezTo>
                  <a:pt x="6096000" y="2780253"/>
                  <a:pt x="5771293" y="2438400"/>
                  <a:pt x="5372100" y="2438400"/>
                </a:cubicBezTo>
                <a:close/>
                <a:moveTo>
                  <a:pt x="5181600" y="2133600"/>
                </a:moveTo>
                <a:cubicBezTo>
                  <a:pt x="5602415" y="2133600"/>
                  <a:pt x="5943600" y="1792414"/>
                  <a:pt x="5943600" y="1371600"/>
                </a:cubicBezTo>
                <a:cubicBezTo>
                  <a:pt x="5943600" y="950786"/>
                  <a:pt x="5602415" y="609600"/>
                  <a:pt x="5181600" y="609600"/>
                </a:cubicBezTo>
                <a:cubicBezTo>
                  <a:pt x="4760786" y="609600"/>
                  <a:pt x="4419600" y="950786"/>
                  <a:pt x="4419600" y="1371600"/>
                </a:cubicBezTo>
                <a:cubicBezTo>
                  <a:pt x="4419600" y="1792414"/>
                  <a:pt x="4760786" y="2133600"/>
                  <a:pt x="5181600" y="2133600"/>
                </a:cubicBezTo>
                <a:close/>
                <a:moveTo>
                  <a:pt x="5181600" y="914400"/>
                </a:moveTo>
                <a:cubicBezTo>
                  <a:pt x="5433727" y="914400"/>
                  <a:pt x="5638800" y="1119473"/>
                  <a:pt x="5638800" y="1371600"/>
                </a:cubicBezTo>
                <a:cubicBezTo>
                  <a:pt x="5638800" y="1623727"/>
                  <a:pt x="5433727" y="1828800"/>
                  <a:pt x="5181600" y="1828800"/>
                </a:cubicBezTo>
                <a:cubicBezTo>
                  <a:pt x="4929474" y="1828800"/>
                  <a:pt x="4724400" y="1623727"/>
                  <a:pt x="4724400" y="1371600"/>
                </a:cubicBezTo>
                <a:cubicBezTo>
                  <a:pt x="4724400" y="1119473"/>
                  <a:pt x="4929474" y="914400"/>
                  <a:pt x="5181600" y="914400"/>
                </a:cubicBezTo>
                <a:close/>
                <a:moveTo>
                  <a:pt x="3811429" y="2629091"/>
                </a:moveTo>
                <a:cubicBezTo>
                  <a:pt x="3698272" y="2629091"/>
                  <a:pt x="3584067" y="2645569"/>
                  <a:pt x="3473387" y="2679192"/>
                </a:cubicBezTo>
                <a:cubicBezTo>
                  <a:pt x="3338513" y="2720149"/>
                  <a:pt x="3196209" y="2743200"/>
                  <a:pt x="3048000" y="2743200"/>
                </a:cubicBezTo>
                <a:cubicBezTo>
                  <a:pt x="2899791" y="2743200"/>
                  <a:pt x="2757488" y="2720149"/>
                  <a:pt x="2622614" y="2679287"/>
                </a:cubicBezTo>
                <a:cubicBezTo>
                  <a:pt x="2513011" y="2646048"/>
                  <a:pt x="2399103" y="2629165"/>
                  <a:pt x="2284571" y="2629186"/>
                </a:cubicBezTo>
                <a:cubicBezTo>
                  <a:pt x="1938909" y="2629186"/>
                  <a:pt x="1602772" y="2783300"/>
                  <a:pt x="1405604" y="3076194"/>
                </a:cubicBezTo>
                <a:cubicBezTo>
                  <a:pt x="1287875" y="3250883"/>
                  <a:pt x="1219200" y="3461480"/>
                  <a:pt x="1219200" y="3688080"/>
                </a:cubicBezTo>
                <a:lnTo>
                  <a:pt x="1219200" y="3810000"/>
                </a:lnTo>
                <a:cubicBezTo>
                  <a:pt x="1219200" y="4062508"/>
                  <a:pt x="1423892" y="4267200"/>
                  <a:pt x="1676400" y="4267200"/>
                </a:cubicBezTo>
                <a:lnTo>
                  <a:pt x="4419600" y="4267200"/>
                </a:lnTo>
                <a:cubicBezTo>
                  <a:pt x="4672108" y="4267200"/>
                  <a:pt x="4876800" y="4062508"/>
                  <a:pt x="4876800" y="3810000"/>
                </a:cubicBezTo>
                <a:lnTo>
                  <a:pt x="4876800" y="3688080"/>
                </a:lnTo>
                <a:cubicBezTo>
                  <a:pt x="4876800" y="3461480"/>
                  <a:pt x="4808125" y="3250883"/>
                  <a:pt x="4690396" y="3076099"/>
                </a:cubicBezTo>
                <a:cubicBezTo>
                  <a:pt x="4493229" y="2783205"/>
                  <a:pt x="4156996" y="2629091"/>
                  <a:pt x="3811429" y="2629091"/>
                </a:cubicBezTo>
                <a:close/>
                <a:moveTo>
                  <a:pt x="4572000" y="3810000"/>
                </a:moveTo>
                <a:cubicBezTo>
                  <a:pt x="4572000" y="3894011"/>
                  <a:pt x="4503611" y="3962400"/>
                  <a:pt x="4419600" y="3962400"/>
                </a:cubicBezTo>
                <a:lnTo>
                  <a:pt x="1676400" y="3962400"/>
                </a:lnTo>
                <a:cubicBezTo>
                  <a:pt x="1592389" y="3962400"/>
                  <a:pt x="1524000" y="3894011"/>
                  <a:pt x="1524000" y="3810000"/>
                </a:cubicBezTo>
                <a:lnTo>
                  <a:pt x="1524000" y="3688080"/>
                </a:lnTo>
                <a:cubicBezTo>
                  <a:pt x="1524000" y="3529679"/>
                  <a:pt x="1570482" y="3376898"/>
                  <a:pt x="1658398" y="3246311"/>
                </a:cubicBezTo>
                <a:cubicBezTo>
                  <a:pt x="1790129" y="3050667"/>
                  <a:pt x="2024158" y="2933891"/>
                  <a:pt x="2284571" y="2933891"/>
                </a:cubicBezTo>
                <a:cubicBezTo>
                  <a:pt x="2369344" y="2933891"/>
                  <a:pt x="2453259" y="2946368"/>
                  <a:pt x="2534031" y="2970848"/>
                </a:cubicBezTo>
                <a:cubicBezTo>
                  <a:pt x="2702528" y="3021997"/>
                  <a:pt x="2875407" y="3048000"/>
                  <a:pt x="3048000" y="3048000"/>
                </a:cubicBezTo>
                <a:cubicBezTo>
                  <a:pt x="3220593" y="3048000"/>
                  <a:pt x="3393472" y="3022092"/>
                  <a:pt x="3561969" y="2970848"/>
                </a:cubicBezTo>
                <a:cubicBezTo>
                  <a:pt x="3642842" y="2946283"/>
                  <a:pt x="3726907" y="2933829"/>
                  <a:pt x="3811429" y="2933891"/>
                </a:cubicBezTo>
                <a:cubicBezTo>
                  <a:pt x="4071842" y="2933891"/>
                  <a:pt x="4305872" y="3050667"/>
                  <a:pt x="4437603" y="3246311"/>
                </a:cubicBezTo>
                <a:cubicBezTo>
                  <a:pt x="4525518" y="3376898"/>
                  <a:pt x="4572000" y="3529679"/>
                  <a:pt x="4572000" y="3688080"/>
                </a:cubicBezTo>
                <a:lnTo>
                  <a:pt x="4572000" y="3810000"/>
                </a:lnTo>
                <a:close/>
                <a:moveTo>
                  <a:pt x="914400" y="2133600"/>
                </a:moveTo>
                <a:cubicBezTo>
                  <a:pt x="1335214" y="2133600"/>
                  <a:pt x="1676400" y="1792414"/>
                  <a:pt x="1676400" y="1371600"/>
                </a:cubicBezTo>
                <a:cubicBezTo>
                  <a:pt x="1676400" y="950786"/>
                  <a:pt x="1335214" y="609600"/>
                  <a:pt x="914400" y="609600"/>
                </a:cubicBezTo>
                <a:cubicBezTo>
                  <a:pt x="493586" y="609600"/>
                  <a:pt x="152400" y="950786"/>
                  <a:pt x="152400" y="1371600"/>
                </a:cubicBezTo>
                <a:cubicBezTo>
                  <a:pt x="152400" y="1792414"/>
                  <a:pt x="493586" y="2133600"/>
                  <a:pt x="914400" y="2133600"/>
                </a:cubicBezTo>
                <a:close/>
                <a:moveTo>
                  <a:pt x="914400" y="914400"/>
                </a:moveTo>
                <a:cubicBezTo>
                  <a:pt x="1166527" y="914400"/>
                  <a:pt x="1371600" y="1119473"/>
                  <a:pt x="1371600" y="1371600"/>
                </a:cubicBezTo>
                <a:cubicBezTo>
                  <a:pt x="1371600" y="1623727"/>
                  <a:pt x="1166527" y="1828800"/>
                  <a:pt x="914400" y="1828800"/>
                </a:cubicBezTo>
                <a:cubicBezTo>
                  <a:pt x="662273" y="1828800"/>
                  <a:pt x="457200" y="1623727"/>
                  <a:pt x="457200" y="1371600"/>
                </a:cubicBezTo>
                <a:cubicBezTo>
                  <a:pt x="457200" y="1119473"/>
                  <a:pt x="662273" y="914400"/>
                  <a:pt x="914400" y="914400"/>
                </a:cubicBezTo>
                <a:close/>
                <a:moveTo>
                  <a:pt x="1496854" y="2561558"/>
                </a:moveTo>
                <a:cubicBezTo>
                  <a:pt x="1383697" y="2484406"/>
                  <a:pt x="1249489" y="2438400"/>
                  <a:pt x="1104900" y="2438400"/>
                </a:cubicBezTo>
                <a:lnTo>
                  <a:pt x="723900" y="2438400"/>
                </a:lnTo>
                <a:cubicBezTo>
                  <a:pt x="324707" y="2438400"/>
                  <a:pt x="0" y="2780253"/>
                  <a:pt x="0" y="3200400"/>
                </a:cubicBezTo>
                <a:cubicBezTo>
                  <a:pt x="0" y="3284601"/>
                  <a:pt x="68199" y="3352800"/>
                  <a:pt x="152400" y="3352800"/>
                </a:cubicBezTo>
                <a:cubicBezTo>
                  <a:pt x="236601" y="3352800"/>
                  <a:pt x="304800" y="3284601"/>
                  <a:pt x="304800" y="3200400"/>
                </a:cubicBezTo>
                <a:cubicBezTo>
                  <a:pt x="304800" y="2948273"/>
                  <a:pt x="492919" y="2743200"/>
                  <a:pt x="723900" y="2743200"/>
                </a:cubicBezTo>
                <a:lnTo>
                  <a:pt x="1104900" y="2743200"/>
                </a:lnTo>
                <a:cubicBezTo>
                  <a:pt x="1157764" y="2743200"/>
                  <a:pt x="1207865" y="2755106"/>
                  <a:pt x="1254443" y="2774633"/>
                </a:cubicBezTo>
                <a:cubicBezTo>
                  <a:pt x="1326071" y="2693670"/>
                  <a:pt x="1407509" y="2622233"/>
                  <a:pt x="1496854" y="2561558"/>
                </a:cubicBezTo>
                <a:close/>
                <a:moveTo>
                  <a:pt x="3048000" y="2438400"/>
                </a:moveTo>
                <a:cubicBezTo>
                  <a:pt x="3637216" y="2438400"/>
                  <a:pt x="4114800" y="1960817"/>
                  <a:pt x="4114800" y="1371600"/>
                </a:cubicBezTo>
                <a:lnTo>
                  <a:pt x="4114800" y="0"/>
                </a:lnTo>
                <a:lnTo>
                  <a:pt x="3581400" y="266700"/>
                </a:lnTo>
                <a:lnTo>
                  <a:pt x="3048000" y="0"/>
                </a:lnTo>
                <a:lnTo>
                  <a:pt x="2514600" y="266700"/>
                </a:lnTo>
                <a:lnTo>
                  <a:pt x="1981200" y="0"/>
                </a:lnTo>
                <a:lnTo>
                  <a:pt x="1981200" y="1371600"/>
                </a:lnTo>
                <a:cubicBezTo>
                  <a:pt x="1981200" y="1960817"/>
                  <a:pt x="2458784" y="2438400"/>
                  <a:pt x="3048000" y="2438400"/>
                </a:cubicBezTo>
                <a:close/>
                <a:moveTo>
                  <a:pt x="2286000" y="493205"/>
                </a:moveTo>
                <a:lnTo>
                  <a:pt x="2514600" y="607505"/>
                </a:lnTo>
                <a:lnTo>
                  <a:pt x="3048000" y="340805"/>
                </a:lnTo>
                <a:lnTo>
                  <a:pt x="3581400" y="607505"/>
                </a:lnTo>
                <a:lnTo>
                  <a:pt x="3810000" y="493205"/>
                </a:lnTo>
                <a:lnTo>
                  <a:pt x="3810000" y="914400"/>
                </a:lnTo>
                <a:lnTo>
                  <a:pt x="2286000" y="914400"/>
                </a:lnTo>
                <a:lnTo>
                  <a:pt x="2286000" y="493205"/>
                </a:lnTo>
                <a:close/>
                <a:moveTo>
                  <a:pt x="2286000" y="1219200"/>
                </a:moveTo>
                <a:lnTo>
                  <a:pt x="3810000" y="1219200"/>
                </a:lnTo>
                <a:lnTo>
                  <a:pt x="3810000" y="1371600"/>
                </a:lnTo>
                <a:cubicBezTo>
                  <a:pt x="3810000" y="1791748"/>
                  <a:pt x="3468148" y="2133600"/>
                  <a:pt x="3048000" y="2133600"/>
                </a:cubicBezTo>
                <a:cubicBezTo>
                  <a:pt x="2627853" y="2133600"/>
                  <a:pt x="2286000" y="1791748"/>
                  <a:pt x="2286000" y="1371600"/>
                </a:cubicBezTo>
                <a:lnTo>
                  <a:pt x="2286000" y="1219200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17" name="Graphic 569">
            <a:extLst>
              <a:ext uri="{FF2B5EF4-FFF2-40B4-BE49-F238E27FC236}">
                <a16:creationId xmlns:a16="http://schemas.microsoft.com/office/drawing/2014/main" id="{1681D4D2-FF69-4C0A-A9BC-0B2B07CF159A}"/>
              </a:ext>
            </a:extLst>
          </p:cNvPr>
          <p:cNvSpPr>
            <a:spLocks noChangeAspect="1"/>
          </p:cNvSpPr>
          <p:nvPr/>
        </p:nvSpPr>
        <p:spPr>
          <a:xfrm>
            <a:off x="591151" y="4797048"/>
            <a:ext cx="461699" cy="410400"/>
          </a:xfrm>
          <a:custGeom>
            <a:avLst/>
            <a:gdLst>
              <a:gd name="connsiteX0" fmla="*/ 3165817 w 5486386"/>
              <a:gd name="connsiteY0" fmla="*/ 2623280 h 4876800"/>
              <a:gd name="connsiteX1" fmla="*/ 2977699 w 5486386"/>
              <a:gd name="connsiteY1" fmla="*/ 2241804 h 4876800"/>
              <a:gd name="connsiteX2" fmla="*/ 2508307 w 5486386"/>
              <a:gd name="connsiteY2" fmla="*/ 2242566 h 4876800"/>
              <a:gd name="connsiteX3" fmla="*/ 2320474 w 5486386"/>
              <a:gd name="connsiteY3" fmla="*/ 2623280 h 4876800"/>
              <a:gd name="connsiteX4" fmla="*/ 1900802 w 5486386"/>
              <a:gd name="connsiteY4" fmla="*/ 2684621 h 4876800"/>
              <a:gd name="connsiteX5" fmla="*/ 1689157 w 5486386"/>
              <a:gd name="connsiteY5" fmla="*/ 2862739 h 4876800"/>
              <a:gd name="connsiteX6" fmla="*/ 1755546 w 5486386"/>
              <a:gd name="connsiteY6" fmla="*/ 3131058 h 4876800"/>
              <a:gd name="connsiteX7" fmla="*/ 2059489 w 5486386"/>
              <a:gd name="connsiteY7" fmla="*/ 3427190 h 4876800"/>
              <a:gd name="connsiteX8" fmla="*/ 1987480 w 5486386"/>
              <a:gd name="connsiteY8" fmla="*/ 3845528 h 4876800"/>
              <a:gd name="connsiteX9" fmla="*/ 2367241 w 5486386"/>
              <a:gd name="connsiteY9" fmla="*/ 4121468 h 4876800"/>
              <a:gd name="connsiteX10" fmla="*/ 2743193 w 5486386"/>
              <a:gd name="connsiteY10" fmla="*/ 3924014 h 4876800"/>
              <a:gd name="connsiteX11" fmla="*/ 3118859 w 5486386"/>
              <a:gd name="connsiteY11" fmla="*/ 4121372 h 4876800"/>
              <a:gd name="connsiteX12" fmla="*/ 3499002 w 5486386"/>
              <a:gd name="connsiteY12" fmla="*/ 3845624 h 4876800"/>
              <a:gd name="connsiteX13" fmla="*/ 3426993 w 5486386"/>
              <a:gd name="connsiteY13" fmla="*/ 3427286 h 4876800"/>
              <a:gd name="connsiteX14" fmla="*/ 3730936 w 5486386"/>
              <a:gd name="connsiteY14" fmla="*/ 3131153 h 4876800"/>
              <a:gd name="connsiteX15" fmla="*/ 3797325 w 5486386"/>
              <a:gd name="connsiteY15" fmla="*/ 2862834 h 4876800"/>
              <a:gd name="connsiteX16" fmla="*/ 3585965 w 5486386"/>
              <a:gd name="connsiteY16" fmla="*/ 2684716 h 4876800"/>
              <a:gd name="connsiteX17" fmla="*/ 3165817 w 5486386"/>
              <a:gd name="connsiteY17" fmla="*/ 2623280 h 4876800"/>
              <a:gd name="connsiteX18" fmla="*/ 3099524 w 5486386"/>
              <a:gd name="connsiteY18" fmla="*/ 3320987 h 4876800"/>
              <a:gd name="connsiteX19" fmla="*/ 3183724 w 5486386"/>
              <a:gd name="connsiteY19" fmla="*/ 3811048 h 4876800"/>
              <a:gd name="connsiteX20" fmla="*/ 2743193 w 5486386"/>
              <a:gd name="connsiteY20" fmla="*/ 3579590 h 4876800"/>
              <a:gd name="connsiteX21" fmla="*/ 2301805 w 5486386"/>
              <a:gd name="connsiteY21" fmla="*/ 3816858 h 4876800"/>
              <a:gd name="connsiteX22" fmla="*/ 2386958 w 5486386"/>
              <a:gd name="connsiteY22" fmla="*/ 3320987 h 4876800"/>
              <a:gd name="connsiteX23" fmla="*/ 2030628 w 5486386"/>
              <a:gd name="connsiteY23" fmla="*/ 2973610 h 4876800"/>
              <a:gd name="connsiteX24" fmla="*/ 2522975 w 5486386"/>
              <a:gd name="connsiteY24" fmla="*/ 2901887 h 4876800"/>
              <a:gd name="connsiteX25" fmla="*/ 2743193 w 5486386"/>
              <a:gd name="connsiteY25" fmla="*/ 2455355 h 4876800"/>
              <a:gd name="connsiteX26" fmla="*/ 2963411 w 5486386"/>
              <a:gd name="connsiteY26" fmla="*/ 2901887 h 4876800"/>
              <a:gd name="connsiteX27" fmla="*/ 3455758 w 5486386"/>
              <a:gd name="connsiteY27" fmla="*/ 2973610 h 4876800"/>
              <a:gd name="connsiteX28" fmla="*/ 3099524 w 5486386"/>
              <a:gd name="connsiteY28" fmla="*/ 3320987 h 4876800"/>
              <a:gd name="connsiteX29" fmla="*/ 5333707 w 5486386"/>
              <a:gd name="connsiteY29" fmla="*/ 0 h 4876800"/>
              <a:gd name="connsiteX30" fmla="*/ 3830186 w 5486386"/>
              <a:gd name="connsiteY30" fmla="*/ 0 h 4876800"/>
              <a:gd name="connsiteX31" fmla="*/ 3568820 w 5486386"/>
              <a:gd name="connsiteY31" fmla="*/ 148019 h 4876800"/>
              <a:gd name="connsiteX32" fmla="*/ 2743193 w 5486386"/>
              <a:gd name="connsiteY32" fmla="*/ 1524000 h 4876800"/>
              <a:gd name="connsiteX33" fmla="*/ 1917566 w 5486386"/>
              <a:gd name="connsiteY33" fmla="*/ 148019 h 4876800"/>
              <a:gd name="connsiteX34" fmla="*/ 1656200 w 5486386"/>
              <a:gd name="connsiteY34" fmla="*/ 0 h 4876800"/>
              <a:gd name="connsiteX35" fmla="*/ 152679 w 5486386"/>
              <a:gd name="connsiteY35" fmla="*/ 0 h 4876800"/>
              <a:gd name="connsiteX36" fmla="*/ 27806 w 5486386"/>
              <a:gd name="connsiteY36" fmla="*/ 239840 h 4876800"/>
              <a:gd name="connsiteX37" fmla="*/ 1400549 w 5486386"/>
              <a:gd name="connsiteY37" fmla="*/ 2200847 h 4876800"/>
              <a:gd name="connsiteX38" fmla="*/ 1066793 w 5486386"/>
              <a:gd name="connsiteY38" fmla="*/ 3200400 h 4876800"/>
              <a:gd name="connsiteX39" fmla="*/ 2743193 w 5486386"/>
              <a:gd name="connsiteY39" fmla="*/ 4876800 h 4876800"/>
              <a:gd name="connsiteX40" fmla="*/ 4419593 w 5486386"/>
              <a:gd name="connsiteY40" fmla="*/ 3200400 h 4876800"/>
              <a:gd name="connsiteX41" fmla="*/ 4085837 w 5486386"/>
              <a:gd name="connsiteY41" fmla="*/ 2200847 h 4876800"/>
              <a:gd name="connsiteX42" fmla="*/ 5458581 w 5486386"/>
              <a:gd name="connsiteY42" fmla="*/ 239840 h 4876800"/>
              <a:gd name="connsiteX43" fmla="*/ 5333707 w 5486386"/>
              <a:gd name="connsiteY43" fmla="*/ 0 h 4876800"/>
              <a:gd name="connsiteX44" fmla="*/ 445382 w 5486386"/>
              <a:gd name="connsiteY44" fmla="*/ 304800 h 4876800"/>
              <a:gd name="connsiteX45" fmla="*/ 1656200 w 5486386"/>
              <a:gd name="connsiteY45" fmla="*/ 304800 h 4876800"/>
              <a:gd name="connsiteX46" fmla="*/ 2408008 w 5486386"/>
              <a:gd name="connsiteY46" fmla="*/ 1557814 h 4876800"/>
              <a:gd name="connsiteX47" fmla="*/ 1610004 w 5486386"/>
              <a:gd name="connsiteY47" fmla="*/ 1968627 h 4876800"/>
              <a:gd name="connsiteX48" fmla="*/ 445382 w 5486386"/>
              <a:gd name="connsiteY48" fmla="*/ 304800 h 4876800"/>
              <a:gd name="connsiteX49" fmla="*/ 4114793 w 5486386"/>
              <a:gd name="connsiteY49" fmla="*/ 3200400 h 4876800"/>
              <a:gd name="connsiteX50" fmla="*/ 2743193 w 5486386"/>
              <a:gd name="connsiteY50" fmla="*/ 4572000 h 4876800"/>
              <a:gd name="connsiteX51" fmla="*/ 1371593 w 5486386"/>
              <a:gd name="connsiteY51" fmla="*/ 3200400 h 4876800"/>
              <a:gd name="connsiteX52" fmla="*/ 2743193 w 5486386"/>
              <a:gd name="connsiteY52" fmla="*/ 1828800 h 4876800"/>
              <a:gd name="connsiteX53" fmla="*/ 4114793 w 5486386"/>
              <a:gd name="connsiteY53" fmla="*/ 3200400 h 4876800"/>
              <a:gd name="connsiteX54" fmla="*/ 3876382 w 5486386"/>
              <a:gd name="connsiteY54" fmla="*/ 1968627 h 4876800"/>
              <a:gd name="connsiteX55" fmla="*/ 3078378 w 5486386"/>
              <a:gd name="connsiteY55" fmla="*/ 1557814 h 4876800"/>
              <a:gd name="connsiteX56" fmla="*/ 3830186 w 5486386"/>
              <a:gd name="connsiteY56" fmla="*/ 304800 h 4876800"/>
              <a:gd name="connsiteX57" fmla="*/ 5041004 w 5486386"/>
              <a:gd name="connsiteY57" fmla="*/ 304800 h 4876800"/>
              <a:gd name="connsiteX58" fmla="*/ 3876382 w 5486386"/>
              <a:gd name="connsiteY58" fmla="*/ 1968627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5486386" h="4876800">
                <a:moveTo>
                  <a:pt x="3165817" y="2623280"/>
                </a:moveTo>
                <a:lnTo>
                  <a:pt x="2977699" y="2241804"/>
                </a:lnTo>
                <a:cubicBezTo>
                  <a:pt x="2887783" y="2062639"/>
                  <a:pt x="2597556" y="2062163"/>
                  <a:pt x="2508307" y="2242566"/>
                </a:cubicBezTo>
                <a:lnTo>
                  <a:pt x="2320474" y="2623280"/>
                </a:lnTo>
                <a:lnTo>
                  <a:pt x="1900802" y="2684621"/>
                </a:lnTo>
                <a:cubicBezTo>
                  <a:pt x="1801361" y="2698909"/>
                  <a:pt x="1720399" y="2767203"/>
                  <a:pt x="1689157" y="2862739"/>
                </a:cubicBezTo>
                <a:cubicBezTo>
                  <a:pt x="1658200" y="2958179"/>
                  <a:pt x="1683537" y="3061145"/>
                  <a:pt x="1755546" y="3131058"/>
                </a:cubicBezTo>
                <a:lnTo>
                  <a:pt x="2059489" y="3427190"/>
                </a:lnTo>
                <a:lnTo>
                  <a:pt x="1987480" y="3845528"/>
                </a:lnTo>
                <a:cubicBezTo>
                  <a:pt x="1950237" y="4062127"/>
                  <a:pt x="2180361" y="4221766"/>
                  <a:pt x="2367241" y="4121468"/>
                </a:cubicBezTo>
                <a:lnTo>
                  <a:pt x="2743193" y="3924014"/>
                </a:lnTo>
                <a:lnTo>
                  <a:pt x="3118859" y="4121372"/>
                </a:lnTo>
                <a:cubicBezTo>
                  <a:pt x="3303168" y="4217861"/>
                  <a:pt x="3536721" y="4065365"/>
                  <a:pt x="3499002" y="3845624"/>
                </a:cubicBezTo>
                <a:lnTo>
                  <a:pt x="3426993" y="3427286"/>
                </a:lnTo>
                <a:lnTo>
                  <a:pt x="3730936" y="3131153"/>
                </a:lnTo>
                <a:cubicBezTo>
                  <a:pt x="3802945" y="3061240"/>
                  <a:pt x="3828281" y="2958179"/>
                  <a:pt x="3797325" y="2862834"/>
                </a:cubicBezTo>
                <a:cubicBezTo>
                  <a:pt x="3766083" y="2767298"/>
                  <a:pt x="3685121" y="2699099"/>
                  <a:pt x="3585965" y="2684716"/>
                </a:cubicBezTo>
                <a:lnTo>
                  <a:pt x="3165817" y="2623280"/>
                </a:lnTo>
                <a:close/>
                <a:moveTo>
                  <a:pt x="3099524" y="3320987"/>
                </a:moveTo>
                <a:lnTo>
                  <a:pt x="3183724" y="3811048"/>
                </a:lnTo>
                <a:lnTo>
                  <a:pt x="2743193" y="3579590"/>
                </a:lnTo>
                <a:lnTo>
                  <a:pt x="2301805" y="3816858"/>
                </a:lnTo>
                <a:lnTo>
                  <a:pt x="2386958" y="3320987"/>
                </a:lnTo>
                <a:lnTo>
                  <a:pt x="2030628" y="2973610"/>
                </a:lnTo>
                <a:lnTo>
                  <a:pt x="2522975" y="2901887"/>
                </a:lnTo>
                <a:lnTo>
                  <a:pt x="2743193" y="2455355"/>
                </a:lnTo>
                <a:lnTo>
                  <a:pt x="2963411" y="2901887"/>
                </a:lnTo>
                <a:lnTo>
                  <a:pt x="3455758" y="2973610"/>
                </a:lnTo>
                <a:lnTo>
                  <a:pt x="3099524" y="3320987"/>
                </a:lnTo>
                <a:close/>
                <a:moveTo>
                  <a:pt x="5333707" y="0"/>
                </a:moveTo>
                <a:lnTo>
                  <a:pt x="3830186" y="0"/>
                </a:lnTo>
                <a:cubicBezTo>
                  <a:pt x="3723125" y="0"/>
                  <a:pt x="3623875" y="56198"/>
                  <a:pt x="3568820" y="148019"/>
                </a:cubicBezTo>
                <a:lnTo>
                  <a:pt x="2743193" y="1524000"/>
                </a:lnTo>
                <a:lnTo>
                  <a:pt x="1917566" y="148019"/>
                </a:lnTo>
                <a:cubicBezTo>
                  <a:pt x="1862495" y="56192"/>
                  <a:pt x="1763275" y="1"/>
                  <a:pt x="1656200" y="0"/>
                </a:cubicBezTo>
                <a:lnTo>
                  <a:pt x="152679" y="0"/>
                </a:lnTo>
                <a:cubicBezTo>
                  <a:pt x="29330" y="0"/>
                  <a:pt x="-42869" y="138779"/>
                  <a:pt x="27806" y="239840"/>
                </a:cubicBezTo>
                <a:lnTo>
                  <a:pt x="1400549" y="2200847"/>
                </a:lnTo>
                <a:cubicBezTo>
                  <a:pt x="1191952" y="2480310"/>
                  <a:pt x="1066793" y="2825591"/>
                  <a:pt x="1066793" y="3200400"/>
                </a:cubicBezTo>
                <a:cubicBezTo>
                  <a:pt x="1066793" y="4124801"/>
                  <a:pt x="1818792" y="4876800"/>
                  <a:pt x="2743193" y="4876800"/>
                </a:cubicBezTo>
                <a:cubicBezTo>
                  <a:pt x="3667594" y="4876800"/>
                  <a:pt x="4419593" y="4124801"/>
                  <a:pt x="4419593" y="3200400"/>
                </a:cubicBezTo>
                <a:cubicBezTo>
                  <a:pt x="4419593" y="2825591"/>
                  <a:pt x="4294435" y="2480310"/>
                  <a:pt x="4085837" y="2200847"/>
                </a:cubicBezTo>
                <a:lnTo>
                  <a:pt x="5458581" y="239840"/>
                </a:lnTo>
                <a:cubicBezTo>
                  <a:pt x="5529256" y="138779"/>
                  <a:pt x="5457056" y="0"/>
                  <a:pt x="5333707" y="0"/>
                </a:cubicBezTo>
                <a:close/>
                <a:moveTo>
                  <a:pt x="445382" y="304800"/>
                </a:moveTo>
                <a:lnTo>
                  <a:pt x="1656200" y="304800"/>
                </a:lnTo>
                <a:lnTo>
                  <a:pt x="2408008" y="1557814"/>
                </a:lnTo>
                <a:cubicBezTo>
                  <a:pt x="2103685" y="1619822"/>
                  <a:pt x="1830317" y="1765840"/>
                  <a:pt x="1610004" y="1968627"/>
                </a:cubicBezTo>
                <a:lnTo>
                  <a:pt x="445382" y="304800"/>
                </a:lnTo>
                <a:close/>
                <a:moveTo>
                  <a:pt x="4114793" y="3200400"/>
                </a:moveTo>
                <a:cubicBezTo>
                  <a:pt x="4114793" y="3957923"/>
                  <a:pt x="3500716" y="4572000"/>
                  <a:pt x="2743193" y="4572000"/>
                </a:cubicBezTo>
                <a:cubicBezTo>
                  <a:pt x="1985670" y="4572000"/>
                  <a:pt x="1371593" y="3957923"/>
                  <a:pt x="1371593" y="3200400"/>
                </a:cubicBezTo>
                <a:cubicBezTo>
                  <a:pt x="1371593" y="2442877"/>
                  <a:pt x="1985670" y="1828800"/>
                  <a:pt x="2743193" y="1828800"/>
                </a:cubicBezTo>
                <a:cubicBezTo>
                  <a:pt x="3500716" y="1828800"/>
                  <a:pt x="4114793" y="2442877"/>
                  <a:pt x="4114793" y="3200400"/>
                </a:cubicBezTo>
                <a:close/>
                <a:moveTo>
                  <a:pt x="3876382" y="1968627"/>
                </a:moveTo>
                <a:cubicBezTo>
                  <a:pt x="3656069" y="1765840"/>
                  <a:pt x="3382702" y="1619822"/>
                  <a:pt x="3078378" y="1557814"/>
                </a:cubicBezTo>
                <a:lnTo>
                  <a:pt x="3830186" y="304800"/>
                </a:lnTo>
                <a:lnTo>
                  <a:pt x="5041004" y="304800"/>
                </a:lnTo>
                <a:lnTo>
                  <a:pt x="3876382" y="1968627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13" name="Graphic 561">
            <a:extLst>
              <a:ext uri="{FF2B5EF4-FFF2-40B4-BE49-F238E27FC236}">
                <a16:creationId xmlns:a16="http://schemas.microsoft.com/office/drawing/2014/main" id="{2D1E394D-3D31-4BFD-8871-84608BCAEF9D}"/>
              </a:ext>
            </a:extLst>
          </p:cNvPr>
          <p:cNvSpPr>
            <a:spLocks noChangeAspect="1"/>
          </p:cNvSpPr>
          <p:nvPr/>
        </p:nvSpPr>
        <p:spPr>
          <a:xfrm>
            <a:off x="668100" y="5837812"/>
            <a:ext cx="307800" cy="410400"/>
          </a:xfrm>
          <a:custGeom>
            <a:avLst/>
            <a:gdLst>
              <a:gd name="connsiteX0" fmla="*/ 1828800 w 3657600"/>
              <a:gd name="connsiteY0" fmla="*/ 0 h 4876797"/>
              <a:gd name="connsiteX1" fmla="*/ 0 w 3657600"/>
              <a:gd name="connsiteY1" fmla="*/ 1828800 h 4876797"/>
              <a:gd name="connsiteX2" fmla="*/ 1640853 w 3657600"/>
              <a:gd name="connsiteY2" fmla="*/ 4778407 h 4876797"/>
              <a:gd name="connsiteX3" fmla="*/ 2016757 w 3657600"/>
              <a:gd name="connsiteY3" fmla="*/ 4778407 h 4876797"/>
              <a:gd name="connsiteX4" fmla="*/ 3657600 w 3657600"/>
              <a:gd name="connsiteY4" fmla="*/ 1828800 h 4876797"/>
              <a:gd name="connsiteX5" fmla="*/ 1828800 w 3657600"/>
              <a:gd name="connsiteY5" fmla="*/ 0 h 4876797"/>
              <a:gd name="connsiteX6" fmla="*/ 1828800 w 3657600"/>
              <a:gd name="connsiteY6" fmla="*/ 4514193 h 4876797"/>
              <a:gd name="connsiteX7" fmla="*/ 304800 w 3657600"/>
              <a:gd name="connsiteY7" fmla="*/ 1828800 h 4876797"/>
              <a:gd name="connsiteX8" fmla="*/ 751170 w 3657600"/>
              <a:gd name="connsiteY8" fmla="*/ 751170 h 4876797"/>
              <a:gd name="connsiteX9" fmla="*/ 1828800 w 3657600"/>
              <a:gd name="connsiteY9" fmla="*/ 304800 h 4876797"/>
              <a:gd name="connsiteX10" fmla="*/ 2906430 w 3657600"/>
              <a:gd name="connsiteY10" fmla="*/ 751170 h 4876797"/>
              <a:gd name="connsiteX11" fmla="*/ 3352800 w 3657600"/>
              <a:gd name="connsiteY11" fmla="*/ 1828800 h 4876797"/>
              <a:gd name="connsiteX12" fmla="*/ 1828800 w 3657600"/>
              <a:gd name="connsiteY12" fmla="*/ 4514193 h 4876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657600" h="4876797">
                <a:moveTo>
                  <a:pt x="1828800" y="0"/>
                </a:moveTo>
                <a:cubicBezTo>
                  <a:pt x="818779" y="0"/>
                  <a:pt x="0" y="818779"/>
                  <a:pt x="0" y="1828800"/>
                </a:cubicBezTo>
                <a:cubicBezTo>
                  <a:pt x="0" y="2566159"/>
                  <a:pt x="256889" y="2772070"/>
                  <a:pt x="1640853" y="4778407"/>
                </a:cubicBezTo>
                <a:cubicBezTo>
                  <a:pt x="1731664" y="4909585"/>
                  <a:pt x="1925927" y="4909604"/>
                  <a:pt x="2016757" y="4778407"/>
                </a:cubicBezTo>
                <a:cubicBezTo>
                  <a:pt x="3400711" y="2772070"/>
                  <a:pt x="3657600" y="2566159"/>
                  <a:pt x="3657600" y="1828800"/>
                </a:cubicBezTo>
                <a:cubicBezTo>
                  <a:pt x="3657600" y="818779"/>
                  <a:pt x="2838822" y="0"/>
                  <a:pt x="1828800" y="0"/>
                </a:cubicBezTo>
                <a:close/>
                <a:moveTo>
                  <a:pt x="1828800" y="4514193"/>
                </a:moveTo>
                <a:cubicBezTo>
                  <a:pt x="502015" y="2595448"/>
                  <a:pt x="304800" y="2443105"/>
                  <a:pt x="304800" y="1828800"/>
                </a:cubicBezTo>
                <a:cubicBezTo>
                  <a:pt x="304800" y="1421721"/>
                  <a:pt x="463325" y="1039016"/>
                  <a:pt x="751170" y="751170"/>
                </a:cubicBezTo>
                <a:cubicBezTo>
                  <a:pt x="1039016" y="463325"/>
                  <a:pt x="1421721" y="304800"/>
                  <a:pt x="1828800" y="304800"/>
                </a:cubicBezTo>
                <a:cubicBezTo>
                  <a:pt x="2235880" y="304800"/>
                  <a:pt x="2618584" y="463325"/>
                  <a:pt x="2906430" y="751170"/>
                </a:cubicBezTo>
                <a:cubicBezTo>
                  <a:pt x="3194275" y="1039016"/>
                  <a:pt x="3352800" y="1421721"/>
                  <a:pt x="3352800" y="1828800"/>
                </a:cubicBezTo>
                <a:cubicBezTo>
                  <a:pt x="3352800" y="2443067"/>
                  <a:pt x="3155709" y="2595277"/>
                  <a:pt x="1828800" y="4514193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25747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9B102D0-85AB-454F-8CD8-F8F2823B7C7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6204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9B102D0-85AB-454F-8CD8-F8F2823B7C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7E29E2-7E98-4C99-90AA-241235C586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01" y="849054"/>
            <a:ext cx="11231473" cy="467820"/>
          </a:xfrm>
        </p:spPr>
        <p:txBody>
          <a:bodyPr vert="horz"/>
          <a:lstStyle/>
          <a:p>
            <a:r>
              <a:rPr lang="de-DE" dirty="0"/>
              <a:t>SpiraTeam- und SpiraTest-Hosting-Lösungen </a:t>
            </a:r>
            <a:r>
              <a:rPr lang="de-DE"/>
              <a:t>von DATIS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E7B4B5-E60E-4C7D-B88A-C353B4EED4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 dirty="0">
                <a:solidFill>
                  <a:schemeClr val="accent4"/>
                </a:solidFill>
              </a:rPr>
              <a:t>PTA – Vorstellung </a:t>
            </a:r>
            <a:r>
              <a:rPr lang="de-DE" noProof="0" dirty="0" err="1">
                <a:solidFill>
                  <a:schemeClr val="accent4"/>
                </a:solidFill>
              </a:rPr>
              <a:t>Inflectra</a:t>
            </a:r>
            <a:endParaRPr lang="de-DE" noProof="0" dirty="0">
              <a:solidFill>
                <a:schemeClr val="accent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98D16D-0D62-49D6-A2C6-8C230B76E9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F58692B-9CFC-42D8-9B64-0B547ADAD28E}" type="slidenum">
              <a:rPr lang="de-DE" noProof="0" smtClean="0"/>
              <a:pPr/>
              <a:t>22</a:t>
            </a:fld>
            <a:endParaRPr lang="de-DE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8316DF-9856-4AF6-9D33-406D66B007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0000" y="1664804"/>
            <a:ext cx="11232000" cy="325921"/>
          </a:xfrm>
        </p:spPr>
        <p:txBody>
          <a:bodyPr/>
          <a:lstStyle/>
          <a:p>
            <a:r>
              <a:rPr lang="de-DE" dirty="0"/>
              <a:t>Einfach. Schnell. Sicher. Zu guten, fairen und flexiblen Konditionen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AB03F2B-9B33-4A9D-B748-59A7418B1663}"/>
              </a:ext>
            </a:extLst>
          </p:cNvPr>
          <p:cNvSpPr txBox="1">
            <a:spLocks/>
          </p:cNvSpPr>
          <p:nvPr/>
        </p:nvSpPr>
        <p:spPr bwMode="gray">
          <a:xfrm>
            <a:off x="480000" y="2094464"/>
            <a:ext cx="8316338" cy="30987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1800"/>
              </a:spcBef>
            </a:pPr>
            <a:r>
              <a:rPr lang="de-DE" dirty="0"/>
              <a:t>Sie wählen einfach gemäß Ihrem individuellen Bedarf Ihr maßgeschneidertes SpiraTeam-/SpiraTest-Hosting Paket inklusive Lizenzen aus. Die Mindestlaufzeit </a:t>
            </a:r>
            <a:br>
              <a:rPr lang="de-DE" dirty="0"/>
            </a:br>
            <a:r>
              <a:rPr lang="de-DE" dirty="0"/>
              <a:t>beträgt nur 3 Monate, die Kündigungsfrist beträgt 3 Monate zum Monatsende.</a:t>
            </a:r>
          </a:p>
          <a:p>
            <a:pPr lvl="1">
              <a:spcBef>
                <a:spcPts val="1800"/>
              </a:spcBef>
            </a:pPr>
            <a:r>
              <a:rPr lang="de-DE" dirty="0"/>
              <a:t>Innerhalb 48 Stunden nach Bestelleingang steht Ihnen Ihre Inflectra-Lösung zur Verfügung.</a:t>
            </a:r>
          </a:p>
          <a:p>
            <a:pPr lvl="1">
              <a:spcBef>
                <a:spcPts val="1800"/>
              </a:spcBef>
            </a:pPr>
            <a:r>
              <a:rPr lang="de-DE" dirty="0"/>
              <a:t>Die Inflectra-Produkte SpiraTeam und SpiraTest werden als Software as a </a:t>
            </a:r>
            <a:br>
              <a:rPr lang="de-DE" dirty="0"/>
            </a:br>
            <a:r>
              <a:rPr lang="de-DE" dirty="0"/>
              <a:t>Service-Lösungen (SaaS) in unseren DIN ISO 27001 zertifizierten Rechenzentren </a:t>
            </a:r>
            <a:br>
              <a:rPr lang="de-DE" dirty="0"/>
            </a:br>
            <a:r>
              <a:rPr lang="de-DE" dirty="0"/>
              <a:t>in Mannheim betrieben.</a:t>
            </a:r>
          </a:p>
          <a:p>
            <a:pPr lvl="1">
              <a:spcBef>
                <a:spcPts val="1800"/>
              </a:spcBef>
            </a:pPr>
            <a:r>
              <a:rPr lang="de-DE" dirty="0"/>
              <a:t>Die Datensicherung und -haltung erfolgt ausschließlich in einem deutschen Rechenzentrum der DATIS gemäß den Vorgaben der </a:t>
            </a:r>
            <a:r>
              <a:rPr lang="de-DE"/>
              <a:t>EU-DSGVO.</a:t>
            </a:r>
            <a:endParaRPr lang="de-DE" dirty="0"/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9A74DD44-BF95-4255-BA84-A5DF0B201A2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73" b="10206"/>
          <a:stretch/>
        </p:blipFill>
        <p:spPr>
          <a:xfrm>
            <a:off x="9987707" y="4407101"/>
            <a:ext cx="1724868" cy="1974649"/>
          </a:xfrm>
          <a:prstGeom prst="rect">
            <a:avLst/>
          </a:prstGeom>
        </p:spPr>
      </p:pic>
      <p:cxnSp>
        <p:nvCxnSpPr>
          <p:cNvPr id="11" name="Straight Connector 66">
            <a:extLst>
              <a:ext uri="{FF2B5EF4-FFF2-40B4-BE49-F238E27FC236}">
                <a16:creationId xmlns:a16="http://schemas.microsoft.com/office/drawing/2014/main" id="{352CDE4B-8472-4248-8C7A-8B1A2B8C6F21}"/>
              </a:ext>
            </a:extLst>
          </p:cNvPr>
          <p:cNvCxnSpPr>
            <a:cxnSpLocks/>
          </p:cNvCxnSpPr>
          <p:nvPr/>
        </p:nvCxnSpPr>
        <p:spPr>
          <a:xfrm>
            <a:off x="479901" y="3037285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66">
            <a:extLst>
              <a:ext uri="{FF2B5EF4-FFF2-40B4-BE49-F238E27FC236}">
                <a16:creationId xmlns:a16="http://schemas.microsoft.com/office/drawing/2014/main" id="{F3D6C5E8-98A3-441B-87E7-A348CB9E19FE}"/>
              </a:ext>
            </a:extLst>
          </p:cNvPr>
          <p:cNvCxnSpPr>
            <a:cxnSpLocks/>
          </p:cNvCxnSpPr>
          <p:nvPr/>
        </p:nvCxnSpPr>
        <p:spPr>
          <a:xfrm>
            <a:off x="479901" y="3818335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66">
            <a:extLst>
              <a:ext uri="{FF2B5EF4-FFF2-40B4-BE49-F238E27FC236}">
                <a16:creationId xmlns:a16="http://schemas.microsoft.com/office/drawing/2014/main" id="{EF16D6AC-6245-4827-8522-A23C92D40747}"/>
              </a:ext>
            </a:extLst>
          </p:cNvPr>
          <p:cNvCxnSpPr>
            <a:cxnSpLocks/>
          </p:cNvCxnSpPr>
          <p:nvPr/>
        </p:nvCxnSpPr>
        <p:spPr>
          <a:xfrm>
            <a:off x="479901" y="4856560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llipse 3">
            <a:extLst>
              <a:ext uri="{FF2B5EF4-FFF2-40B4-BE49-F238E27FC236}">
                <a16:creationId xmlns:a16="http://schemas.microsoft.com/office/drawing/2014/main" id="{AE1EFF9B-C6BD-46B2-95BB-70B626745D92}"/>
              </a:ext>
            </a:extLst>
          </p:cNvPr>
          <p:cNvSpPr/>
          <p:nvPr/>
        </p:nvSpPr>
        <p:spPr>
          <a:xfrm rot="812204">
            <a:off x="9200987" y="1800852"/>
            <a:ext cx="1827049" cy="1827049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</a:rPr>
              <a:t>Bereits ab </a:t>
            </a:r>
          </a:p>
          <a:p>
            <a:pPr algn="ctr"/>
            <a:r>
              <a:rPr lang="de-DE" dirty="0">
                <a:solidFill>
                  <a:schemeClr val="bg1"/>
                </a:solidFill>
              </a:rPr>
              <a:t>€ 36,40 pro Monat pro User für SpiraTest!</a:t>
            </a:r>
          </a:p>
        </p:txBody>
      </p:sp>
    </p:spTree>
    <p:extLst>
      <p:ext uri="{BB962C8B-B14F-4D97-AF65-F5344CB8AC3E}">
        <p14:creationId xmlns:p14="http://schemas.microsoft.com/office/powerpoint/2010/main" val="25261425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03DB07F-DB2B-4EB0-99DE-2013EFFE1D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6782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03DB07F-DB2B-4EB0-99DE-2013EFFE1D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7E29E2-7E98-4C99-90AA-241235C586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piraTeam- und SpiraTest-Hosting-Lösungen </a:t>
            </a:r>
            <a:r>
              <a:rPr lang="de-DE"/>
              <a:t>von DATIS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E7B4B5-E60E-4C7D-B88A-C353B4EED4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 dirty="0">
                <a:solidFill>
                  <a:schemeClr val="accent4"/>
                </a:solidFill>
              </a:rPr>
              <a:t>PTA – Vorstellung </a:t>
            </a:r>
            <a:r>
              <a:rPr lang="de-DE" noProof="0" dirty="0" err="1">
                <a:solidFill>
                  <a:schemeClr val="accent4"/>
                </a:solidFill>
              </a:rPr>
              <a:t>Inflectra</a:t>
            </a:r>
            <a:endParaRPr lang="de-DE" noProof="0" dirty="0">
              <a:solidFill>
                <a:schemeClr val="accent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98D16D-0D62-49D6-A2C6-8C230B76E9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F58692B-9CFC-42D8-9B64-0B547ADAD28E}" type="slidenum">
              <a:rPr lang="de-DE" noProof="0" smtClean="0"/>
              <a:pPr/>
              <a:t>23</a:t>
            </a:fld>
            <a:endParaRPr lang="de-DE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8316DF-9856-4AF6-9D33-406D66B007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0000" y="1664804"/>
            <a:ext cx="11232000" cy="316396"/>
          </a:xfrm>
        </p:spPr>
        <p:txBody>
          <a:bodyPr/>
          <a:lstStyle/>
          <a:p>
            <a:r>
              <a:rPr lang="de-DE" dirty="0"/>
              <a:t>Hohe Verfügbarkeit, Support und jederzeitige </a:t>
            </a:r>
            <a:r>
              <a:rPr lang="de-DE"/>
              <a:t>Skalierbarkeit.</a:t>
            </a:r>
            <a:endParaRPr lang="de-DE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8BB414A-466C-410B-8EF4-E972063A72CD}"/>
              </a:ext>
            </a:extLst>
          </p:cNvPr>
          <p:cNvSpPr txBox="1">
            <a:spLocks/>
          </p:cNvSpPr>
          <p:nvPr/>
        </p:nvSpPr>
        <p:spPr bwMode="gray">
          <a:xfrm>
            <a:off x="480000" y="2094464"/>
            <a:ext cx="8316338" cy="30987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1800"/>
              </a:spcBef>
            </a:pPr>
            <a:r>
              <a:rPr lang="de-DE" dirty="0"/>
              <a:t>Unsere Inflectra Hosting-Lösungen werden 24/7 betrieben und haben eine Verfügbarkeit von 99,1%.</a:t>
            </a:r>
          </a:p>
          <a:p>
            <a:pPr lvl="1">
              <a:spcBef>
                <a:spcPts val="1800"/>
              </a:spcBef>
            </a:pPr>
            <a:r>
              <a:rPr lang="de-DE" dirty="0"/>
              <a:t>Schnelle Verfügbarkeit für Ihre Projektteams.</a:t>
            </a:r>
          </a:p>
          <a:p>
            <a:pPr lvl="1">
              <a:spcBef>
                <a:spcPts val="1800"/>
              </a:spcBef>
            </a:pPr>
            <a:r>
              <a:rPr lang="de-DE" dirty="0"/>
              <a:t>Unser Servicedesk steht Ihnen von Montag – Freitag von 8-17 Uhr telefonisch, </a:t>
            </a:r>
            <a:br>
              <a:rPr lang="de-DE" dirty="0"/>
            </a:br>
            <a:r>
              <a:rPr lang="de-DE" dirty="0"/>
              <a:t>per Mail und über unser Ticketsystem zur Verfügung. Die Reaktionszeit während </a:t>
            </a:r>
            <a:br>
              <a:rPr lang="de-DE" dirty="0"/>
            </a:br>
            <a:r>
              <a:rPr lang="de-DE" dirty="0"/>
              <a:t>der Arbeitszeit beträgt 2 Stunden.</a:t>
            </a:r>
          </a:p>
          <a:p>
            <a:pPr lvl="1">
              <a:spcBef>
                <a:spcPts val="1800"/>
              </a:spcBef>
            </a:pPr>
            <a:r>
              <a:rPr lang="de-DE" dirty="0"/>
              <a:t>Sie können Ihre Pakete jederzeit individuell anpassen und bsp.weise die Anzahl der benötigten Lizenzen gemäß Ihrem individuellen Bedarf </a:t>
            </a:r>
            <a:r>
              <a:rPr lang="de-DE"/>
              <a:t>erhöhen.</a:t>
            </a:r>
            <a:endParaRPr lang="de-DE" dirty="0"/>
          </a:p>
        </p:txBody>
      </p:sp>
      <p:pic>
        <p:nvPicPr>
          <p:cNvPr id="10" name="Grafik 8">
            <a:extLst>
              <a:ext uri="{FF2B5EF4-FFF2-40B4-BE49-F238E27FC236}">
                <a16:creationId xmlns:a16="http://schemas.microsoft.com/office/drawing/2014/main" id="{AAAC7A0B-747A-4924-AB54-A2B27106FF7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73" b="10206"/>
          <a:stretch/>
        </p:blipFill>
        <p:spPr>
          <a:xfrm>
            <a:off x="9987707" y="4407101"/>
            <a:ext cx="1724868" cy="1974649"/>
          </a:xfrm>
          <a:prstGeom prst="rect">
            <a:avLst/>
          </a:prstGeom>
        </p:spPr>
      </p:pic>
      <p:cxnSp>
        <p:nvCxnSpPr>
          <p:cNvPr id="11" name="Straight Connector 66">
            <a:extLst>
              <a:ext uri="{FF2B5EF4-FFF2-40B4-BE49-F238E27FC236}">
                <a16:creationId xmlns:a16="http://schemas.microsoft.com/office/drawing/2014/main" id="{9BB83379-17B2-4867-8408-9F204A8ADD4C}"/>
              </a:ext>
            </a:extLst>
          </p:cNvPr>
          <p:cNvCxnSpPr>
            <a:cxnSpLocks/>
          </p:cNvCxnSpPr>
          <p:nvPr/>
        </p:nvCxnSpPr>
        <p:spPr>
          <a:xfrm>
            <a:off x="479901" y="2770585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66">
            <a:extLst>
              <a:ext uri="{FF2B5EF4-FFF2-40B4-BE49-F238E27FC236}">
                <a16:creationId xmlns:a16="http://schemas.microsoft.com/office/drawing/2014/main" id="{85ABC29D-2FC5-4ABB-A3B8-31A1D1E2F377}"/>
              </a:ext>
            </a:extLst>
          </p:cNvPr>
          <p:cNvCxnSpPr>
            <a:cxnSpLocks/>
          </p:cNvCxnSpPr>
          <p:nvPr/>
        </p:nvCxnSpPr>
        <p:spPr>
          <a:xfrm>
            <a:off x="479901" y="3284935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66">
            <a:extLst>
              <a:ext uri="{FF2B5EF4-FFF2-40B4-BE49-F238E27FC236}">
                <a16:creationId xmlns:a16="http://schemas.microsoft.com/office/drawing/2014/main" id="{BD24F42A-4D23-4E54-B30B-7E547E1D92C4}"/>
              </a:ext>
            </a:extLst>
          </p:cNvPr>
          <p:cNvCxnSpPr>
            <a:cxnSpLocks/>
          </p:cNvCxnSpPr>
          <p:nvPr/>
        </p:nvCxnSpPr>
        <p:spPr>
          <a:xfrm>
            <a:off x="479901" y="4332685"/>
            <a:ext cx="2922949" cy="0"/>
          </a:xfrm>
          <a:prstGeom prst="line">
            <a:avLst/>
          </a:prstGeom>
          <a:ln>
            <a:gradFill>
              <a:gsLst>
                <a:gs pos="0">
                  <a:schemeClr val="accent1"/>
                </a:gs>
                <a:gs pos="53000">
                  <a:schemeClr val="accent3"/>
                </a:gs>
                <a:gs pos="100000">
                  <a:schemeClr val="accent3">
                    <a:alpha val="0"/>
                  </a:schemeClr>
                </a:gs>
              </a:gsLst>
              <a:lin ang="0" scaled="0"/>
            </a:gra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llipse 3">
            <a:extLst>
              <a:ext uri="{FF2B5EF4-FFF2-40B4-BE49-F238E27FC236}">
                <a16:creationId xmlns:a16="http://schemas.microsoft.com/office/drawing/2014/main" id="{5DA724DE-6D87-4C66-9C00-5E072E531813}"/>
              </a:ext>
            </a:extLst>
          </p:cNvPr>
          <p:cNvSpPr/>
          <p:nvPr/>
        </p:nvSpPr>
        <p:spPr>
          <a:xfrm rot="812204">
            <a:off x="9200987" y="1800852"/>
            <a:ext cx="1827049" cy="1827049"/>
          </a:xfrm>
          <a:prstGeom prst="ellipse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</a:rPr>
              <a:t>Tägliches Backup der letzten 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14 Tage inklusive!</a:t>
            </a:r>
          </a:p>
        </p:txBody>
      </p:sp>
    </p:spTree>
    <p:extLst>
      <p:ext uri="{BB962C8B-B14F-4D97-AF65-F5344CB8AC3E}">
        <p14:creationId xmlns:p14="http://schemas.microsoft.com/office/powerpoint/2010/main" val="23196392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B5A45386-3C6E-4A6B-ABB3-27DE9DF3E2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1371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B5A45386-3C6E-4A6B-ABB3-27DE9DF3E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621DA415-35A2-4A56-B44C-65F784A7B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Einführung</a:t>
            </a:r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1E784E0-206A-4531-8BB2-DBD698362E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0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98837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3629E5A-7E16-4385-925C-A5E019D820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4403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3629E5A-7E16-4385-925C-A5E019D820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6">
            <a:extLst>
              <a:ext uri="{FF2B5EF4-FFF2-40B4-BE49-F238E27FC236}">
                <a16:creationId xmlns:a16="http://schemas.microsoft.com/office/drawing/2014/main" id="{AF6D3283-17DC-4F12-84E7-19BCF1668D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Ein </a:t>
            </a:r>
            <a:r>
              <a:rPr lang="de-DE"/>
              <a:t>starkes Team</a:t>
            </a: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E7B4B5-E60E-4C7D-B88A-C353B4EED4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 dirty="0">
                <a:solidFill>
                  <a:schemeClr val="accent4"/>
                </a:solidFill>
              </a:rPr>
              <a:t>PTA – Vorstellung </a:t>
            </a:r>
            <a:r>
              <a:rPr lang="de-DE" noProof="0" dirty="0" err="1">
                <a:solidFill>
                  <a:schemeClr val="accent4"/>
                </a:solidFill>
              </a:rPr>
              <a:t>Inflectra</a:t>
            </a:r>
            <a:endParaRPr lang="de-DE" noProof="0" dirty="0">
              <a:solidFill>
                <a:schemeClr val="accent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98D16D-0D62-49D6-A2C6-8C230B76E9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F58692B-9CFC-42D8-9B64-0B547ADAD28E}" type="slidenum">
              <a:rPr lang="de-DE" noProof="0" smtClean="0"/>
              <a:pPr/>
              <a:t>4</a:t>
            </a:fld>
            <a:endParaRPr lang="de-DE" noProof="0" dirty="0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44A117A9-5DB3-4E3D-91E5-7A3F7D4D8A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0000" y="1664804"/>
            <a:ext cx="11232000" cy="257963"/>
          </a:xfrm>
        </p:spPr>
        <p:txBody>
          <a:bodyPr/>
          <a:lstStyle/>
          <a:p>
            <a:r>
              <a:rPr lang="de-DE" dirty="0"/>
              <a:t>Übersicht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774BD830-0E1C-4CD3-B547-469799CC0E8D}"/>
              </a:ext>
            </a:extLst>
          </p:cNvPr>
          <p:cNvSpPr txBox="1">
            <a:spLocks/>
          </p:cNvSpPr>
          <p:nvPr/>
        </p:nvSpPr>
        <p:spPr>
          <a:xfrm>
            <a:off x="479999" y="3581400"/>
            <a:ext cx="3492000" cy="28003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/>
              <a:t>Inhabergeführtes Unternehmen mit Sitz in Silver Spring, USA</a:t>
            </a:r>
          </a:p>
          <a:p>
            <a:pPr lvl="2"/>
            <a:r>
              <a:rPr lang="de-DE" dirty="0"/>
              <a:t>Bietet hervorragende Tools für  das Testmanagement bis zum umfassenden Application Lifecycle Management (ALM)</a:t>
            </a:r>
          </a:p>
          <a:p>
            <a:pPr lvl="3"/>
            <a:r>
              <a:rPr lang="de-DE" sz="1800" dirty="0"/>
              <a:t>SpiraTest</a:t>
            </a:r>
          </a:p>
          <a:p>
            <a:pPr lvl="3"/>
            <a:r>
              <a:rPr lang="de-DE" sz="1800" dirty="0"/>
              <a:t>SpiraTeam</a:t>
            </a:r>
          </a:p>
          <a:p>
            <a:pPr lvl="3"/>
            <a:r>
              <a:rPr lang="de-DE" sz="1800" dirty="0"/>
              <a:t>SpiraPlan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858CADB5-0CC7-43B1-AF5F-611D02C74385}"/>
              </a:ext>
            </a:extLst>
          </p:cNvPr>
          <p:cNvSpPr txBox="1">
            <a:spLocks/>
          </p:cNvSpPr>
          <p:nvPr/>
        </p:nvSpPr>
        <p:spPr>
          <a:xfrm>
            <a:off x="4349686" y="3581400"/>
            <a:ext cx="3492000" cy="28003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/>
              <a:t>PTA ist seit 2009 Beratungs-partner im deutschsprachigen Raum für Inflectra.</a:t>
            </a:r>
          </a:p>
          <a:p>
            <a:pPr lvl="2"/>
            <a:r>
              <a:rPr lang="de-DE" dirty="0"/>
              <a:t>PTA bietet Dienstleistungen rund um die Inflectra-Produktpalette an:</a:t>
            </a:r>
          </a:p>
          <a:p>
            <a:pPr lvl="3"/>
            <a:r>
              <a:rPr lang="de-DE" sz="1800" dirty="0"/>
              <a:t>Einführung</a:t>
            </a:r>
          </a:p>
          <a:p>
            <a:pPr lvl="3"/>
            <a:r>
              <a:rPr lang="de-DE" sz="1800" dirty="0"/>
              <a:t>Customizing</a:t>
            </a:r>
          </a:p>
          <a:p>
            <a:pPr lvl="3"/>
            <a:r>
              <a:rPr lang="de-DE" sz="1800"/>
              <a:t>Schulung</a:t>
            </a:r>
            <a:endParaRPr lang="de-DE" sz="1800" dirty="0"/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D6560EBE-6D9C-48B2-AFB5-6DD4E39CBA53}"/>
              </a:ext>
            </a:extLst>
          </p:cNvPr>
          <p:cNvSpPr txBox="1">
            <a:spLocks/>
          </p:cNvSpPr>
          <p:nvPr/>
        </p:nvSpPr>
        <p:spPr>
          <a:xfrm>
            <a:off x="8219374" y="3581400"/>
            <a:ext cx="3492000" cy="28003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/>
              <a:t>DATIS bietet als Schwester-unternehmen der PTA und </a:t>
            </a:r>
            <a:r>
              <a:rPr lang="de-DE" dirty="0" err="1"/>
              <a:t>Full</a:t>
            </a:r>
            <a:r>
              <a:rPr lang="de-DE" dirty="0"/>
              <a:t> Service Hosting Provider seit 1969 u.a. maßgeschneiderte </a:t>
            </a:r>
            <a:r>
              <a:rPr lang="de-DE" dirty="0" err="1"/>
              <a:t>Hostinglösungen</a:t>
            </a:r>
            <a:r>
              <a:rPr lang="de-DE" dirty="0"/>
              <a:t> an. </a:t>
            </a:r>
          </a:p>
          <a:p>
            <a:pPr lvl="2"/>
            <a:r>
              <a:rPr lang="de-DE" dirty="0"/>
              <a:t>Bei DATIS können Sie komplette Hosting-Pakete inklusive </a:t>
            </a:r>
            <a:r>
              <a:rPr lang="de-DE" dirty="0" err="1"/>
              <a:t>Inflectra</a:t>
            </a:r>
            <a:r>
              <a:rPr lang="de-DE" dirty="0"/>
              <a:t>-Lizenzen im Rahmen von Software </a:t>
            </a:r>
            <a:r>
              <a:rPr lang="de-DE" dirty="0" err="1"/>
              <a:t>as</a:t>
            </a:r>
            <a:r>
              <a:rPr lang="de-DE" dirty="0"/>
              <a:t> a Service Lösungen buchen.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B1E93C1-3286-463E-8080-1D3551EA53E9}"/>
              </a:ext>
            </a:extLst>
          </p:cNvPr>
          <p:cNvSpPr/>
          <p:nvPr/>
        </p:nvSpPr>
        <p:spPr>
          <a:xfrm>
            <a:off x="479999" y="2084387"/>
            <a:ext cx="3492000" cy="1373187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4C57730-1053-4201-878C-201E813B59FB}"/>
              </a:ext>
            </a:extLst>
          </p:cNvPr>
          <p:cNvSpPr/>
          <p:nvPr/>
        </p:nvSpPr>
        <p:spPr>
          <a:xfrm>
            <a:off x="4349686" y="2084387"/>
            <a:ext cx="3492000" cy="1373187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E03528D-C67C-4C9B-A089-FA799AC38E9C}"/>
              </a:ext>
            </a:extLst>
          </p:cNvPr>
          <p:cNvSpPr/>
          <p:nvPr/>
        </p:nvSpPr>
        <p:spPr>
          <a:xfrm>
            <a:off x="8219374" y="2084387"/>
            <a:ext cx="3492000" cy="1373187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7" name="Grafik 8">
            <a:extLst>
              <a:ext uri="{FF2B5EF4-FFF2-40B4-BE49-F238E27FC236}">
                <a16:creationId xmlns:a16="http://schemas.microsoft.com/office/drawing/2014/main" id="{6445BE50-E900-442A-9C0E-B9D5B77358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0865" y="2270352"/>
            <a:ext cx="2950268" cy="1001257"/>
          </a:xfrm>
          <a:prstGeom prst="rect">
            <a:avLst/>
          </a:prstGeom>
        </p:spPr>
      </p:pic>
      <p:pic>
        <p:nvPicPr>
          <p:cNvPr id="38" name="Grafik 27">
            <a:extLst>
              <a:ext uri="{FF2B5EF4-FFF2-40B4-BE49-F238E27FC236}">
                <a16:creationId xmlns:a16="http://schemas.microsoft.com/office/drawing/2014/main" id="{0ADC6885-AD1C-430C-9CBA-05362116626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6689" y="2249619"/>
            <a:ext cx="2217995" cy="1042722"/>
          </a:xfrm>
          <a:prstGeom prst="rect">
            <a:avLst/>
          </a:prstGeom>
        </p:spPr>
      </p:pic>
      <p:pic>
        <p:nvPicPr>
          <p:cNvPr id="16" name="Grafik 1">
            <a:extLst>
              <a:ext uri="{FF2B5EF4-FFF2-40B4-BE49-F238E27FC236}">
                <a16:creationId xmlns:a16="http://schemas.microsoft.com/office/drawing/2014/main" id="{42D3FE3E-2B32-415B-ADA5-4F6B8CC1992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04330" y="2516249"/>
            <a:ext cx="2522088" cy="509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1520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B5A45386-3C6E-4A6B-ABB3-27DE9DF3E2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318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B5A45386-3C6E-4A6B-ABB3-27DE9DF3E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621DA415-35A2-4A56-B44C-65F784A7B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Inflectra und deren Produkte</a:t>
            </a:r>
            <a:endParaRPr lang="de-DE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1E784E0-206A-4531-8BB2-DBD698362E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0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70908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4571E31-9A86-4606-8A46-34877D3F73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45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4571E31-9A86-4606-8A46-34877D3F73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7E29E2-7E98-4C99-90AA-241235C586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01" y="849054"/>
            <a:ext cx="11231473" cy="467820"/>
          </a:xfrm>
        </p:spPr>
        <p:txBody>
          <a:bodyPr vert="horz"/>
          <a:lstStyle/>
          <a:p>
            <a:r>
              <a:rPr lang="de-DE"/>
              <a:t>Inflectra</a:t>
            </a: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E7B4B5-E60E-4C7D-B88A-C353B4EED4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 dirty="0">
                <a:solidFill>
                  <a:schemeClr val="accent4"/>
                </a:solidFill>
              </a:rPr>
              <a:t>PTA – Vorstellung </a:t>
            </a:r>
            <a:r>
              <a:rPr lang="de-DE" noProof="0" dirty="0" err="1">
                <a:solidFill>
                  <a:schemeClr val="accent4"/>
                </a:solidFill>
              </a:rPr>
              <a:t>Inflectra</a:t>
            </a:r>
            <a:endParaRPr lang="de-DE" noProof="0" dirty="0">
              <a:solidFill>
                <a:schemeClr val="accent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98D16D-0D62-49D6-A2C6-8C230B76E9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F58692B-9CFC-42D8-9B64-0B547ADAD28E}" type="slidenum">
              <a:rPr lang="de-DE" noProof="0" smtClean="0"/>
              <a:pPr/>
              <a:t>6</a:t>
            </a:fld>
            <a:endParaRPr lang="de-DE" noProof="0" dirty="0"/>
          </a:p>
        </p:txBody>
      </p:sp>
      <p:pic>
        <p:nvPicPr>
          <p:cNvPr id="12" name="Grafik 19">
            <a:extLst>
              <a:ext uri="{FF2B5EF4-FFF2-40B4-BE49-F238E27FC236}">
                <a16:creationId xmlns:a16="http://schemas.microsoft.com/office/drawing/2014/main" id="{AB6D6269-16A0-4595-9419-BA132E1BFE8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75387" y="1659247"/>
            <a:ext cx="5437187" cy="3215800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00DFB340-41DA-419B-884C-85FE02704ED4}"/>
              </a:ext>
            </a:extLst>
          </p:cNvPr>
          <p:cNvSpPr txBox="1">
            <a:spLocks/>
          </p:cNvSpPr>
          <p:nvPr/>
        </p:nvSpPr>
        <p:spPr bwMode="gray">
          <a:xfrm>
            <a:off x="480000" y="2063525"/>
            <a:ext cx="5436614" cy="43182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/>
              <a:t>Privat geführtes Unternehmen </a:t>
            </a:r>
          </a:p>
          <a:p>
            <a:pPr lvl="2"/>
            <a:r>
              <a:rPr lang="de-DE" dirty="0"/>
              <a:t>Sitz in Silver Spring, Maryland, USA</a:t>
            </a:r>
          </a:p>
          <a:p>
            <a:pPr lvl="2"/>
            <a:r>
              <a:rPr lang="de-DE" dirty="0"/>
              <a:t>ca. 25 Mitarbeiter</a:t>
            </a:r>
          </a:p>
          <a:p>
            <a:pPr lvl="2"/>
            <a:r>
              <a:rPr lang="de-DE" dirty="0"/>
              <a:t>Ca. 7.000 Kunden, ca. 80.000 Anwender</a:t>
            </a:r>
          </a:p>
          <a:p>
            <a:pPr lvl="2"/>
            <a:r>
              <a:rPr lang="de-DE" dirty="0"/>
              <a:t>Produktpalette siehe </a:t>
            </a:r>
            <a:br>
              <a:rPr lang="de-DE" dirty="0"/>
            </a:br>
            <a:r>
              <a:rPr lang="de-DE" dirty="0"/>
              <a:t>     </a:t>
            </a:r>
            <a:r>
              <a:rPr lang="de-DE" dirty="0">
                <a:hlinkClick r:id="rId7"/>
              </a:rPr>
              <a:t>https://www.inflectra.com/products/</a:t>
            </a:r>
            <a:endParaRPr lang="de-DE" dirty="0"/>
          </a:p>
          <a:p>
            <a:pPr lvl="2"/>
            <a:r>
              <a:rPr lang="de-DE" dirty="0"/>
              <a:t>Hervorragender Support der Produkte </a:t>
            </a:r>
          </a:p>
          <a:p>
            <a:pPr lvl="3"/>
            <a:r>
              <a:rPr lang="de-DE" sz="1800" dirty="0"/>
              <a:t>24/7 Support</a:t>
            </a:r>
          </a:p>
          <a:p>
            <a:pPr lvl="3"/>
            <a:r>
              <a:rPr lang="de-DE" sz="1800" dirty="0"/>
              <a:t>Emailsupport</a:t>
            </a:r>
          </a:p>
          <a:p>
            <a:pPr lvl="3"/>
            <a:r>
              <a:rPr lang="de-DE" sz="1800" dirty="0"/>
              <a:t>Userforen</a:t>
            </a:r>
          </a:p>
          <a:p>
            <a:pPr lvl="3"/>
            <a:r>
              <a:rPr lang="de-DE" sz="1800" dirty="0"/>
              <a:t>Frei verfügbares Videomaterial</a:t>
            </a:r>
          </a:p>
          <a:p>
            <a:pPr lvl="2"/>
            <a:r>
              <a:rPr lang="de-DE" dirty="0"/>
              <a:t>Äußerst einfaches Lizenzmodell (Concurrent user und keine Unterscheidung der Rollen)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3545E97-30A5-47A8-87D6-0DA5CCFDDBE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0000" y="1664804"/>
            <a:ext cx="11232000" cy="354496"/>
          </a:xfrm>
        </p:spPr>
        <p:txBody>
          <a:bodyPr/>
          <a:lstStyle/>
          <a:p>
            <a:r>
              <a:rPr lang="de-DE" dirty="0"/>
              <a:t>Kurzdarstellung der Firma</a:t>
            </a:r>
          </a:p>
        </p:txBody>
      </p:sp>
      <p:sp>
        <p:nvSpPr>
          <p:cNvPr id="10" name="Graphic 541">
            <a:extLst>
              <a:ext uri="{FF2B5EF4-FFF2-40B4-BE49-F238E27FC236}">
                <a16:creationId xmlns:a16="http://schemas.microsoft.com/office/drawing/2014/main" id="{BF728A97-D8A7-424A-8527-D5565EC766D2}"/>
              </a:ext>
            </a:extLst>
          </p:cNvPr>
          <p:cNvSpPr>
            <a:spLocks noChangeAspect="1"/>
          </p:cNvSpPr>
          <p:nvPr/>
        </p:nvSpPr>
        <p:spPr>
          <a:xfrm>
            <a:off x="701675" y="3783891"/>
            <a:ext cx="233999" cy="234000"/>
          </a:xfrm>
          <a:custGeom>
            <a:avLst/>
            <a:gdLst>
              <a:gd name="connsiteX0" fmla="*/ 2868441 w 4876811"/>
              <a:gd name="connsiteY0" fmla="*/ 3759552 h 4876821"/>
              <a:gd name="connsiteX1" fmla="*/ 2114061 w 4876811"/>
              <a:gd name="connsiteY1" fmla="*/ 4513837 h 4876821"/>
              <a:gd name="connsiteX2" fmla="*/ 362985 w 4876811"/>
              <a:gd name="connsiteY2" fmla="*/ 4513837 h 4876821"/>
              <a:gd name="connsiteX3" fmla="*/ 362985 w 4876811"/>
              <a:gd name="connsiteY3" fmla="*/ 2762761 h 4876821"/>
              <a:gd name="connsiteX4" fmla="*/ 1117269 w 4876811"/>
              <a:gd name="connsiteY4" fmla="*/ 2008381 h 4876821"/>
              <a:gd name="connsiteX5" fmla="*/ 1150912 w 4876811"/>
              <a:gd name="connsiteY5" fmla="*/ 1975967 h 4876821"/>
              <a:gd name="connsiteX6" fmla="*/ 1343393 w 4876811"/>
              <a:gd name="connsiteY6" fmla="*/ 2054891 h 4876821"/>
              <a:gd name="connsiteX7" fmla="*/ 1354975 w 4876811"/>
              <a:gd name="connsiteY7" fmla="*/ 2191899 h 4876821"/>
              <a:gd name="connsiteX8" fmla="*/ 1322619 w 4876811"/>
              <a:gd name="connsiteY8" fmla="*/ 2288063 h 4876821"/>
              <a:gd name="connsiteX9" fmla="*/ 605386 w 4876811"/>
              <a:gd name="connsiteY9" fmla="*/ 3005163 h 4876821"/>
              <a:gd name="connsiteX10" fmla="*/ 605386 w 4876811"/>
              <a:gd name="connsiteY10" fmla="*/ 4271416 h 4876821"/>
              <a:gd name="connsiteX11" fmla="*/ 1871640 w 4876811"/>
              <a:gd name="connsiteY11" fmla="*/ 4271416 h 4876821"/>
              <a:gd name="connsiteX12" fmla="*/ 2626020 w 4876811"/>
              <a:gd name="connsiteY12" fmla="*/ 3517036 h 4876821"/>
              <a:gd name="connsiteX13" fmla="*/ 2629449 w 4876811"/>
              <a:gd name="connsiteY13" fmla="*/ 3513607 h 4876821"/>
              <a:gd name="connsiteX14" fmla="*/ 2625925 w 4876811"/>
              <a:gd name="connsiteY14" fmla="*/ 2250783 h 4876821"/>
              <a:gd name="connsiteX15" fmla="*/ 2363178 w 4876811"/>
              <a:gd name="connsiteY15" fmla="*/ 2068769 h 4876821"/>
              <a:gd name="connsiteX16" fmla="*/ 2295226 w 4876811"/>
              <a:gd name="connsiteY16" fmla="*/ 1957613 h 4876821"/>
              <a:gd name="connsiteX17" fmla="*/ 2322144 w 4876811"/>
              <a:gd name="connsiteY17" fmla="*/ 1812271 h 4876821"/>
              <a:gd name="connsiteX18" fmla="*/ 2473773 w 4876811"/>
              <a:gd name="connsiteY18" fmla="*/ 1742929 h 4876821"/>
              <a:gd name="connsiteX19" fmla="*/ 2868441 w 4876811"/>
              <a:gd name="connsiteY19" fmla="*/ 2008371 h 4876821"/>
              <a:gd name="connsiteX20" fmla="*/ 2868441 w 4876811"/>
              <a:gd name="connsiteY20" fmla="*/ 3759552 h 4876821"/>
              <a:gd name="connsiteX21" fmla="*/ 2008371 w 4876811"/>
              <a:gd name="connsiteY21" fmla="*/ 2868450 h 4876821"/>
              <a:gd name="connsiteX22" fmla="*/ 2403040 w 4876811"/>
              <a:gd name="connsiteY22" fmla="*/ 3133893 h 4876821"/>
              <a:gd name="connsiteX23" fmla="*/ 2554668 w 4876811"/>
              <a:gd name="connsiteY23" fmla="*/ 3064551 h 4876821"/>
              <a:gd name="connsiteX24" fmla="*/ 2581586 w 4876811"/>
              <a:gd name="connsiteY24" fmla="*/ 2919209 h 4876821"/>
              <a:gd name="connsiteX25" fmla="*/ 2513635 w 4876811"/>
              <a:gd name="connsiteY25" fmla="*/ 2808052 h 4876821"/>
              <a:gd name="connsiteX26" fmla="*/ 2250887 w 4876811"/>
              <a:gd name="connsiteY26" fmla="*/ 2626039 h 4876821"/>
              <a:gd name="connsiteX27" fmla="*/ 2247363 w 4876811"/>
              <a:gd name="connsiteY27" fmla="*/ 1363214 h 4876821"/>
              <a:gd name="connsiteX28" fmla="*/ 2250792 w 4876811"/>
              <a:gd name="connsiteY28" fmla="*/ 1359785 h 4876821"/>
              <a:gd name="connsiteX29" fmla="*/ 3005172 w 4876811"/>
              <a:gd name="connsiteY29" fmla="*/ 605405 h 4876821"/>
              <a:gd name="connsiteX30" fmla="*/ 4271426 w 4876811"/>
              <a:gd name="connsiteY30" fmla="*/ 605405 h 4876821"/>
              <a:gd name="connsiteX31" fmla="*/ 4271426 w 4876811"/>
              <a:gd name="connsiteY31" fmla="*/ 1871659 h 4876821"/>
              <a:gd name="connsiteX32" fmla="*/ 3554193 w 4876811"/>
              <a:gd name="connsiteY32" fmla="*/ 2588758 h 4876821"/>
              <a:gd name="connsiteX33" fmla="*/ 3521837 w 4876811"/>
              <a:gd name="connsiteY33" fmla="*/ 2684923 h 4876821"/>
              <a:gd name="connsiteX34" fmla="*/ 3533419 w 4876811"/>
              <a:gd name="connsiteY34" fmla="*/ 2821930 h 4876821"/>
              <a:gd name="connsiteX35" fmla="*/ 3725900 w 4876811"/>
              <a:gd name="connsiteY35" fmla="*/ 2900854 h 4876821"/>
              <a:gd name="connsiteX36" fmla="*/ 3759543 w 4876811"/>
              <a:gd name="connsiteY36" fmla="*/ 2868441 h 4876821"/>
              <a:gd name="connsiteX37" fmla="*/ 4513827 w 4876811"/>
              <a:gd name="connsiteY37" fmla="*/ 2114061 h 4876821"/>
              <a:gd name="connsiteX38" fmla="*/ 4513827 w 4876811"/>
              <a:gd name="connsiteY38" fmla="*/ 362985 h 4876821"/>
              <a:gd name="connsiteX39" fmla="*/ 2762751 w 4876811"/>
              <a:gd name="connsiteY39" fmla="*/ 362985 h 4876821"/>
              <a:gd name="connsiteX40" fmla="*/ 2008371 w 4876811"/>
              <a:gd name="connsiteY40" fmla="*/ 1117269 h 4876821"/>
              <a:gd name="connsiteX41" fmla="*/ 2008371 w 4876811"/>
              <a:gd name="connsiteY41" fmla="*/ 2868450 h 4876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4876811" h="4876821">
                <a:moveTo>
                  <a:pt x="2868441" y="3759552"/>
                </a:moveTo>
                <a:lnTo>
                  <a:pt x="2114061" y="4513837"/>
                </a:lnTo>
                <a:cubicBezTo>
                  <a:pt x="1630400" y="4997697"/>
                  <a:pt x="846883" y="4997936"/>
                  <a:pt x="362985" y="4513837"/>
                </a:cubicBezTo>
                <a:cubicBezTo>
                  <a:pt x="-120876" y="4030177"/>
                  <a:pt x="-121114" y="3246660"/>
                  <a:pt x="362985" y="2762761"/>
                </a:cubicBezTo>
                <a:lnTo>
                  <a:pt x="1117269" y="2008381"/>
                </a:lnTo>
                <a:cubicBezTo>
                  <a:pt x="1128283" y="1997370"/>
                  <a:pt x="1139499" y="1986564"/>
                  <a:pt x="1150912" y="1975967"/>
                </a:cubicBezTo>
                <a:cubicBezTo>
                  <a:pt x="1222826" y="1909245"/>
                  <a:pt x="1339459" y="1956879"/>
                  <a:pt x="1343393" y="2054891"/>
                </a:cubicBezTo>
                <a:cubicBezTo>
                  <a:pt x="1345231" y="2100678"/>
                  <a:pt x="1349089" y="2146398"/>
                  <a:pt x="1354975" y="2191899"/>
                </a:cubicBezTo>
                <a:cubicBezTo>
                  <a:pt x="1359557" y="2227303"/>
                  <a:pt x="1347870" y="2262832"/>
                  <a:pt x="1322619" y="2288063"/>
                </a:cubicBezTo>
                <a:cubicBezTo>
                  <a:pt x="1165647" y="2444931"/>
                  <a:pt x="606891" y="3003658"/>
                  <a:pt x="605386" y="3005163"/>
                </a:cubicBezTo>
                <a:cubicBezTo>
                  <a:pt x="255457" y="3355292"/>
                  <a:pt x="255524" y="3921353"/>
                  <a:pt x="605386" y="4271416"/>
                </a:cubicBezTo>
                <a:cubicBezTo>
                  <a:pt x="955516" y="4621346"/>
                  <a:pt x="1521577" y="4621279"/>
                  <a:pt x="1871640" y="4271416"/>
                </a:cubicBezTo>
                <a:lnTo>
                  <a:pt x="2626020" y="3517036"/>
                </a:lnTo>
                <a:lnTo>
                  <a:pt x="2629449" y="3513607"/>
                </a:lnTo>
                <a:cubicBezTo>
                  <a:pt x="2975216" y="3164306"/>
                  <a:pt x="2973682" y="2598540"/>
                  <a:pt x="2625925" y="2250783"/>
                </a:cubicBezTo>
                <a:cubicBezTo>
                  <a:pt x="2547686" y="2172544"/>
                  <a:pt x="2458504" y="2111908"/>
                  <a:pt x="2363178" y="2068769"/>
                </a:cubicBezTo>
                <a:cubicBezTo>
                  <a:pt x="2319686" y="2049091"/>
                  <a:pt x="2292445" y="2005266"/>
                  <a:pt x="2295226" y="1957613"/>
                </a:cubicBezTo>
                <a:cubicBezTo>
                  <a:pt x="2298096" y="1908231"/>
                  <a:pt x="2307139" y="1859404"/>
                  <a:pt x="2322144" y="1812271"/>
                </a:cubicBezTo>
                <a:cubicBezTo>
                  <a:pt x="2342175" y="1749396"/>
                  <a:pt x="2412927" y="1717392"/>
                  <a:pt x="2473773" y="1742929"/>
                </a:cubicBezTo>
                <a:cubicBezTo>
                  <a:pt x="2617343" y="1803165"/>
                  <a:pt x="2751779" y="1891709"/>
                  <a:pt x="2868441" y="2008371"/>
                </a:cubicBezTo>
                <a:cubicBezTo>
                  <a:pt x="3351244" y="2491184"/>
                  <a:pt x="3351158" y="3276816"/>
                  <a:pt x="2868441" y="3759552"/>
                </a:cubicBezTo>
                <a:close/>
                <a:moveTo>
                  <a:pt x="2008371" y="2868450"/>
                </a:moveTo>
                <a:cubicBezTo>
                  <a:pt x="2125034" y="2985112"/>
                  <a:pt x="2259469" y="3073657"/>
                  <a:pt x="2403040" y="3133893"/>
                </a:cubicBezTo>
                <a:cubicBezTo>
                  <a:pt x="2463885" y="3159420"/>
                  <a:pt x="2534637" y="3127416"/>
                  <a:pt x="2554668" y="3064551"/>
                </a:cubicBezTo>
                <a:cubicBezTo>
                  <a:pt x="2569673" y="3017417"/>
                  <a:pt x="2578716" y="2968590"/>
                  <a:pt x="2581586" y="2919209"/>
                </a:cubicBezTo>
                <a:cubicBezTo>
                  <a:pt x="2584367" y="2871555"/>
                  <a:pt x="2557116" y="2827731"/>
                  <a:pt x="2513635" y="2808052"/>
                </a:cubicBezTo>
                <a:cubicBezTo>
                  <a:pt x="2418308" y="2764923"/>
                  <a:pt x="2329126" y="2704287"/>
                  <a:pt x="2250887" y="2626039"/>
                </a:cubicBezTo>
                <a:cubicBezTo>
                  <a:pt x="1903130" y="2278281"/>
                  <a:pt x="1901596" y="1712515"/>
                  <a:pt x="2247363" y="1363214"/>
                </a:cubicBezTo>
                <a:lnTo>
                  <a:pt x="2250792" y="1359785"/>
                </a:lnTo>
                <a:lnTo>
                  <a:pt x="3005172" y="605405"/>
                </a:lnTo>
                <a:cubicBezTo>
                  <a:pt x="3355235" y="255543"/>
                  <a:pt x="3921296" y="255476"/>
                  <a:pt x="4271426" y="605405"/>
                </a:cubicBezTo>
                <a:cubicBezTo>
                  <a:pt x="4621289" y="955468"/>
                  <a:pt x="4621355" y="1521530"/>
                  <a:pt x="4271426" y="1871659"/>
                </a:cubicBezTo>
                <a:cubicBezTo>
                  <a:pt x="4269930" y="1873154"/>
                  <a:pt x="3711175" y="2431891"/>
                  <a:pt x="3554193" y="2588758"/>
                </a:cubicBezTo>
                <a:cubicBezTo>
                  <a:pt x="3528942" y="2613999"/>
                  <a:pt x="3517255" y="2649518"/>
                  <a:pt x="3521837" y="2684923"/>
                </a:cubicBezTo>
                <a:cubicBezTo>
                  <a:pt x="3527717" y="2730399"/>
                  <a:pt x="3531582" y="2776112"/>
                  <a:pt x="3533419" y="2821930"/>
                </a:cubicBezTo>
                <a:cubicBezTo>
                  <a:pt x="3537353" y="2919952"/>
                  <a:pt x="3653996" y="2967577"/>
                  <a:pt x="3725900" y="2900854"/>
                </a:cubicBezTo>
                <a:cubicBezTo>
                  <a:pt x="3737315" y="2890260"/>
                  <a:pt x="3748531" y="2879454"/>
                  <a:pt x="3759543" y="2868441"/>
                </a:cubicBezTo>
                <a:lnTo>
                  <a:pt x="4513827" y="2114061"/>
                </a:lnTo>
                <a:cubicBezTo>
                  <a:pt x="4997926" y="1630162"/>
                  <a:pt x="4997688" y="846645"/>
                  <a:pt x="4513827" y="362985"/>
                </a:cubicBezTo>
                <a:cubicBezTo>
                  <a:pt x="4029938" y="-121114"/>
                  <a:pt x="3246412" y="-120876"/>
                  <a:pt x="2762751" y="362985"/>
                </a:cubicBezTo>
                <a:lnTo>
                  <a:pt x="2008371" y="1117269"/>
                </a:lnTo>
                <a:cubicBezTo>
                  <a:pt x="1525654" y="1600016"/>
                  <a:pt x="1525568" y="2385647"/>
                  <a:pt x="2008371" y="286845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93991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73912C-11EE-43B7-9654-54554E5705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9275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73912C-11EE-43B7-9654-54554E5705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5C842D65-BD68-4781-B9ED-712C15682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unktionsumfang </a:t>
            </a:r>
            <a:r>
              <a:rPr lang="de-DE"/>
              <a:t>der Spira-Produkte</a:t>
            </a:r>
            <a:endParaRPr lang="de-DE" b="0" dirty="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E7B4B5-E60E-4C7D-B88A-C353B4EED4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 dirty="0">
                <a:solidFill>
                  <a:schemeClr val="accent4"/>
                </a:solidFill>
              </a:rPr>
              <a:t>PTA – Vorstellung </a:t>
            </a:r>
            <a:r>
              <a:rPr lang="de-DE" noProof="0" dirty="0" err="1">
                <a:solidFill>
                  <a:schemeClr val="accent4"/>
                </a:solidFill>
              </a:rPr>
              <a:t>Inflectra</a:t>
            </a:r>
            <a:endParaRPr lang="de-DE" noProof="0" dirty="0">
              <a:solidFill>
                <a:schemeClr val="accent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98D16D-0D62-49D6-A2C6-8C230B76E9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F58692B-9CFC-42D8-9B64-0B547ADAD28E}" type="slidenum">
              <a:rPr lang="de-DE" noProof="0" smtClean="0"/>
              <a:pPr/>
              <a:t>7</a:t>
            </a:fld>
            <a:endParaRPr lang="de-DE" noProof="0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1DB14077-7D2B-410F-9B4F-E23665AE37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0000" y="1664804"/>
            <a:ext cx="11232000" cy="297346"/>
          </a:xfrm>
        </p:spPr>
        <p:txBody>
          <a:bodyPr/>
          <a:lstStyle/>
          <a:p>
            <a:r>
              <a:rPr lang="de-DE" dirty="0"/>
              <a:t>Übersicht des Funktionsumfangs – sowohl On-premise als auch als SaaS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2BDA7EBC-19EC-44F7-8CFA-CD17C8697470}"/>
              </a:ext>
            </a:extLst>
          </p:cNvPr>
          <p:cNvSpPr txBox="1">
            <a:spLocks/>
          </p:cNvSpPr>
          <p:nvPr/>
        </p:nvSpPr>
        <p:spPr>
          <a:xfrm>
            <a:off x="479999" y="3581400"/>
            <a:ext cx="3492000" cy="28003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/>
              <a:t>SpiraTest ist die optimale Lösung, um das Testteam zu organisieren.</a:t>
            </a:r>
          </a:p>
          <a:p>
            <a:pPr lvl="2"/>
            <a:r>
              <a:rPr lang="de-DE" dirty="0"/>
              <a:t>SpiraTest bietet die komplette Zurückverfolgbarkeit (Traceability) von Anforderungen und Fehlern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5DEC00B-3AC2-4078-A84B-6E98FC8984C0}"/>
              </a:ext>
            </a:extLst>
          </p:cNvPr>
          <p:cNvSpPr txBox="1">
            <a:spLocks/>
          </p:cNvSpPr>
          <p:nvPr/>
        </p:nvSpPr>
        <p:spPr>
          <a:xfrm>
            <a:off x="4349686" y="3581400"/>
            <a:ext cx="3492000" cy="28003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/>
              <a:t>SpiraTeam deckt den gesamten Entwicklungsprozess ab (ALM). </a:t>
            </a:r>
          </a:p>
          <a:p>
            <a:pPr lvl="2"/>
            <a:r>
              <a:rPr lang="de-DE" dirty="0"/>
              <a:t>Von der Anforderungserhebung über den Test, Aufgabenzuwei-sungen, Quellcode, Builds bis zur Fehlerverfolgung ist alles integriert.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EFCD5952-CA52-4DD2-86CD-64F3AEC173E3}"/>
              </a:ext>
            </a:extLst>
          </p:cNvPr>
          <p:cNvSpPr txBox="1">
            <a:spLocks/>
          </p:cNvSpPr>
          <p:nvPr/>
        </p:nvSpPr>
        <p:spPr>
          <a:xfrm>
            <a:off x="8219374" y="3581400"/>
            <a:ext cx="3492000" cy="28003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/>
              <a:t>Wenn mehr als nur Projekte organisieren sollen, ist SpiraPlan die richtige Lösung.</a:t>
            </a:r>
          </a:p>
          <a:p>
            <a:pPr lvl="2"/>
            <a:r>
              <a:rPr lang="de-DE" dirty="0"/>
              <a:t>SpiraPlan bietet hervorragende Unterstützung für die Organisation von komplexen Programmen und Portfolios, mit integriertem Risiko- und Ressourcenmanagment.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D9CA983-0EE7-4989-BF5E-A920769C90D6}"/>
              </a:ext>
            </a:extLst>
          </p:cNvPr>
          <p:cNvSpPr/>
          <p:nvPr/>
        </p:nvSpPr>
        <p:spPr>
          <a:xfrm>
            <a:off x="479999" y="2084387"/>
            <a:ext cx="3492000" cy="1373187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1CE7166-9C87-4738-B586-97ADDFA31EEE}"/>
              </a:ext>
            </a:extLst>
          </p:cNvPr>
          <p:cNvSpPr/>
          <p:nvPr/>
        </p:nvSpPr>
        <p:spPr>
          <a:xfrm>
            <a:off x="4349686" y="2084387"/>
            <a:ext cx="3492000" cy="1373187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2C438CD-266A-43D4-8659-AD47BECD0F07}"/>
              </a:ext>
            </a:extLst>
          </p:cNvPr>
          <p:cNvSpPr/>
          <p:nvPr/>
        </p:nvSpPr>
        <p:spPr>
          <a:xfrm>
            <a:off x="8219374" y="2084387"/>
            <a:ext cx="3492000" cy="1373187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marL="216000" indent="-216000" algn="l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dirty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5" name="Grafik 28">
            <a:extLst>
              <a:ext uri="{FF2B5EF4-FFF2-40B4-BE49-F238E27FC236}">
                <a16:creationId xmlns:a16="http://schemas.microsoft.com/office/drawing/2014/main" id="{BC2FAF24-3149-4FC2-864E-AA39947E103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082" t="21408" r="81956"/>
          <a:stretch/>
        </p:blipFill>
        <p:spPr>
          <a:xfrm>
            <a:off x="1126081" y="2224566"/>
            <a:ext cx="2199836" cy="1092829"/>
          </a:xfrm>
          <a:prstGeom prst="rect">
            <a:avLst/>
          </a:prstGeom>
        </p:spPr>
      </p:pic>
      <p:pic>
        <p:nvPicPr>
          <p:cNvPr id="36" name="Grafik 30">
            <a:extLst>
              <a:ext uri="{FF2B5EF4-FFF2-40B4-BE49-F238E27FC236}">
                <a16:creationId xmlns:a16="http://schemas.microsoft.com/office/drawing/2014/main" id="{D591C790-409A-4C36-880B-1FE10DC0155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2364" t="16455" r="28736" b="281"/>
          <a:stretch/>
        </p:blipFill>
        <p:spPr>
          <a:xfrm>
            <a:off x="4782406" y="2223780"/>
            <a:ext cx="2626560" cy="1094400"/>
          </a:xfrm>
          <a:prstGeom prst="rect">
            <a:avLst/>
          </a:prstGeom>
        </p:spPr>
      </p:pic>
      <p:pic>
        <p:nvPicPr>
          <p:cNvPr id="37" name="Grafik 29">
            <a:extLst>
              <a:ext uri="{FF2B5EF4-FFF2-40B4-BE49-F238E27FC236}">
                <a16:creationId xmlns:a16="http://schemas.microsoft.com/office/drawing/2014/main" id="{CC8377B3-6E21-45FB-95C2-625F44D173D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80382" t="20066" r="3868" b="4995"/>
          <a:stretch/>
        </p:blipFill>
        <p:spPr>
          <a:xfrm>
            <a:off x="8749374" y="2223780"/>
            <a:ext cx="2432001" cy="109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79908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5DDBC51-58C0-4D06-B54A-E024261A5B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1788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5DDBC51-58C0-4D06-B54A-E024261A5B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97E29E2-7E98-4C99-90AA-241235C586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Funktionsumfang der Spira-Produkt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E7B4B5-E60E-4C7D-B88A-C353B4EED4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 dirty="0">
                <a:solidFill>
                  <a:schemeClr val="accent4"/>
                </a:solidFill>
              </a:rPr>
              <a:t>PTA – Vorstellung </a:t>
            </a:r>
            <a:r>
              <a:rPr lang="de-DE" noProof="0" dirty="0" err="1">
                <a:solidFill>
                  <a:schemeClr val="accent4"/>
                </a:solidFill>
              </a:rPr>
              <a:t>Inflectra</a:t>
            </a:r>
            <a:endParaRPr lang="de-DE" noProof="0" dirty="0">
              <a:solidFill>
                <a:schemeClr val="accent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98D16D-0D62-49D6-A2C6-8C230B76E9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F58692B-9CFC-42D8-9B64-0B547ADAD28E}" type="slidenum">
              <a:rPr lang="de-DE" noProof="0" smtClean="0"/>
              <a:pPr/>
              <a:t>8</a:t>
            </a:fld>
            <a:endParaRPr lang="de-DE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8316DF-9856-4AF6-9D33-406D66B007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0000" y="1664804"/>
            <a:ext cx="11232000" cy="325921"/>
          </a:xfrm>
        </p:spPr>
        <p:txBody>
          <a:bodyPr/>
          <a:lstStyle/>
          <a:p>
            <a:r>
              <a:rPr lang="de-DE" dirty="0"/>
              <a:t>Übersicht des Funktionsumfangs – sowohl On-premise als auch als SaaS</a:t>
            </a:r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FF1DD9C0-22FB-4CC2-A6B7-7D43819975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2160702"/>
              </p:ext>
            </p:extLst>
          </p:nvPr>
        </p:nvGraphicFramePr>
        <p:xfrm>
          <a:off x="479901" y="2053166"/>
          <a:ext cx="11232672" cy="361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96899">
                  <a:extLst>
                    <a:ext uri="{9D8B030D-6E8A-4147-A177-3AD203B41FA5}">
                      <a16:colId xmlns:a16="http://schemas.microsoft.com/office/drawing/2014/main" val="907634572"/>
                    </a:ext>
                  </a:extLst>
                </a:gridCol>
                <a:gridCol w="2278591">
                  <a:extLst>
                    <a:ext uri="{9D8B030D-6E8A-4147-A177-3AD203B41FA5}">
                      <a16:colId xmlns:a16="http://schemas.microsoft.com/office/drawing/2014/main" val="3864232687"/>
                    </a:ext>
                  </a:extLst>
                </a:gridCol>
                <a:gridCol w="2278591">
                  <a:extLst>
                    <a:ext uri="{9D8B030D-6E8A-4147-A177-3AD203B41FA5}">
                      <a16:colId xmlns:a16="http://schemas.microsoft.com/office/drawing/2014/main" val="522285802"/>
                    </a:ext>
                  </a:extLst>
                </a:gridCol>
                <a:gridCol w="2278591">
                  <a:extLst>
                    <a:ext uri="{9D8B030D-6E8A-4147-A177-3AD203B41FA5}">
                      <a16:colId xmlns:a16="http://schemas.microsoft.com/office/drawing/2014/main" val="34038088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600" b="1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piraTest</a:t>
                      </a:r>
                    </a:p>
                  </a:txBody>
                  <a:tcPr>
                    <a:lnB w="38100" cmpd="sng"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600" b="1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piraTeam</a:t>
                      </a:r>
                    </a:p>
                  </a:txBody>
                  <a:tcPr>
                    <a:lnB w="38100" cmpd="sng"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de-DE" sz="1600" b="1" dirty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piraPlan</a:t>
                      </a:r>
                    </a:p>
                  </a:txBody>
                  <a:tcPr>
                    <a:lnB w="38100" cmpd="sng">
                      <a:noFill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88365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rtl="0"/>
                      <a:r>
                        <a:rPr lang="de-DE" sz="1600" noProof="0" dirty="0"/>
                        <a:t>Anforderungsmanagement</a:t>
                      </a:r>
                    </a:p>
                  </a:txBody>
                  <a:tcPr marL="0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986499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rtl="0"/>
                      <a:r>
                        <a:rPr lang="de-DE" sz="1600" dirty="0"/>
                        <a:t>Dokumentenmanagement</a:t>
                      </a:r>
                    </a:p>
                  </a:txBody>
                  <a:tcPr marL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233576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rtl="0"/>
                      <a:r>
                        <a:rPr lang="de-DE" sz="1600" dirty="0"/>
                        <a:t>Testfallmanagement</a:t>
                      </a:r>
                    </a:p>
                  </a:txBody>
                  <a:tcPr marL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334701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rtl="0"/>
                      <a:r>
                        <a:rPr lang="de-DE" sz="1600" dirty="0"/>
                        <a:t>Fehlermanagement</a:t>
                      </a:r>
                    </a:p>
                  </a:txBody>
                  <a:tcPr marL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77208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rtl="0"/>
                      <a:r>
                        <a:rPr lang="de-DE" sz="1600" dirty="0"/>
                        <a:t>Projektmanagement</a:t>
                      </a:r>
                    </a:p>
                  </a:txBody>
                  <a:tcPr marL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95697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rtl="0"/>
                      <a:r>
                        <a:rPr lang="de-DE" sz="1600" dirty="0"/>
                        <a:t>Release- und Iterationsmanagement</a:t>
                      </a:r>
                    </a:p>
                  </a:txBody>
                  <a:tcPr marL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106830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rtl="0"/>
                      <a:r>
                        <a:rPr lang="de-DE" sz="1600" dirty="0"/>
                        <a:t>Scrum- und Kanban-Board</a:t>
                      </a:r>
                    </a:p>
                  </a:txBody>
                  <a:tcPr marL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676847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rtl="0"/>
                      <a:r>
                        <a:rPr lang="de-DE" sz="1600" dirty="0"/>
                        <a:t>Risikomanagement</a:t>
                      </a:r>
                    </a:p>
                  </a:txBody>
                  <a:tcPr marL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623412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rtl="0"/>
                      <a:r>
                        <a:rPr lang="de-DE" sz="1600" dirty="0"/>
                        <a:t>Portfoliomanagement</a:t>
                      </a:r>
                    </a:p>
                  </a:txBody>
                  <a:tcPr marL="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de-DE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7466446"/>
                  </a:ext>
                </a:extLst>
              </a:tr>
            </a:tbl>
          </a:graphicData>
        </a:graphic>
      </p:graphicFrame>
      <p:grpSp>
        <p:nvGrpSpPr>
          <p:cNvPr id="16" name="Gruppieren 52">
            <a:extLst>
              <a:ext uri="{FF2B5EF4-FFF2-40B4-BE49-F238E27FC236}">
                <a16:creationId xmlns:a16="http://schemas.microsoft.com/office/drawing/2014/main" id="{6789D974-B482-47F0-A2C0-6C5AEE3159D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885661" y="2473025"/>
            <a:ext cx="263517" cy="263517"/>
            <a:chOff x="826257" y="4517149"/>
            <a:chExt cx="864000" cy="864000"/>
          </a:xfrm>
        </p:grpSpPr>
        <p:sp>
          <p:nvSpPr>
            <p:cNvPr id="17" name="Oval 97">
              <a:extLst>
                <a:ext uri="{FF2B5EF4-FFF2-40B4-BE49-F238E27FC236}">
                  <a16:creationId xmlns:a16="http://schemas.microsoft.com/office/drawing/2014/main" id="{3E0262BA-2D43-4E49-B9BE-7AA127478A4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257" y="4517149"/>
              <a:ext cx="864000" cy="864000"/>
            </a:xfrm>
            <a:prstGeom prst="rect">
              <a:avLst/>
            </a:prstGeom>
            <a:solidFill>
              <a:srgbClr val="00B070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rtlCol="0" anchor="ctr" anchorCtr="0">
              <a:noAutofit/>
            </a:bodyPr>
            <a:lstStyle/>
            <a:p>
              <a:pPr algn="ctr" defTabSz="963613" eaLnBrk="0" hangingPunct="0">
                <a:tabLst>
                  <a:tab pos="1257300" algn="l"/>
                </a:tabLst>
              </a:pPr>
              <a:endParaRPr lang="de-DE" sz="1400" kern="0" cap="all" dirty="0">
                <a:solidFill>
                  <a:srgbClr val="FFFFFF"/>
                </a:solidFill>
                <a:latin typeface="+mj-lt"/>
                <a:sym typeface="Wingdings" pitchFamily="2" charset="2"/>
              </a:endParaRPr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4AC2EBF4-FD19-4801-BE5B-F24DA6431653}"/>
                </a:ext>
              </a:extLst>
            </p:cNvPr>
            <p:cNvSpPr>
              <a:spLocks/>
            </p:cNvSpPr>
            <p:nvPr/>
          </p:nvSpPr>
          <p:spPr bwMode="gray">
            <a:xfrm>
              <a:off x="953312" y="4655028"/>
              <a:ext cx="556887" cy="588244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231" y="413"/>
                </a:cxn>
                <a:cxn ang="0">
                  <a:pos x="137" y="281"/>
                </a:cxn>
                <a:cxn ang="0">
                  <a:pos x="0" y="281"/>
                </a:cxn>
                <a:cxn ang="0">
                  <a:pos x="241" y="619"/>
                </a:cxn>
                <a:cxn ang="0">
                  <a:pos x="286" y="543"/>
                </a:cxn>
                <a:cxn ang="0">
                  <a:pos x="586" y="0"/>
                </a:cxn>
                <a:cxn ang="0">
                  <a:pos x="458" y="0"/>
                </a:cxn>
                <a:cxn ang="0">
                  <a:pos x="458" y="0"/>
                </a:cxn>
                <a:cxn ang="0">
                  <a:pos x="458" y="0"/>
                </a:cxn>
              </a:cxnLst>
              <a:rect l="0" t="0" r="r" b="b"/>
              <a:pathLst>
                <a:path w="586" h="619">
                  <a:moveTo>
                    <a:pt x="458" y="0"/>
                  </a:moveTo>
                  <a:lnTo>
                    <a:pt x="231" y="413"/>
                  </a:lnTo>
                  <a:lnTo>
                    <a:pt x="137" y="281"/>
                  </a:lnTo>
                  <a:lnTo>
                    <a:pt x="0" y="281"/>
                  </a:lnTo>
                  <a:lnTo>
                    <a:pt x="241" y="619"/>
                  </a:lnTo>
                  <a:lnTo>
                    <a:pt x="286" y="543"/>
                  </a:lnTo>
                  <a:lnTo>
                    <a:pt x="586" y="0"/>
                  </a:lnTo>
                  <a:lnTo>
                    <a:pt x="458" y="0"/>
                  </a:lnTo>
                  <a:lnTo>
                    <a:pt x="458" y="0"/>
                  </a:lnTo>
                  <a:lnTo>
                    <a:pt x="458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5000"/>
                </a:lnSpc>
              </a:pPr>
              <a:endParaRPr lang="de-DE" sz="32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22" name="Gruppieren 52">
            <a:extLst>
              <a:ext uri="{FF2B5EF4-FFF2-40B4-BE49-F238E27FC236}">
                <a16:creationId xmlns:a16="http://schemas.microsoft.com/office/drawing/2014/main" id="{FC39DF14-0B31-4AAF-ACBA-3D901B0103D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885661" y="2832245"/>
            <a:ext cx="263517" cy="263517"/>
            <a:chOff x="826257" y="4517149"/>
            <a:chExt cx="864000" cy="864000"/>
          </a:xfrm>
        </p:grpSpPr>
        <p:sp>
          <p:nvSpPr>
            <p:cNvPr id="23" name="Oval 97">
              <a:extLst>
                <a:ext uri="{FF2B5EF4-FFF2-40B4-BE49-F238E27FC236}">
                  <a16:creationId xmlns:a16="http://schemas.microsoft.com/office/drawing/2014/main" id="{97C55C48-589A-4098-BDAE-A60454DADE4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257" y="4517149"/>
              <a:ext cx="864000" cy="864000"/>
            </a:xfrm>
            <a:prstGeom prst="rect">
              <a:avLst/>
            </a:prstGeom>
            <a:solidFill>
              <a:srgbClr val="00B070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rtlCol="0" anchor="ctr" anchorCtr="0">
              <a:noAutofit/>
            </a:bodyPr>
            <a:lstStyle/>
            <a:p>
              <a:pPr algn="ctr" defTabSz="963613" eaLnBrk="0" hangingPunct="0">
                <a:tabLst>
                  <a:tab pos="1257300" algn="l"/>
                </a:tabLst>
              </a:pPr>
              <a:endParaRPr lang="de-DE" sz="1400" kern="0" cap="all" dirty="0">
                <a:solidFill>
                  <a:srgbClr val="FFFFFF"/>
                </a:solidFill>
                <a:latin typeface="+mj-lt"/>
                <a:sym typeface="Wingdings" pitchFamily="2" charset="2"/>
              </a:endParaRPr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0A201B4E-3B56-49E4-95F0-E0F28AC31E2E}"/>
                </a:ext>
              </a:extLst>
            </p:cNvPr>
            <p:cNvSpPr>
              <a:spLocks/>
            </p:cNvSpPr>
            <p:nvPr/>
          </p:nvSpPr>
          <p:spPr bwMode="gray">
            <a:xfrm>
              <a:off x="953312" y="4655028"/>
              <a:ext cx="556887" cy="588244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231" y="413"/>
                </a:cxn>
                <a:cxn ang="0">
                  <a:pos x="137" y="281"/>
                </a:cxn>
                <a:cxn ang="0">
                  <a:pos x="0" y="281"/>
                </a:cxn>
                <a:cxn ang="0">
                  <a:pos x="241" y="619"/>
                </a:cxn>
                <a:cxn ang="0">
                  <a:pos x="286" y="543"/>
                </a:cxn>
                <a:cxn ang="0">
                  <a:pos x="586" y="0"/>
                </a:cxn>
                <a:cxn ang="0">
                  <a:pos x="458" y="0"/>
                </a:cxn>
                <a:cxn ang="0">
                  <a:pos x="458" y="0"/>
                </a:cxn>
                <a:cxn ang="0">
                  <a:pos x="458" y="0"/>
                </a:cxn>
              </a:cxnLst>
              <a:rect l="0" t="0" r="r" b="b"/>
              <a:pathLst>
                <a:path w="586" h="619">
                  <a:moveTo>
                    <a:pt x="458" y="0"/>
                  </a:moveTo>
                  <a:lnTo>
                    <a:pt x="231" y="413"/>
                  </a:lnTo>
                  <a:lnTo>
                    <a:pt x="137" y="281"/>
                  </a:lnTo>
                  <a:lnTo>
                    <a:pt x="0" y="281"/>
                  </a:lnTo>
                  <a:lnTo>
                    <a:pt x="241" y="619"/>
                  </a:lnTo>
                  <a:lnTo>
                    <a:pt x="286" y="543"/>
                  </a:lnTo>
                  <a:lnTo>
                    <a:pt x="586" y="0"/>
                  </a:lnTo>
                  <a:lnTo>
                    <a:pt x="458" y="0"/>
                  </a:lnTo>
                  <a:lnTo>
                    <a:pt x="458" y="0"/>
                  </a:lnTo>
                  <a:lnTo>
                    <a:pt x="458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5000"/>
                </a:lnSpc>
              </a:pPr>
              <a:endParaRPr lang="de-DE" sz="32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25" name="Gruppieren 52">
            <a:extLst>
              <a:ext uri="{FF2B5EF4-FFF2-40B4-BE49-F238E27FC236}">
                <a16:creationId xmlns:a16="http://schemas.microsoft.com/office/drawing/2014/main" id="{3576497D-F42B-4958-AF4F-DBA3F0B33BF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885661" y="3191465"/>
            <a:ext cx="263517" cy="263517"/>
            <a:chOff x="826257" y="4517149"/>
            <a:chExt cx="864000" cy="864000"/>
          </a:xfrm>
        </p:grpSpPr>
        <p:sp>
          <p:nvSpPr>
            <p:cNvPr id="26" name="Oval 97">
              <a:extLst>
                <a:ext uri="{FF2B5EF4-FFF2-40B4-BE49-F238E27FC236}">
                  <a16:creationId xmlns:a16="http://schemas.microsoft.com/office/drawing/2014/main" id="{1A1A20DD-DBBC-4DBF-9011-E102834899F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257" y="4517149"/>
              <a:ext cx="864000" cy="864000"/>
            </a:xfrm>
            <a:prstGeom prst="rect">
              <a:avLst/>
            </a:prstGeom>
            <a:solidFill>
              <a:srgbClr val="00B070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rtlCol="0" anchor="ctr" anchorCtr="0">
              <a:noAutofit/>
            </a:bodyPr>
            <a:lstStyle/>
            <a:p>
              <a:pPr algn="ctr" defTabSz="963613" eaLnBrk="0" hangingPunct="0">
                <a:tabLst>
                  <a:tab pos="1257300" algn="l"/>
                </a:tabLst>
              </a:pPr>
              <a:endParaRPr lang="de-DE" sz="1400" kern="0" cap="all" dirty="0">
                <a:solidFill>
                  <a:srgbClr val="FFFFFF"/>
                </a:solidFill>
                <a:latin typeface="+mj-lt"/>
                <a:sym typeface="Wingdings" pitchFamily="2" charset="2"/>
              </a:endParaRPr>
            </a:p>
          </p:txBody>
        </p:sp>
        <p:sp>
          <p:nvSpPr>
            <p:cNvPr id="27" name="Freeform 16">
              <a:extLst>
                <a:ext uri="{FF2B5EF4-FFF2-40B4-BE49-F238E27FC236}">
                  <a16:creationId xmlns:a16="http://schemas.microsoft.com/office/drawing/2014/main" id="{62F006C2-A626-444C-9E90-F13331849A2D}"/>
                </a:ext>
              </a:extLst>
            </p:cNvPr>
            <p:cNvSpPr>
              <a:spLocks/>
            </p:cNvSpPr>
            <p:nvPr/>
          </p:nvSpPr>
          <p:spPr bwMode="gray">
            <a:xfrm>
              <a:off x="953312" y="4655028"/>
              <a:ext cx="556887" cy="588244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231" y="413"/>
                </a:cxn>
                <a:cxn ang="0">
                  <a:pos x="137" y="281"/>
                </a:cxn>
                <a:cxn ang="0">
                  <a:pos x="0" y="281"/>
                </a:cxn>
                <a:cxn ang="0">
                  <a:pos x="241" y="619"/>
                </a:cxn>
                <a:cxn ang="0">
                  <a:pos x="286" y="543"/>
                </a:cxn>
                <a:cxn ang="0">
                  <a:pos x="586" y="0"/>
                </a:cxn>
                <a:cxn ang="0">
                  <a:pos x="458" y="0"/>
                </a:cxn>
                <a:cxn ang="0">
                  <a:pos x="458" y="0"/>
                </a:cxn>
                <a:cxn ang="0">
                  <a:pos x="458" y="0"/>
                </a:cxn>
              </a:cxnLst>
              <a:rect l="0" t="0" r="r" b="b"/>
              <a:pathLst>
                <a:path w="586" h="619">
                  <a:moveTo>
                    <a:pt x="458" y="0"/>
                  </a:moveTo>
                  <a:lnTo>
                    <a:pt x="231" y="413"/>
                  </a:lnTo>
                  <a:lnTo>
                    <a:pt x="137" y="281"/>
                  </a:lnTo>
                  <a:lnTo>
                    <a:pt x="0" y="281"/>
                  </a:lnTo>
                  <a:lnTo>
                    <a:pt x="241" y="619"/>
                  </a:lnTo>
                  <a:lnTo>
                    <a:pt x="286" y="543"/>
                  </a:lnTo>
                  <a:lnTo>
                    <a:pt x="586" y="0"/>
                  </a:lnTo>
                  <a:lnTo>
                    <a:pt x="458" y="0"/>
                  </a:lnTo>
                  <a:lnTo>
                    <a:pt x="458" y="0"/>
                  </a:lnTo>
                  <a:lnTo>
                    <a:pt x="458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5000"/>
                </a:lnSpc>
              </a:pPr>
              <a:endParaRPr lang="de-DE" sz="32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28" name="Gruppieren 52">
            <a:extLst>
              <a:ext uri="{FF2B5EF4-FFF2-40B4-BE49-F238E27FC236}">
                <a16:creationId xmlns:a16="http://schemas.microsoft.com/office/drawing/2014/main" id="{FFA08ECA-4AA3-4C18-85A9-B4A0E0FAC25C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885661" y="3550685"/>
            <a:ext cx="263517" cy="263517"/>
            <a:chOff x="826257" y="4517149"/>
            <a:chExt cx="864000" cy="864000"/>
          </a:xfrm>
        </p:grpSpPr>
        <p:sp>
          <p:nvSpPr>
            <p:cNvPr id="29" name="Oval 97">
              <a:extLst>
                <a:ext uri="{FF2B5EF4-FFF2-40B4-BE49-F238E27FC236}">
                  <a16:creationId xmlns:a16="http://schemas.microsoft.com/office/drawing/2014/main" id="{81FCD38B-B5BC-43E1-9A17-AAF317B017B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257" y="4517149"/>
              <a:ext cx="864000" cy="864000"/>
            </a:xfrm>
            <a:prstGeom prst="rect">
              <a:avLst/>
            </a:prstGeom>
            <a:solidFill>
              <a:srgbClr val="00B070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rtlCol="0" anchor="ctr" anchorCtr="0">
              <a:noAutofit/>
            </a:bodyPr>
            <a:lstStyle/>
            <a:p>
              <a:pPr algn="ctr" defTabSz="963613" eaLnBrk="0" hangingPunct="0">
                <a:tabLst>
                  <a:tab pos="1257300" algn="l"/>
                </a:tabLst>
              </a:pPr>
              <a:endParaRPr lang="de-DE" sz="1400" kern="0" cap="all" dirty="0">
                <a:solidFill>
                  <a:srgbClr val="FFFFFF"/>
                </a:solidFill>
                <a:latin typeface="+mj-lt"/>
                <a:sym typeface="Wingdings" pitchFamily="2" charset="2"/>
              </a:endParaRPr>
            </a:p>
          </p:txBody>
        </p:sp>
        <p:sp>
          <p:nvSpPr>
            <p:cNvPr id="30" name="Freeform 16">
              <a:extLst>
                <a:ext uri="{FF2B5EF4-FFF2-40B4-BE49-F238E27FC236}">
                  <a16:creationId xmlns:a16="http://schemas.microsoft.com/office/drawing/2014/main" id="{6E47F2A9-546F-47AD-8C43-8EBD50D10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953312" y="4655028"/>
              <a:ext cx="556887" cy="588244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231" y="413"/>
                </a:cxn>
                <a:cxn ang="0">
                  <a:pos x="137" y="281"/>
                </a:cxn>
                <a:cxn ang="0">
                  <a:pos x="0" y="281"/>
                </a:cxn>
                <a:cxn ang="0">
                  <a:pos x="241" y="619"/>
                </a:cxn>
                <a:cxn ang="0">
                  <a:pos x="286" y="543"/>
                </a:cxn>
                <a:cxn ang="0">
                  <a:pos x="586" y="0"/>
                </a:cxn>
                <a:cxn ang="0">
                  <a:pos x="458" y="0"/>
                </a:cxn>
                <a:cxn ang="0">
                  <a:pos x="458" y="0"/>
                </a:cxn>
                <a:cxn ang="0">
                  <a:pos x="458" y="0"/>
                </a:cxn>
              </a:cxnLst>
              <a:rect l="0" t="0" r="r" b="b"/>
              <a:pathLst>
                <a:path w="586" h="619">
                  <a:moveTo>
                    <a:pt x="458" y="0"/>
                  </a:moveTo>
                  <a:lnTo>
                    <a:pt x="231" y="413"/>
                  </a:lnTo>
                  <a:lnTo>
                    <a:pt x="137" y="281"/>
                  </a:lnTo>
                  <a:lnTo>
                    <a:pt x="0" y="281"/>
                  </a:lnTo>
                  <a:lnTo>
                    <a:pt x="241" y="619"/>
                  </a:lnTo>
                  <a:lnTo>
                    <a:pt x="286" y="543"/>
                  </a:lnTo>
                  <a:lnTo>
                    <a:pt x="586" y="0"/>
                  </a:lnTo>
                  <a:lnTo>
                    <a:pt x="458" y="0"/>
                  </a:lnTo>
                  <a:lnTo>
                    <a:pt x="458" y="0"/>
                  </a:lnTo>
                  <a:lnTo>
                    <a:pt x="458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5000"/>
                </a:lnSpc>
              </a:pPr>
              <a:endParaRPr lang="de-DE" sz="32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46" name="Gruppieren 52">
            <a:extLst>
              <a:ext uri="{FF2B5EF4-FFF2-40B4-BE49-F238E27FC236}">
                <a16:creationId xmlns:a16="http://schemas.microsoft.com/office/drawing/2014/main" id="{F355CD5F-B91A-48C4-A449-3300CD37409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167691" y="2473025"/>
            <a:ext cx="263517" cy="263517"/>
            <a:chOff x="826257" y="4517149"/>
            <a:chExt cx="864000" cy="864000"/>
          </a:xfrm>
        </p:grpSpPr>
        <p:sp>
          <p:nvSpPr>
            <p:cNvPr id="47" name="Oval 97">
              <a:extLst>
                <a:ext uri="{FF2B5EF4-FFF2-40B4-BE49-F238E27FC236}">
                  <a16:creationId xmlns:a16="http://schemas.microsoft.com/office/drawing/2014/main" id="{0354A3E1-A52E-47DD-BCDB-9432715A11F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257" y="4517149"/>
              <a:ext cx="864000" cy="864000"/>
            </a:xfrm>
            <a:prstGeom prst="rect">
              <a:avLst/>
            </a:prstGeom>
            <a:solidFill>
              <a:srgbClr val="00B070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rtlCol="0" anchor="ctr" anchorCtr="0">
              <a:noAutofit/>
            </a:bodyPr>
            <a:lstStyle/>
            <a:p>
              <a:pPr algn="ctr" defTabSz="963613" eaLnBrk="0" hangingPunct="0">
                <a:tabLst>
                  <a:tab pos="1257300" algn="l"/>
                </a:tabLst>
              </a:pPr>
              <a:endParaRPr lang="de-DE" sz="1400" kern="0" cap="all" dirty="0">
                <a:solidFill>
                  <a:srgbClr val="FFFFFF"/>
                </a:solidFill>
                <a:latin typeface="+mj-lt"/>
                <a:sym typeface="Wingdings" pitchFamily="2" charset="2"/>
              </a:endParaRPr>
            </a:p>
          </p:txBody>
        </p:sp>
        <p:sp>
          <p:nvSpPr>
            <p:cNvPr id="48" name="Freeform 16">
              <a:extLst>
                <a:ext uri="{FF2B5EF4-FFF2-40B4-BE49-F238E27FC236}">
                  <a16:creationId xmlns:a16="http://schemas.microsoft.com/office/drawing/2014/main" id="{A3DED735-8E4C-4081-A754-892F69BC6DFA}"/>
                </a:ext>
              </a:extLst>
            </p:cNvPr>
            <p:cNvSpPr>
              <a:spLocks/>
            </p:cNvSpPr>
            <p:nvPr/>
          </p:nvSpPr>
          <p:spPr bwMode="gray">
            <a:xfrm>
              <a:off x="953312" y="4655028"/>
              <a:ext cx="556887" cy="588244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231" y="413"/>
                </a:cxn>
                <a:cxn ang="0">
                  <a:pos x="137" y="281"/>
                </a:cxn>
                <a:cxn ang="0">
                  <a:pos x="0" y="281"/>
                </a:cxn>
                <a:cxn ang="0">
                  <a:pos x="241" y="619"/>
                </a:cxn>
                <a:cxn ang="0">
                  <a:pos x="286" y="543"/>
                </a:cxn>
                <a:cxn ang="0">
                  <a:pos x="586" y="0"/>
                </a:cxn>
                <a:cxn ang="0">
                  <a:pos x="458" y="0"/>
                </a:cxn>
                <a:cxn ang="0">
                  <a:pos x="458" y="0"/>
                </a:cxn>
                <a:cxn ang="0">
                  <a:pos x="458" y="0"/>
                </a:cxn>
              </a:cxnLst>
              <a:rect l="0" t="0" r="r" b="b"/>
              <a:pathLst>
                <a:path w="586" h="619">
                  <a:moveTo>
                    <a:pt x="458" y="0"/>
                  </a:moveTo>
                  <a:lnTo>
                    <a:pt x="231" y="413"/>
                  </a:lnTo>
                  <a:lnTo>
                    <a:pt x="137" y="281"/>
                  </a:lnTo>
                  <a:lnTo>
                    <a:pt x="0" y="281"/>
                  </a:lnTo>
                  <a:lnTo>
                    <a:pt x="241" y="619"/>
                  </a:lnTo>
                  <a:lnTo>
                    <a:pt x="286" y="543"/>
                  </a:lnTo>
                  <a:lnTo>
                    <a:pt x="586" y="0"/>
                  </a:lnTo>
                  <a:lnTo>
                    <a:pt x="458" y="0"/>
                  </a:lnTo>
                  <a:lnTo>
                    <a:pt x="458" y="0"/>
                  </a:lnTo>
                  <a:lnTo>
                    <a:pt x="458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5000"/>
                </a:lnSpc>
              </a:pPr>
              <a:endParaRPr lang="de-DE" sz="32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49" name="Gruppieren 52">
            <a:extLst>
              <a:ext uri="{FF2B5EF4-FFF2-40B4-BE49-F238E27FC236}">
                <a16:creationId xmlns:a16="http://schemas.microsoft.com/office/drawing/2014/main" id="{B0578043-060F-4324-B587-D5DCED6E085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167691" y="2832245"/>
            <a:ext cx="263517" cy="263517"/>
            <a:chOff x="826257" y="4517149"/>
            <a:chExt cx="864000" cy="864000"/>
          </a:xfrm>
        </p:grpSpPr>
        <p:sp>
          <p:nvSpPr>
            <p:cNvPr id="50" name="Oval 97">
              <a:extLst>
                <a:ext uri="{FF2B5EF4-FFF2-40B4-BE49-F238E27FC236}">
                  <a16:creationId xmlns:a16="http://schemas.microsoft.com/office/drawing/2014/main" id="{119E34E0-7300-408F-A166-942FC192756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257" y="4517149"/>
              <a:ext cx="864000" cy="864000"/>
            </a:xfrm>
            <a:prstGeom prst="rect">
              <a:avLst/>
            </a:prstGeom>
            <a:solidFill>
              <a:srgbClr val="00B070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rtlCol="0" anchor="ctr" anchorCtr="0">
              <a:noAutofit/>
            </a:bodyPr>
            <a:lstStyle/>
            <a:p>
              <a:pPr algn="ctr" defTabSz="963613" eaLnBrk="0" hangingPunct="0">
                <a:tabLst>
                  <a:tab pos="1257300" algn="l"/>
                </a:tabLst>
              </a:pPr>
              <a:endParaRPr lang="de-DE" sz="1400" kern="0" cap="all" dirty="0">
                <a:solidFill>
                  <a:srgbClr val="FFFFFF"/>
                </a:solidFill>
                <a:latin typeface="+mj-lt"/>
                <a:sym typeface="Wingdings" pitchFamily="2" charset="2"/>
              </a:endParaRPr>
            </a:p>
          </p:txBody>
        </p:sp>
        <p:sp>
          <p:nvSpPr>
            <p:cNvPr id="51" name="Freeform 16">
              <a:extLst>
                <a:ext uri="{FF2B5EF4-FFF2-40B4-BE49-F238E27FC236}">
                  <a16:creationId xmlns:a16="http://schemas.microsoft.com/office/drawing/2014/main" id="{93DAA879-2790-4CEA-BE2A-2289E3406240}"/>
                </a:ext>
              </a:extLst>
            </p:cNvPr>
            <p:cNvSpPr>
              <a:spLocks/>
            </p:cNvSpPr>
            <p:nvPr/>
          </p:nvSpPr>
          <p:spPr bwMode="gray">
            <a:xfrm>
              <a:off x="953312" y="4655028"/>
              <a:ext cx="556887" cy="588244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231" y="413"/>
                </a:cxn>
                <a:cxn ang="0">
                  <a:pos x="137" y="281"/>
                </a:cxn>
                <a:cxn ang="0">
                  <a:pos x="0" y="281"/>
                </a:cxn>
                <a:cxn ang="0">
                  <a:pos x="241" y="619"/>
                </a:cxn>
                <a:cxn ang="0">
                  <a:pos x="286" y="543"/>
                </a:cxn>
                <a:cxn ang="0">
                  <a:pos x="586" y="0"/>
                </a:cxn>
                <a:cxn ang="0">
                  <a:pos x="458" y="0"/>
                </a:cxn>
                <a:cxn ang="0">
                  <a:pos x="458" y="0"/>
                </a:cxn>
                <a:cxn ang="0">
                  <a:pos x="458" y="0"/>
                </a:cxn>
              </a:cxnLst>
              <a:rect l="0" t="0" r="r" b="b"/>
              <a:pathLst>
                <a:path w="586" h="619">
                  <a:moveTo>
                    <a:pt x="458" y="0"/>
                  </a:moveTo>
                  <a:lnTo>
                    <a:pt x="231" y="413"/>
                  </a:lnTo>
                  <a:lnTo>
                    <a:pt x="137" y="281"/>
                  </a:lnTo>
                  <a:lnTo>
                    <a:pt x="0" y="281"/>
                  </a:lnTo>
                  <a:lnTo>
                    <a:pt x="241" y="619"/>
                  </a:lnTo>
                  <a:lnTo>
                    <a:pt x="286" y="543"/>
                  </a:lnTo>
                  <a:lnTo>
                    <a:pt x="586" y="0"/>
                  </a:lnTo>
                  <a:lnTo>
                    <a:pt x="458" y="0"/>
                  </a:lnTo>
                  <a:lnTo>
                    <a:pt x="458" y="0"/>
                  </a:lnTo>
                  <a:lnTo>
                    <a:pt x="458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5000"/>
                </a:lnSpc>
              </a:pPr>
              <a:endParaRPr lang="de-DE" sz="32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52" name="Gruppieren 52">
            <a:extLst>
              <a:ext uri="{FF2B5EF4-FFF2-40B4-BE49-F238E27FC236}">
                <a16:creationId xmlns:a16="http://schemas.microsoft.com/office/drawing/2014/main" id="{57D4B539-A9E2-4101-B098-D9AF21B20756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167691" y="3191465"/>
            <a:ext cx="263517" cy="263517"/>
            <a:chOff x="826257" y="4517149"/>
            <a:chExt cx="864000" cy="864000"/>
          </a:xfrm>
        </p:grpSpPr>
        <p:sp>
          <p:nvSpPr>
            <p:cNvPr id="53" name="Oval 97">
              <a:extLst>
                <a:ext uri="{FF2B5EF4-FFF2-40B4-BE49-F238E27FC236}">
                  <a16:creationId xmlns:a16="http://schemas.microsoft.com/office/drawing/2014/main" id="{29CC838A-BDD0-4F22-9FCD-8EF5C5C01B7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257" y="4517149"/>
              <a:ext cx="864000" cy="864000"/>
            </a:xfrm>
            <a:prstGeom prst="rect">
              <a:avLst/>
            </a:prstGeom>
            <a:solidFill>
              <a:srgbClr val="00B070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rtlCol="0" anchor="ctr" anchorCtr="0">
              <a:noAutofit/>
            </a:bodyPr>
            <a:lstStyle/>
            <a:p>
              <a:pPr algn="ctr" defTabSz="963613" eaLnBrk="0" hangingPunct="0">
                <a:tabLst>
                  <a:tab pos="1257300" algn="l"/>
                </a:tabLst>
              </a:pPr>
              <a:endParaRPr lang="de-DE" sz="1400" kern="0" cap="all" dirty="0">
                <a:solidFill>
                  <a:srgbClr val="FFFFFF"/>
                </a:solidFill>
                <a:latin typeface="+mj-lt"/>
                <a:sym typeface="Wingdings" pitchFamily="2" charset="2"/>
              </a:endParaRPr>
            </a:p>
          </p:txBody>
        </p:sp>
        <p:sp>
          <p:nvSpPr>
            <p:cNvPr id="54" name="Freeform 16">
              <a:extLst>
                <a:ext uri="{FF2B5EF4-FFF2-40B4-BE49-F238E27FC236}">
                  <a16:creationId xmlns:a16="http://schemas.microsoft.com/office/drawing/2014/main" id="{4DB57EE0-204F-49A9-9647-3E5639275B4A}"/>
                </a:ext>
              </a:extLst>
            </p:cNvPr>
            <p:cNvSpPr>
              <a:spLocks/>
            </p:cNvSpPr>
            <p:nvPr/>
          </p:nvSpPr>
          <p:spPr bwMode="gray">
            <a:xfrm>
              <a:off x="953312" y="4655028"/>
              <a:ext cx="556887" cy="588244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231" y="413"/>
                </a:cxn>
                <a:cxn ang="0">
                  <a:pos x="137" y="281"/>
                </a:cxn>
                <a:cxn ang="0">
                  <a:pos x="0" y="281"/>
                </a:cxn>
                <a:cxn ang="0">
                  <a:pos x="241" y="619"/>
                </a:cxn>
                <a:cxn ang="0">
                  <a:pos x="286" y="543"/>
                </a:cxn>
                <a:cxn ang="0">
                  <a:pos x="586" y="0"/>
                </a:cxn>
                <a:cxn ang="0">
                  <a:pos x="458" y="0"/>
                </a:cxn>
                <a:cxn ang="0">
                  <a:pos x="458" y="0"/>
                </a:cxn>
                <a:cxn ang="0">
                  <a:pos x="458" y="0"/>
                </a:cxn>
              </a:cxnLst>
              <a:rect l="0" t="0" r="r" b="b"/>
              <a:pathLst>
                <a:path w="586" h="619">
                  <a:moveTo>
                    <a:pt x="458" y="0"/>
                  </a:moveTo>
                  <a:lnTo>
                    <a:pt x="231" y="413"/>
                  </a:lnTo>
                  <a:lnTo>
                    <a:pt x="137" y="281"/>
                  </a:lnTo>
                  <a:lnTo>
                    <a:pt x="0" y="281"/>
                  </a:lnTo>
                  <a:lnTo>
                    <a:pt x="241" y="619"/>
                  </a:lnTo>
                  <a:lnTo>
                    <a:pt x="286" y="543"/>
                  </a:lnTo>
                  <a:lnTo>
                    <a:pt x="586" y="0"/>
                  </a:lnTo>
                  <a:lnTo>
                    <a:pt x="458" y="0"/>
                  </a:lnTo>
                  <a:lnTo>
                    <a:pt x="458" y="0"/>
                  </a:lnTo>
                  <a:lnTo>
                    <a:pt x="458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5000"/>
                </a:lnSpc>
              </a:pPr>
              <a:endParaRPr lang="de-DE" sz="32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55" name="Gruppieren 52">
            <a:extLst>
              <a:ext uri="{FF2B5EF4-FFF2-40B4-BE49-F238E27FC236}">
                <a16:creationId xmlns:a16="http://schemas.microsoft.com/office/drawing/2014/main" id="{1A5DF02F-0286-4640-A323-504BAFC585F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167691" y="3550685"/>
            <a:ext cx="263517" cy="263517"/>
            <a:chOff x="826257" y="4517149"/>
            <a:chExt cx="864000" cy="864000"/>
          </a:xfrm>
        </p:grpSpPr>
        <p:sp>
          <p:nvSpPr>
            <p:cNvPr id="56" name="Oval 97">
              <a:extLst>
                <a:ext uri="{FF2B5EF4-FFF2-40B4-BE49-F238E27FC236}">
                  <a16:creationId xmlns:a16="http://schemas.microsoft.com/office/drawing/2014/main" id="{18B3196B-A007-475D-B70A-6B888D84A1F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257" y="4517149"/>
              <a:ext cx="864000" cy="864000"/>
            </a:xfrm>
            <a:prstGeom prst="rect">
              <a:avLst/>
            </a:prstGeom>
            <a:solidFill>
              <a:srgbClr val="00B070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rtlCol="0" anchor="ctr" anchorCtr="0">
              <a:noAutofit/>
            </a:bodyPr>
            <a:lstStyle/>
            <a:p>
              <a:pPr algn="ctr" defTabSz="963613" eaLnBrk="0" hangingPunct="0">
                <a:tabLst>
                  <a:tab pos="1257300" algn="l"/>
                </a:tabLst>
              </a:pPr>
              <a:endParaRPr lang="de-DE" sz="1400" kern="0" cap="all" dirty="0">
                <a:solidFill>
                  <a:srgbClr val="FFFFFF"/>
                </a:solidFill>
                <a:latin typeface="+mj-lt"/>
                <a:sym typeface="Wingdings" pitchFamily="2" charset="2"/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FCCE15F2-B556-444C-885E-C29D7A8E5651}"/>
                </a:ext>
              </a:extLst>
            </p:cNvPr>
            <p:cNvSpPr>
              <a:spLocks/>
            </p:cNvSpPr>
            <p:nvPr/>
          </p:nvSpPr>
          <p:spPr bwMode="gray">
            <a:xfrm>
              <a:off x="953312" y="4655028"/>
              <a:ext cx="556887" cy="588244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231" y="413"/>
                </a:cxn>
                <a:cxn ang="0">
                  <a:pos x="137" y="281"/>
                </a:cxn>
                <a:cxn ang="0">
                  <a:pos x="0" y="281"/>
                </a:cxn>
                <a:cxn ang="0">
                  <a:pos x="241" y="619"/>
                </a:cxn>
                <a:cxn ang="0">
                  <a:pos x="286" y="543"/>
                </a:cxn>
                <a:cxn ang="0">
                  <a:pos x="586" y="0"/>
                </a:cxn>
                <a:cxn ang="0">
                  <a:pos x="458" y="0"/>
                </a:cxn>
                <a:cxn ang="0">
                  <a:pos x="458" y="0"/>
                </a:cxn>
                <a:cxn ang="0">
                  <a:pos x="458" y="0"/>
                </a:cxn>
              </a:cxnLst>
              <a:rect l="0" t="0" r="r" b="b"/>
              <a:pathLst>
                <a:path w="586" h="619">
                  <a:moveTo>
                    <a:pt x="458" y="0"/>
                  </a:moveTo>
                  <a:lnTo>
                    <a:pt x="231" y="413"/>
                  </a:lnTo>
                  <a:lnTo>
                    <a:pt x="137" y="281"/>
                  </a:lnTo>
                  <a:lnTo>
                    <a:pt x="0" y="281"/>
                  </a:lnTo>
                  <a:lnTo>
                    <a:pt x="241" y="619"/>
                  </a:lnTo>
                  <a:lnTo>
                    <a:pt x="286" y="543"/>
                  </a:lnTo>
                  <a:lnTo>
                    <a:pt x="586" y="0"/>
                  </a:lnTo>
                  <a:lnTo>
                    <a:pt x="458" y="0"/>
                  </a:lnTo>
                  <a:lnTo>
                    <a:pt x="458" y="0"/>
                  </a:lnTo>
                  <a:lnTo>
                    <a:pt x="458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5000"/>
                </a:lnSpc>
              </a:pPr>
              <a:endParaRPr lang="de-DE" sz="32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58" name="Gruppieren 52">
            <a:extLst>
              <a:ext uri="{FF2B5EF4-FFF2-40B4-BE49-F238E27FC236}">
                <a16:creationId xmlns:a16="http://schemas.microsoft.com/office/drawing/2014/main" id="{D1001218-AC77-4EA3-A456-4ED1DF33554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167691" y="3909905"/>
            <a:ext cx="263517" cy="263517"/>
            <a:chOff x="826257" y="4517149"/>
            <a:chExt cx="864000" cy="864000"/>
          </a:xfrm>
        </p:grpSpPr>
        <p:sp>
          <p:nvSpPr>
            <p:cNvPr id="59" name="Oval 97">
              <a:extLst>
                <a:ext uri="{FF2B5EF4-FFF2-40B4-BE49-F238E27FC236}">
                  <a16:creationId xmlns:a16="http://schemas.microsoft.com/office/drawing/2014/main" id="{B9B4ECEC-6BDD-4E08-8467-E3E27E5D28E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257" y="4517149"/>
              <a:ext cx="864000" cy="864000"/>
            </a:xfrm>
            <a:prstGeom prst="rect">
              <a:avLst/>
            </a:prstGeom>
            <a:solidFill>
              <a:srgbClr val="00B070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rtlCol="0" anchor="ctr" anchorCtr="0">
              <a:noAutofit/>
            </a:bodyPr>
            <a:lstStyle/>
            <a:p>
              <a:pPr algn="ctr" defTabSz="963613" eaLnBrk="0" hangingPunct="0">
                <a:tabLst>
                  <a:tab pos="1257300" algn="l"/>
                </a:tabLst>
              </a:pPr>
              <a:endParaRPr lang="de-DE" sz="1400" kern="0" cap="all" dirty="0">
                <a:solidFill>
                  <a:srgbClr val="FFFFFF"/>
                </a:solidFill>
                <a:latin typeface="+mj-lt"/>
                <a:sym typeface="Wingdings" pitchFamily="2" charset="2"/>
              </a:endParaRPr>
            </a:p>
          </p:txBody>
        </p:sp>
        <p:sp>
          <p:nvSpPr>
            <p:cNvPr id="60" name="Freeform 16">
              <a:extLst>
                <a:ext uri="{FF2B5EF4-FFF2-40B4-BE49-F238E27FC236}">
                  <a16:creationId xmlns:a16="http://schemas.microsoft.com/office/drawing/2014/main" id="{646DE74B-B502-42FD-BDB5-C05D1C809AB0}"/>
                </a:ext>
              </a:extLst>
            </p:cNvPr>
            <p:cNvSpPr>
              <a:spLocks/>
            </p:cNvSpPr>
            <p:nvPr/>
          </p:nvSpPr>
          <p:spPr bwMode="gray">
            <a:xfrm>
              <a:off x="953312" y="4655028"/>
              <a:ext cx="556887" cy="588244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231" y="413"/>
                </a:cxn>
                <a:cxn ang="0">
                  <a:pos x="137" y="281"/>
                </a:cxn>
                <a:cxn ang="0">
                  <a:pos x="0" y="281"/>
                </a:cxn>
                <a:cxn ang="0">
                  <a:pos x="241" y="619"/>
                </a:cxn>
                <a:cxn ang="0">
                  <a:pos x="286" y="543"/>
                </a:cxn>
                <a:cxn ang="0">
                  <a:pos x="586" y="0"/>
                </a:cxn>
                <a:cxn ang="0">
                  <a:pos x="458" y="0"/>
                </a:cxn>
                <a:cxn ang="0">
                  <a:pos x="458" y="0"/>
                </a:cxn>
                <a:cxn ang="0">
                  <a:pos x="458" y="0"/>
                </a:cxn>
              </a:cxnLst>
              <a:rect l="0" t="0" r="r" b="b"/>
              <a:pathLst>
                <a:path w="586" h="619">
                  <a:moveTo>
                    <a:pt x="458" y="0"/>
                  </a:moveTo>
                  <a:lnTo>
                    <a:pt x="231" y="413"/>
                  </a:lnTo>
                  <a:lnTo>
                    <a:pt x="137" y="281"/>
                  </a:lnTo>
                  <a:lnTo>
                    <a:pt x="0" y="281"/>
                  </a:lnTo>
                  <a:lnTo>
                    <a:pt x="241" y="619"/>
                  </a:lnTo>
                  <a:lnTo>
                    <a:pt x="286" y="543"/>
                  </a:lnTo>
                  <a:lnTo>
                    <a:pt x="586" y="0"/>
                  </a:lnTo>
                  <a:lnTo>
                    <a:pt x="458" y="0"/>
                  </a:lnTo>
                  <a:lnTo>
                    <a:pt x="458" y="0"/>
                  </a:lnTo>
                  <a:lnTo>
                    <a:pt x="458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5000"/>
                </a:lnSpc>
              </a:pPr>
              <a:endParaRPr lang="de-DE" sz="32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61" name="Gruppieren 52">
            <a:extLst>
              <a:ext uri="{FF2B5EF4-FFF2-40B4-BE49-F238E27FC236}">
                <a16:creationId xmlns:a16="http://schemas.microsoft.com/office/drawing/2014/main" id="{387B0E55-75EF-40FD-82FA-4081CF5EA9C6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167691" y="4269125"/>
            <a:ext cx="263517" cy="263517"/>
            <a:chOff x="826257" y="4517149"/>
            <a:chExt cx="864000" cy="864000"/>
          </a:xfrm>
        </p:grpSpPr>
        <p:sp>
          <p:nvSpPr>
            <p:cNvPr id="62" name="Oval 97">
              <a:extLst>
                <a:ext uri="{FF2B5EF4-FFF2-40B4-BE49-F238E27FC236}">
                  <a16:creationId xmlns:a16="http://schemas.microsoft.com/office/drawing/2014/main" id="{9DC42DE5-7D12-4B25-BF24-82FEB7835F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257" y="4517149"/>
              <a:ext cx="864000" cy="864000"/>
            </a:xfrm>
            <a:prstGeom prst="rect">
              <a:avLst/>
            </a:prstGeom>
            <a:solidFill>
              <a:srgbClr val="00B070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rtlCol="0" anchor="ctr" anchorCtr="0">
              <a:noAutofit/>
            </a:bodyPr>
            <a:lstStyle/>
            <a:p>
              <a:pPr algn="ctr" defTabSz="963613" eaLnBrk="0" hangingPunct="0">
                <a:tabLst>
                  <a:tab pos="1257300" algn="l"/>
                </a:tabLst>
              </a:pPr>
              <a:endParaRPr lang="de-DE" sz="1400" kern="0" cap="all" dirty="0">
                <a:solidFill>
                  <a:srgbClr val="FFFFFF"/>
                </a:solidFill>
                <a:latin typeface="+mj-lt"/>
                <a:sym typeface="Wingdings" pitchFamily="2" charset="2"/>
              </a:endParaRPr>
            </a:p>
          </p:txBody>
        </p:sp>
        <p:sp>
          <p:nvSpPr>
            <p:cNvPr id="63" name="Freeform 16">
              <a:extLst>
                <a:ext uri="{FF2B5EF4-FFF2-40B4-BE49-F238E27FC236}">
                  <a16:creationId xmlns:a16="http://schemas.microsoft.com/office/drawing/2014/main" id="{4ACFC2DF-18A3-42FC-A3F9-2F34DC3D854E}"/>
                </a:ext>
              </a:extLst>
            </p:cNvPr>
            <p:cNvSpPr>
              <a:spLocks/>
            </p:cNvSpPr>
            <p:nvPr/>
          </p:nvSpPr>
          <p:spPr bwMode="gray">
            <a:xfrm>
              <a:off x="953312" y="4655028"/>
              <a:ext cx="556887" cy="588244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231" y="413"/>
                </a:cxn>
                <a:cxn ang="0">
                  <a:pos x="137" y="281"/>
                </a:cxn>
                <a:cxn ang="0">
                  <a:pos x="0" y="281"/>
                </a:cxn>
                <a:cxn ang="0">
                  <a:pos x="241" y="619"/>
                </a:cxn>
                <a:cxn ang="0">
                  <a:pos x="286" y="543"/>
                </a:cxn>
                <a:cxn ang="0">
                  <a:pos x="586" y="0"/>
                </a:cxn>
                <a:cxn ang="0">
                  <a:pos x="458" y="0"/>
                </a:cxn>
                <a:cxn ang="0">
                  <a:pos x="458" y="0"/>
                </a:cxn>
                <a:cxn ang="0">
                  <a:pos x="458" y="0"/>
                </a:cxn>
              </a:cxnLst>
              <a:rect l="0" t="0" r="r" b="b"/>
              <a:pathLst>
                <a:path w="586" h="619">
                  <a:moveTo>
                    <a:pt x="458" y="0"/>
                  </a:moveTo>
                  <a:lnTo>
                    <a:pt x="231" y="413"/>
                  </a:lnTo>
                  <a:lnTo>
                    <a:pt x="137" y="281"/>
                  </a:lnTo>
                  <a:lnTo>
                    <a:pt x="0" y="281"/>
                  </a:lnTo>
                  <a:lnTo>
                    <a:pt x="241" y="619"/>
                  </a:lnTo>
                  <a:lnTo>
                    <a:pt x="286" y="543"/>
                  </a:lnTo>
                  <a:lnTo>
                    <a:pt x="586" y="0"/>
                  </a:lnTo>
                  <a:lnTo>
                    <a:pt x="458" y="0"/>
                  </a:lnTo>
                  <a:lnTo>
                    <a:pt x="458" y="0"/>
                  </a:lnTo>
                  <a:lnTo>
                    <a:pt x="458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5000"/>
                </a:lnSpc>
              </a:pPr>
              <a:endParaRPr lang="de-DE" sz="32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64" name="Gruppieren 52">
            <a:extLst>
              <a:ext uri="{FF2B5EF4-FFF2-40B4-BE49-F238E27FC236}">
                <a16:creationId xmlns:a16="http://schemas.microsoft.com/office/drawing/2014/main" id="{F92618F6-0661-4AE0-ACF4-B368B7FE2E5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167691" y="4628345"/>
            <a:ext cx="263517" cy="263517"/>
            <a:chOff x="826257" y="4517149"/>
            <a:chExt cx="864000" cy="864000"/>
          </a:xfrm>
        </p:grpSpPr>
        <p:sp>
          <p:nvSpPr>
            <p:cNvPr id="65" name="Oval 97">
              <a:extLst>
                <a:ext uri="{FF2B5EF4-FFF2-40B4-BE49-F238E27FC236}">
                  <a16:creationId xmlns:a16="http://schemas.microsoft.com/office/drawing/2014/main" id="{F72FB2BB-3306-40C9-861D-C0E8EB5B60B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257" y="4517149"/>
              <a:ext cx="864000" cy="864000"/>
            </a:xfrm>
            <a:prstGeom prst="rect">
              <a:avLst/>
            </a:prstGeom>
            <a:solidFill>
              <a:srgbClr val="00B070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rtlCol="0" anchor="ctr" anchorCtr="0">
              <a:noAutofit/>
            </a:bodyPr>
            <a:lstStyle/>
            <a:p>
              <a:pPr algn="ctr" defTabSz="963613" eaLnBrk="0" hangingPunct="0">
                <a:tabLst>
                  <a:tab pos="1257300" algn="l"/>
                </a:tabLst>
              </a:pPr>
              <a:endParaRPr lang="de-DE" sz="1400" kern="0" cap="all" dirty="0">
                <a:solidFill>
                  <a:srgbClr val="FFFFFF"/>
                </a:solidFill>
                <a:latin typeface="+mj-lt"/>
                <a:sym typeface="Wingdings" pitchFamily="2" charset="2"/>
              </a:endParaRPr>
            </a:p>
          </p:txBody>
        </p:sp>
        <p:sp>
          <p:nvSpPr>
            <p:cNvPr id="66" name="Freeform 16">
              <a:extLst>
                <a:ext uri="{FF2B5EF4-FFF2-40B4-BE49-F238E27FC236}">
                  <a16:creationId xmlns:a16="http://schemas.microsoft.com/office/drawing/2014/main" id="{B9E32628-CDF5-4FF9-A27D-927267D41215}"/>
                </a:ext>
              </a:extLst>
            </p:cNvPr>
            <p:cNvSpPr>
              <a:spLocks/>
            </p:cNvSpPr>
            <p:nvPr/>
          </p:nvSpPr>
          <p:spPr bwMode="gray">
            <a:xfrm>
              <a:off x="953312" y="4655028"/>
              <a:ext cx="556887" cy="588244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231" y="413"/>
                </a:cxn>
                <a:cxn ang="0">
                  <a:pos x="137" y="281"/>
                </a:cxn>
                <a:cxn ang="0">
                  <a:pos x="0" y="281"/>
                </a:cxn>
                <a:cxn ang="0">
                  <a:pos x="241" y="619"/>
                </a:cxn>
                <a:cxn ang="0">
                  <a:pos x="286" y="543"/>
                </a:cxn>
                <a:cxn ang="0">
                  <a:pos x="586" y="0"/>
                </a:cxn>
                <a:cxn ang="0">
                  <a:pos x="458" y="0"/>
                </a:cxn>
                <a:cxn ang="0">
                  <a:pos x="458" y="0"/>
                </a:cxn>
                <a:cxn ang="0">
                  <a:pos x="458" y="0"/>
                </a:cxn>
              </a:cxnLst>
              <a:rect l="0" t="0" r="r" b="b"/>
              <a:pathLst>
                <a:path w="586" h="619">
                  <a:moveTo>
                    <a:pt x="458" y="0"/>
                  </a:moveTo>
                  <a:lnTo>
                    <a:pt x="231" y="413"/>
                  </a:lnTo>
                  <a:lnTo>
                    <a:pt x="137" y="281"/>
                  </a:lnTo>
                  <a:lnTo>
                    <a:pt x="0" y="281"/>
                  </a:lnTo>
                  <a:lnTo>
                    <a:pt x="241" y="619"/>
                  </a:lnTo>
                  <a:lnTo>
                    <a:pt x="286" y="543"/>
                  </a:lnTo>
                  <a:lnTo>
                    <a:pt x="586" y="0"/>
                  </a:lnTo>
                  <a:lnTo>
                    <a:pt x="458" y="0"/>
                  </a:lnTo>
                  <a:lnTo>
                    <a:pt x="458" y="0"/>
                  </a:lnTo>
                  <a:lnTo>
                    <a:pt x="458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5000"/>
                </a:lnSpc>
              </a:pPr>
              <a:endParaRPr lang="de-DE" sz="32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73" name="Gruppieren 52">
            <a:extLst>
              <a:ext uri="{FF2B5EF4-FFF2-40B4-BE49-F238E27FC236}">
                <a16:creationId xmlns:a16="http://schemas.microsoft.com/office/drawing/2014/main" id="{C8DC9078-FB38-4CA7-B9AB-D65D8203E22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449721" y="2473025"/>
            <a:ext cx="263517" cy="263517"/>
            <a:chOff x="826257" y="4517149"/>
            <a:chExt cx="864000" cy="864000"/>
          </a:xfrm>
        </p:grpSpPr>
        <p:sp>
          <p:nvSpPr>
            <p:cNvPr id="74" name="Oval 97">
              <a:extLst>
                <a:ext uri="{FF2B5EF4-FFF2-40B4-BE49-F238E27FC236}">
                  <a16:creationId xmlns:a16="http://schemas.microsoft.com/office/drawing/2014/main" id="{A259FB9B-DAA8-4479-8D22-C315459B7B3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257" y="4517149"/>
              <a:ext cx="864000" cy="864000"/>
            </a:xfrm>
            <a:prstGeom prst="rect">
              <a:avLst/>
            </a:prstGeom>
            <a:solidFill>
              <a:srgbClr val="00B070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rtlCol="0" anchor="ctr" anchorCtr="0">
              <a:noAutofit/>
            </a:bodyPr>
            <a:lstStyle/>
            <a:p>
              <a:pPr algn="ctr" defTabSz="963613" eaLnBrk="0" hangingPunct="0">
                <a:tabLst>
                  <a:tab pos="1257300" algn="l"/>
                </a:tabLst>
              </a:pPr>
              <a:endParaRPr lang="de-DE" sz="1400" kern="0" cap="all" dirty="0">
                <a:solidFill>
                  <a:srgbClr val="FFFFFF"/>
                </a:solidFill>
                <a:latin typeface="+mj-lt"/>
                <a:sym typeface="Wingdings" pitchFamily="2" charset="2"/>
              </a:endParaRPr>
            </a:p>
          </p:txBody>
        </p:sp>
        <p:sp>
          <p:nvSpPr>
            <p:cNvPr id="75" name="Freeform 16">
              <a:extLst>
                <a:ext uri="{FF2B5EF4-FFF2-40B4-BE49-F238E27FC236}">
                  <a16:creationId xmlns:a16="http://schemas.microsoft.com/office/drawing/2014/main" id="{2BEC9746-E7D6-4D60-A606-F880BFFA107A}"/>
                </a:ext>
              </a:extLst>
            </p:cNvPr>
            <p:cNvSpPr>
              <a:spLocks/>
            </p:cNvSpPr>
            <p:nvPr/>
          </p:nvSpPr>
          <p:spPr bwMode="gray">
            <a:xfrm>
              <a:off x="953312" y="4655028"/>
              <a:ext cx="556887" cy="588244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231" y="413"/>
                </a:cxn>
                <a:cxn ang="0">
                  <a:pos x="137" y="281"/>
                </a:cxn>
                <a:cxn ang="0">
                  <a:pos x="0" y="281"/>
                </a:cxn>
                <a:cxn ang="0">
                  <a:pos x="241" y="619"/>
                </a:cxn>
                <a:cxn ang="0">
                  <a:pos x="286" y="543"/>
                </a:cxn>
                <a:cxn ang="0">
                  <a:pos x="586" y="0"/>
                </a:cxn>
                <a:cxn ang="0">
                  <a:pos x="458" y="0"/>
                </a:cxn>
                <a:cxn ang="0">
                  <a:pos x="458" y="0"/>
                </a:cxn>
                <a:cxn ang="0">
                  <a:pos x="458" y="0"/>
                </a:cxn>
              </a:cxnLst>
              <a:rect l="0" t="0" r="r" b="b"/>
              <a:pathLst>
                <a:path w="586" h="619">
                  <a:moveTo>
                    <a:pt x="458" y="0"/>
                  </a:moveTo>
                  <a:lnTo>
                    <a:pt x="231" y="413"/>
                  </a:lnTo>
                  <a:lnTo>
                    <a:pt x="137" y="281"/>
                  </a:lnTo>
                  <a:lnTo>
                    <a:pt x="0" y="281"/>
                  </a:lnTo>
                  <a:lnTo>
                    <a:pt x="241" y="619"/>
                  </a:lnTo>
                  <a:lnTo>
                    <a:pt x="286" y="543"/>
                  </a:lnTo>
                  <a:lnTo>
                    <a:pt x="586" y="0"/>
                  </a:lnTo>
                  <a:lnTo>
                    <a:pt x="458" y="0"/>
                  </a:lnTo>
                  <a:lnTo>
                    <a:pt x="458" y="0"/>
                  </a:lnTo>
                  <a:lnTo>
                    <a:pt x="458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5000"/>
                </a:lnSpc>
              </a:pPr>
              <a:endParaRPr lang="de-DE" sz="32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76" name="Gruppieren 52">
            <a:extLst>
              <a:ext uri="{FF2B5EF4-FFF2-40B4-BE49-F238E27FC236}">
                <a16:creationId xmlns:a16="http://schemas.microsoft.com/office/drawing/2014/main" id="{11F8D475-5A48-47B1-A489-8D700D91AAC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449721" y="2832245"/>
            <a:ext cx="263517" cy="263517"/>
            <a:chOff x="826257" y="4517149"/>
            <a:chExt cx="864000" cy="864000"/>
          </a:xfrm>
        </p:grpSpPr>
        <p:sp>
          <p:nvSpPr>
            <p:cNvPr id="77" name="Oval 97">
              <a:extLst>
                <a:ext uri="{FF2B5EF4-FFF2-40B4-BE49-F238E27FC236}">
                  <a16:creationId xmlns:a16="http://schemas.microsoft.com/office/drawing/2014/main" id="{928DC134-A9AA-4AAA-B727-D83A51F204E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257" y="4517149"/>
              <a:ext cx="864000" cy="864000"/>
            </a:xfrm>
            <a:prstGeom prst="rect">
              <a:avLst/>
            </a:prstGeom>
            <a:solidFill>
              <a:srgbClr val="00B070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rtlCol="0" anchor="ctr" anchorCtr="0">
              <a:noAutofit/>
            </a:bodyPr>
            <a:lstStyle/>
            <a:p>
              <a:pPr algn="ctr" defTabSz="963613" eaLnBrk="0" hangingPunct="0">
                <a:tabLst>
                  <a:tab pos="1257300" algn="l"/>
                </a:tabLst>
              </a:pPr>
              <a:endParaRPr lang="de-DE" sz="1400" kern="0" cap="all" dirty="0">
                <a:solidFill>
                  <a:srgbClr val="FFFFFF"/>
                </a:solidFill>
                <a:latin typeface="+mj-lt"/>
                <a:sym typeface="Wingdings" pitchFamily="2" charset="2"/>
              </a:endParaRPr>
            </a:p>
          </p:txBody>
        </p:sp>
        <p:sp>
          <p:nvSpPr>
            <p:cNvPr id="78" name="Freeform 16">
              <a:extLst>
                <a:ext uri="{FF2B5EF4-FFF2-40B4-BE49-F238E27FC236}">
                  <a16:creationId xmlns:a16="http://schemas.microsoft.com/office/drawing/2014/main" id="{8DE985B9-EAC7-4D0D-82CE-D0A120E4AA43}"/>
                </a:ext>
              </a:extLst>
            </p:cNvPr>
            <p:cNvSpPr>
              <a:spLocks/>
            </p:cNvSpPr>
            <p:nvPr/>
          </p:nvSpPr>
          <p:spPr bwMode="gray">
            <a:xfrm>
              <a:off x="953312" y="4655028"/>
              <a:ext cx="556887" cy="588244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231" y="413"/>
                </a:cxn>
                <a:cxn ang="0">
                  <a:pos x="137" y="281"/>
                </a:cxn>
                <a:cxn ang="0">
                  <a:pos x="0" y="281"/>
                </a:cxn>
                <a:cxn ang="0">
                  <a:pos x="241" y="619"/>
                </a:cxn>
                <a:cxn ang="0">
                  <a:pos x="286" y="543"/>
                </a:cxn>
                <a:cxn ang="0">
                  <a:pos x="586" y="0"/>
                </a:cxn>
                <a:cxn ang="0">
                  <a:pos x="458" y="0"/>
                </a:cxn>
                <a:cxn ang="0">
                  <a:pos x="458" y="0"/>
                </a:cxn>
                <a:cxn ang="0">
                  <a:pos x="458" y="0"/>
                </a:cxn>
              </a:cxnLst>
              <a:rect l="0" t="0" r="r" b="b"/>
              <a:pathLst>
                <a:path w="586" h="619">
                  <a:moveTo>
                    <a:pt x="458" y="0"/>
                  </a:moveTo>
                  <a:lnTo>
                    <a:pt x="231" y="413"/>
                  </a:lnTo>
                  <a:lnTo>
                    <a:pt x="137" y="281"/>
                  </a:lnTo>
                  <a:lnTo>
                    <a:pt x="0" y="281"/>
                  </a:lnTo>
                  <a:lnTo>
                    <a:pt x="241" y="619"/>
                  </a:lnTo>
                  <a:lnTo>
                    <a:pt x="286" y="543"/>
                  </a:lnTo>
                  <a:lnTo>
                    <a:pt x="586" y="0"/>
                  </a:lnTo>
                  <a:lnTo>
                    <a:pt x="458" y="0"/>
                  </a:lnTo>
                  <a:lnTo>
                    <a:pt x="458" y="0"/>
                  </a:lnTo>
                  <a:lnTo>
                    <a:pt x="458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5000"/>
                </a:lnSpc>
              </a:pPr>
              <a:endParaRPr lang="de-DE" sz="32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79" name="Gruppieren 52">
            <a:extLst>
              <a:ext uri="{FF2B5EF4-FFF2-40B4-BE49-F238E27FC236}">
                <a16:creationId xmlns:a16="http://schemas.microsoft.com/office/drawing/2014/main" id="{40ABAD7D-2854-4582-8843-2DD078DFD127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449721" y="3191465"/>
            <a:ext cx="263517" cy="263517"/>
            <a:chOff x="826257" y="4517149"/>
            <a:chExt cx="864000" cy="864000"/>
          </a:xfrm>
        </p:grpSpPr>
        <p:sp>
          <p:nvSpPr>
            <p:cNvPr id="80" name="Oval 97">
              <a:extLst>
                <a:ext uri="{FF2B5EF4-FFF2-40B4-BE49-F238E27FC236}">
                  <a16:creationId xmlns:a16="http://schemas.microsoft.com/office/drawing/2014/main" id="{3323BABD-C769-4EA0-9360-C0235B26872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257" y="4517149"/>
              <a:ext cx="864000" cy="864000"/>
            </a:xfrm>
            <a:prstGeom prst="rect">
              <a:avLst/>
            </a:prstGeom>
            <a:solidFill>
              <a:srgbClr val="00B070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rtlCol="0" anchor="ctr" anchorCtr="0">
              <a:noAutofit/>
            </a:bodyPr>
            <a:lstStyle/>
            <a:p>
              <a:pPr algn="ctr" defTabSz="963613" eaLnBrk="0" hangingPunct="0">
                <a:tabLst>
                  <a:tab pos="1257300" algn="l"/>
                </a:tabLst>
              </a:pPr>
              <a:endParaRPr lang="de-DE" sz="1400" kern="0" cap="all" dirty="0">
                <a:solidFill>
                  <a:srgbClr val="FFFFFF"/>
                </a:solidFill>
                <a:latin typeface="+mj-lt"/>
                <a:sym typeface="Wingdings" pitchFamily="2" charset="2"/>
              </a:endParaRPr>
            </a:p>
          </p:txBody>
        </p:sp>
        <p:sp>
          <p:nvSpPr>
            <p:cNvPr id="81" name="Freeform 16">
              <a:extLst>
                <a:ext uri="{FF2B5EF4-FFF2-40B4-BE49-F238E27FC236}">
                  <a16:creationId xmlns:a16="http://schemas.microsoft.com/office/drawing/2014/main" id="{47ADEBFE-346B-4F4A-98B7-4638D6016B94}"/>
                </a:ext>
              </a:extLst>
            </p:cNvPr>
            <p:cNvSpPr>
              <a:spLocks/>
            </p:cNvSpPr>
            <p:nvPr/>
          </p:nvSpPr>
          <p:spPr bwMode="gray">
            <a:xfrm>
              <a:off x="953312" y="4655028"/>
              <a:ext cx="556887" cy="588244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231" y="413"/>
                </a:cxn>
                <a:cxn ang="0">
                  <a:pos x="137" y="281"/>
                </a:cxn>
                <a:cxn ang="0">
                  <a:pos x="0" y="281"/>
                </a:cxn>
                <a:cxn ang="0">
                  <a:pos x="241" y="619"/>
                </a:cxn>
                <a:cxn ang="0">
                  <a:pos x="286" y="543"/>
                </a:cxn>
                <a:cxn ang="0">
                  <a:pos x="586" y="0"/>
                </a:cxn>
                <a:cxn ang="0">
                  <a:pos x="458" y="0"/>
                </a:cxn>
                <a:cxn ang="0">
                  <a:pos x="458" y="0"/>
                </a:cxn>
                <a:cxn ang="0">
                  <a:pos x="458" y="0"/>
                </a:cxn>
              </a:cxnLst>
              <a:rect l="0" t="0" r="r" b="b"/>
              <a:pathLst>
                <a:path w="586" h="619">
                  <a:moveTo>
                    <a:pt x="458" y="0"/>
                  </a:moveTo>
                  <a:lnTo>
                    <a:pt x="231" y="413"/>
                  </a:lnTo>
                  <a:lnTo>
                    <a:pt x="137" y="281"/>
                  </a:lnTo>
                  <a:lnTo>
                    <a:pt x="0" y="281"/>
                  </a:lnTo>
                  <a:lnTo>
                    <a:pt x="241" y="619"/>
                  </a:lnTo>
                  <a:lnTo>
                    <a:pt x="286" y="543"/>
                  </a:lnTo>
                  <a:lnTo>
                    <a:pt x="586" y="0"/>
                  </a:lnTo>
                  <a:lnTo>
                    <a:pt x="458" y="0"/>
                  </a:lnTo>
                  <a:lnTo>
                    <a:pt x="458" y="0"/>
                  </a:lnTo>
                  <a:lnTo>
                    <a:pt x="458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5000"/>
                </a:lnSpc>
              </a:pPr>
              <a:endParaRPr lang="de-DE" sz="32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82" name="Gruppieren 52">
            <a:extLst>
              <a:ext uri="{FF2B5EF4-FFF2-40B4-BE49-F238E27FC236}">
                <a16:creationId xmlns:a16="http://schemas.microsoft.com/office/drawing/2014/main" id="{2657FA3A-4A41-419D-B4AF-ADABB31DC51E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449721" y="3550685"/>
            <a:ext cx="263517" cy="263517"/>
            <a:chOff x="826257" y="4517149"/>
            <a:chExt cx="864000" cy="864000"/>
          </a:xfrm>
        </p:grpSpPr>
        <p:sp>
          <p:nvSpPr>
            <p:cNvPr id="83" name="Oval 97">
              <a:extLst>
                <a:ext uri="{FF2B5EF4-FFF2-40B4-BE49-F238E27FC236}">
                  <a16:creationId xmlns:a16="http://schemas.microsoft.com/office/drawing/2014/main" id="{E97A73AD-1921-4743-A523-14CE01990D7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257" y="4517149"/>
              <a:ext cx="864000" cy="864000"/>
            </a:xfrm>
            <a:prstGeom prst="rect">
              <a:avLst/>
            </a:prstGeom>
            <a:solidFill>
              <a:srgbClr val="00B070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rtlCol="0" anchor="ctr" anchorCtr="0">
              <a:noAutofit/>
            </a:bodyPr>
            <a:lstStyle/>
            <a:p>
              <a:pPr algn="ctr" defTabSz="963613" eaLnBrk="0" hangingPunct="0">
                <a:tabLst>
                  <a:tab pos="1257300" algn="l"/>
                </a:tabLst>
              </a:pPr>
              <a:endParaRPr lang="de-DE" sz="1400" kern="0" cap="all" dirty="0">
                <a:solidFill>
                  <a:srgbClr val="FFFFFF"/>
                </a:solidFill>
                <a:latin typeface="+mj-lt"/>
                <a:sym typeface="Wingdings" pitchFamily="2" charset="2"/>
              </a:endParaRPr>
            </a:p>
          </p:txBody>
        </p:sp>
        <p:sp>
          <p:nvSpPr>
            <p:cNvPr id="84" name="Freeform 16">
              <a:extLst>
                <a:ext uri="{FF2B5EF4-FFF2-40B4-BE49-F238E27FC236}">
                  <a16:creationId xmlns:a16="http://schemas.microsoft.com/office/drawing/2014/main" id="{D8214FC5-2EF1-49FA-A5C9-183275B93318}"/>
                </a:ext>
              </a:extLst>
            </p:cNvPr>
            <p:cNvSpPr>
              <a:spLocks/>
            </p:cNvSpPr>
            <p:nvPr/>
          </p:nvSpPr>
          <p:spPr bwMode="gray">
            <a:xfrm>
              <a:off x="953312" y="4655028"/>
              <a:ext cx="556887" cy="588244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231" y="413"/>
                </a:cxn>
                <a:cxn ang="0">
                  <a:pos x="137" y="281"/>
                </a:cxn>
                <a:cxn ang="0">
                  <a:pos x="0" y="281"/>
                </a:cxn>
                <a:cxn ang="0">
                  <a:pos x="241" y="619"/>
                </a:cxn>
                <a:cxn ang="0">
                  <a:pos x="286" y="543"/>
                </a:cxn>
                <a:cxn ang="0">
                  <a:pos x="586" y="0"/>
                </a:cxn>
                <a:cxn ang="0">
                  <a:pos x="458" y="0"/>
                </a:cxn>
                <a:cxn ang="0">
                  <a:pos x="458" y="0"/>
                </a:cxn>
                <a:cxn ang="0">
                  <a:pos x="458" y="0"/>
                </a:cxn>
              </a:cxnLst>
              <a:rect l="0" t="0" r="r" b="b"/>
              <a:pathLst>
                <a:path w="586" h="619">
                  <a:moveTo>
                    <a:pt x="458" y="0"/>
                  </a:moveTo>
                  <a:lnTo>
                    <a:pt x="231" y="413"/>
                  </a:lnTo>
                  <a:lnTo>
                    <a:pt x="137" y="281"/>
                  </a:lnTo>
                  <a:lnTo>
                    <a:pt x="0" y="281"/>
                  </a:lnTo>
                  <a:lnTo>
                    <a:pt x="241" y="619"/>
                  </a:lnTo>
                  <a:lnTo>
                    <a:pt x="286" y="543"/>
                  </a:lnTo>
                  <a:lnTo>
                    <a:pt x="586" y="0"/>
                  </a:lnTo>
                  <a:lnTo>
                    <a:pt x="458" y="0"/>
                  </a:lnTo>
                  <a:lnTo>
                    <a:pt x="458" y="0"/>
                  </a:lnTo>
                  <a:lnTo>
                    <a:pt x="458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5000"/>
                </a:lnSpc>
              </a:pPr>
              <a:endParaRPr lang="de-DE" sz="32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85" name="Gruppieren 52">
            <a:extLst>
              <a:ext uri="{FF2B5EF4-FFF2-40B4-BE49-F238E27FC236}">
                <a16:creationId xmlns:a16="http://schemas.microsoft.com/office/drawing/2014/main" id="{CE6C4A99-F8A0-47AA-827E-A4562D945C1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449721" y="3909905"/>
            <a:ext cx="263517" cy="263517"/>
            <a:chOff x="826257" y="4517149"/>
            <a:chExt cx="864000" cy="864000"/>
          </a:xfrm>
        </p:grpSpPr>
        <p:sp>
          <p:nvSpPr>
            <p:cNvPr id="86" name="Oval 97">
              <a:extLst>
                <a:ext uri="{FF2B5EF4-FFF2-40B4-BE49-F238E27FC236}">
                  <a16:creationId xmlns:a16="http://schemas.microsoft.com/office/drawing/2014/main" id="{476708D9-50B2-40BD-B8C5-E7FC638AE35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257" y="4517149"/>
              <a:ext cx="864000" cy="864000"/>
            </a:xfrm>
            <a:prstGeom prst="rect">
              <a:avLst/>
            </a:prstGeom>
            <a:solidFill>
              <a:srgbClr val="00B070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rtlCol="0" anchor="ctr" anchorCtr="0">
              <a:noAutofit/>
            </a:bodyPr>
            <a:lstStyle/>
            <a:p>
              <a:pPr algn="ctr" defTabSz="963613" eaLnBrk="0" hangingPunct="0">
                <a:tabLst>
                  <a:tab pos="1257300" algn="l"/>
                </a:tabLst>
              </a:pPr>
              <a:endParaRPr lang="de-DE" sz="1400" kern="0" cap="all" dirty="0">
                <a:solidFill>
                  <a:srgbClr val="FFFFFF"/>
                </a:solidFill>
                <a:latin typeface="+mj-lt"/>
                <a:sym typeface="Wingdings" pitchFamily="2" charset="2"/>
              </a:endParaRPr>
            </a:p>
          </p:txBody>
        </p:sp>
        <p:sp>
          <p:nvSpPr>
            <p:cNvPr id="87" name="Freeform 16">
              <a:extLst>
                <a:ext uri="{FF2B5EF4-FFF2-40B4-BE49-F238E27FC236}">
                  <a16:creationId xmlns:a16="http://schemas.microsoft.com/office/drawing/2014/main" id="{8A8F92D4-A692-4593-985A-8D54F66432A2}"/>
                </a:ext>
              </a:extLst>
            </p:cNvPr>
            <p:cNvSpPr>
              <a:spLocks/>
            </p:cNvSpPr>
            <p:nvPr/>
          </p:nvSpPr>
          <p:spPr bwMode="gray">
            <a:xfrm>
              <a:off x="953312" y="4655028"/>
              <a:ext cx="556887" cy="588244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231" y="413"/>
                </a:cxn>
                <a:cxn ang="0">
                  <a:pos x="137" y="281"/>
                </a:cxn>
                <a:cxn ang="0">
                  <a:pos x="0" y="281"/>
                </a:cxn>
                <a:cxn ang="0">
                  <a:pos x="241" y="619"/>
                </a:cxn>
                <a:cxn ang="0">
                  <a:pos x="286" y="543"/>
                </a:cxn>
                <a:cxn ang="0">
                  <a:pos x="586" y="0"/>
                </a:cxn>
                <a:cxn ang="0">
                  <a:pos x="458" y="0"/>
                </a:cxn>
                <a:cxn ang="0">
                  <a:pos x="458" y="0"/>
                </a:cxn>
                <a:cxn ang="0">
                  <a:pos x="458" y="0"/>
                </a:cxn>
              </a:cxnLst>
              <a:rect l="0" t="0" r="r" b="b"/>
              <a:pathLst>
                <a:path w="586" h="619">
                  <a:moveTo>
                    <a:pt x="458" y="0"/>
                  </a:moveTo>
                  <a:lnTo>
                    <a:pt x="231" y="413"/>
                  </a:lnTo>
                  <a:lnTo>
                    <a:pt x="137" y="281"/>
                  </a:lnTo>
                  <a:lnTo>
                    <a:pt x="0" y="281"/>
                  </a:lnTo>
                  <a:lnTo>
                    <a:pt x="241" y="619"/>
                  </a:lnTo>
                  <a:lnTo>
                    <a:pt x="286" y="543"/>
                  </a:lnTo>
                  <a:lnTo>
                    <a:pt x="586" y="0"/>
                  </a:lnTo>
                  <a:lnTo>
                    <a:pt x="458" y="0"/>
                  </a:lnTo>
                  <a:lnTo>
                    <a:pt x="458" y="0"/>
                  </a:lnTo>
                  <a:lnTo>
                    <a:pt x="458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5000"/>
                </a:lnSpc>
              </a:pPr>
              <a:endParaRPr lang="de-DE" sz="32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88" name="Gruppieren 52">
            <a:extLst>
              <a:ext uri="{FF2B5EF4-FFF2-40B4-BE49-F238E27FC236}">
                <a16:creationId xmlns:a16="http://schemas.microsoft.com/office/drawing/2014/main" id="{E2242D67-F285-40A3-9461-12A9F959317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449721" y="4269125"/>
            <a:ext cx="263517" cy="263517"/>
            <a:chOff x="826257" y="4517149"/>
            <a:chExt cx="864000" cy="864000"/>
          </a:xfrm>
        </p:grpSpPr>
        <p:sp>
          <p:nvSpPr>
            <p:cNvPr id="89" name="Oval 97">
              <a:extLst>
                <a:ext uri="{FF2B5EF4-FFF2-40B4-BE49-F238E27FC236}">
                  <a16:creationId xmlns:a16="http://schemas.microsoft.com/office/drawing/2014/main" id="{D85CEE61-7DD6-42F0-9174-B8227114B1A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257" y="4517149"/>
              <a:ext cx="864000" cy="864000"/>
            </a:xfrm>
            <a:prstGeom prst="rect">
              <a:avLst/>
            </a:prstGeom>
            <a:solidFill>
              <a:srgbClr val="00B070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rtlCol="0" anchor="ctr" anchorCtr="0">
              <a:noAutofit/>
            </a:bodyPr>
            <a:lstStyle/>
            <a:p>
              <a:pPr algn="ctr" defTabSz="963613" eaLnBrk="0" hangingPunct="0">
                <a:tabLst>
                  <a:tab pos="1257300" algn="l"/>
                </a:tabLst>
              </a:pPr>
              <a:endParaRPr lang="de-DE" sz="1400" kern="0" cap="all" dirty="0">
                <a:solidFill>
                  <a:srgbClr val="FFFFFF"/>
                </a:solidFill>
                <a:latin typeface="+mj-lt"/>
                <a:sym typeface="Wingdings" pitchFamily="2" charset="2"/>
              </a:endParaRPr>
            </a:p>
          </p:txBody>
        </p:sp>
        <p:sp>
          <p:nvSpPr>
            <p:cNvPr id="90" name="Freeform 16">
              <a:extLst>
                <a:ext uri="{FF2B5EF4-FFF2-40B4-BE49-F238E27FC236}">
                  <a16:creationId xmlns:a16="http://schemas.microsoft.com/office/drawing/2014/main" id="{1CDDC1CF-434A-4793-A4E4-43E6E25BC134}"/>
                </a:ext>
              </a:extLst>
            </p:cNvPr>
            <p:cNvSpPr>
              <a:spLocks/>
            </p:cNvSpPr>
            <p:nvPr/>
          </p:nvSpPr>
          <p:spPr bwMode="gray">
            <a:xfrm>
              <a:off x="953312" y="4655028"/>
              <a:ext cx="556887" cy="588244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231" y="413"/>
                </a:cxn>
                <a:cxn ang="0">
                  <a:pos x="137" y="281"/>
                </a:cxn>
                <a:cxn ang="0">
                  <a:pos x="0" y="281"/>
                </a:cxn>
                <a:cxn ang="0">
                  <a:pos x="241" y="619"/>
                </a:cxn>
                <a:cxn ang="0">
                  <a:pos x="286" y="543"/>
                </a:cxn>
                <a:cxn ang="0">
                  <a:pos x="586" y="0"/>
                </a:cxn>
                <a:cxn ang="0">
                  <a:pos x="458" y="0"/>
                </a:cxn>
                <a:cxn ang="0">
                  <a:pos x="458" y="0"/>
                </a:cxn>
                <a:cxn ang="0">
                  <a:pos x="458" y="0"/>
                </a:cxn>
              </a:cxnLst>
              <a:rect l="0" t="0" r="r" b="b"/>
              <a:pathLst>
                <a:path w="586" h="619">
                  <a:moveTo>
                    <a:pt x="458" y="0"/>
                  </a:moveTo>
                  <a:lnTo>
                    <a:pt x="231" y="413"/>
                  </a:lnTo>
                  <a:lnTo>
                    <a:pt x="137" y="281"/>
                  </a:lnTo>
                  <a:lnTo>
                    <a:pt x="0" y="281"/>
                  </a:lnTo>
                  <a:lnTo>
                    <a:pt x="241" y="619"/>
                  </a:lnTo>
                  <a:lnTo>
                    <a:pt x="286" y="543"/>
                  </a:lnTo>
                  <a:lnTo>
                    <a:pt x="586" y="0"/>
                  </a:lnTo>
                  <a:lnTo>
                    <a:pt x="458" y="0"/>
                  </a:lnTo>
                  <a:lnTo>
                    <a:pt x="458" y="0"/>
                  </a:lnTo>
                  <a:lnTo>
                    <a:pt x="458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5000"/>
                </a:lnSpc>
              </a:pPr>
              <a:endParaRPr lang="de-DE" sz="32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91" name="Gruppieren 52">
            <a:extLst>
              <a:ext uri="{FF2B5EF4-FFF2-40B4-BE49-F238E27FC236}">
                <a16:creationId xmlns:a16="http://schemas.microsoft.com/office/drawing/2014/main" id="{EFD9AEB1-F2DA-4AF0-89F5-EE12B86F355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449721" y="4628345"/>
            <a:ext cx="263517" cy="263517"/>
            <a:chOff x="826257" y="4517149"/>
            <a:chExt cx="864000" cy="864000"/>
          </a:xfrm>
        </p:grpSpPr>
        <p:sp>
          <p:nvSpPr>
            <p:cNvPr id="92" name="Oval 97">
              <a:extLst>
                <a:ext uri="{FF2B5EF4-FFF2-40B4-BE49-F238E27FC236}">
                  <a16:creationId xmlns:a16="http://schemas.microsoft.com/office/drawing/2014/main" id="{0BBB5558-BC41-42B8-A50E-7D15FA752A0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257" y="4517149"/>
              <a:ext cx="864000" cy="864000"/>
            </a:xfrm>
            <a:prstGeom prst="rect">
              <a:avLst/>
            </a:prstGeom>
            <a:solidFill>
              <a:srgbClr val="00B070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rtlCol="0" anchor="ctr" anchorCtr="0">
              <a:noAutofit/>
            </a:bodyPr>
            <a:lstStyle/>
            <a:p>
              <a:pPr algn="ctr" defTabSz="963613" eaLnBrk="0" hangingPunct="0">
                <a:tabLst>
                  <a:tab pos="1257300" algn="l"/>
                </a:tabLst>
              </a:pPr>
              <a:endParaRPr lang="de-DE" sz="1400" kern="0" cap="all" dirty="0">
                <a:solidFill>
                  <a:srgbClr val="FFFFFF"/>
                </a:solidFill>
                <a:latin typeface="+mj-lt"/>
                <a:sym typeface="Wingdings" pitchFamily="2" charset="2"/>
              </a:endParaRPr>
            </a:p>
          </p:txBody>
        </p:sp>
        <p:sp>
          <p:nvSpPr>
            <p:cNvPr id="93" name="Freeform 16">
              <a:extLst>
                <a:ext uri="{FF2B5EF4-FFF2-40B4-BE49-F238E27FC236}">
                  <a16:creationId xmlns:a16="http://schemas.microsoft.com/office/drawing/2014/main" id="{9452B6DD-3B3B-43A7-B825-A7418E8AD3A6}"/>
                </a:ext>
              </a:extLst>
            </p:cNvPr>
            <p:cNvSpPr>
              <a:spLocks/>
            </p:cNvSpPr>
            <p:nvPr/>
          </p:nvSpPr>
          <p:spPr bwMode="gray">
            <a:xfrm>
              <a:off x="953312" y="4655028"/>
              <a:ext cx="556887" cy="588244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231" y="413"/>
                </a:cxn>
                <a:cxn ang="0">
                  <a:pos x="137" y="281"/>
                </a:cxn>
                <a:cxn ang="0">
                  <a:pos x="0" y="281"/>
                </a:cxn>
                <a:cxn ang="0">
                  <a:pos x="241" y="619"/>
                </a:cxn>
                <a:cxn ang="0">
                  <a:pos x="286" y="543"/>
                </a:cxn>
                <a:cxn ang="0">
                  <a:pos x="586" y="0"/>
                </a:cxn>
                <a:cxn ang="0">
                  <a:pos x="458" y="0"/>
                </a:cxn>
                <a:cxn ang="0">
                  <a:pos x="458" y="0"/>
                </a:cxn>
                <a:cxn ang="0">
                  <a:pos x="458" y="0"/>
                </a:cxn>
              </a:cxnLst>
              <a:rect l="0" t="0" r="r" b="b"/>
              <a:pathLst>
                <a:path w="586" h="619">
                  <a:moveTo>
                    <a:pt x="458" y="0"/>
                  </a:moveTo>
                  <a:lnTo>
                    <a:pt x="231" y="413"/>
                  </a:lnTo>
                  <a:lnTo>
                    <a:pt x="137" y="281"/>
                  </a:lnTo>
                  <a:lnTo>
                    <a:pt x="0" y="281"/>
                  </a:lnTo>
                  <a:lnTo>
                    <a:pt x="241" y="619"/>
                  </a:lnTo>
                  <a:lnTo>
                    <a:pt x="286" y="543"/>
                  </a:lnTo>
                  <a:lnTo>
                    <a:pt x="586" y="0"/>
                  </a:lnTo>
                  <a:lnTo>
                    <a:pt x="458" y="0"/>
                  </a:lnTo>
                  <a:lnTo>
                    <a:pt x="458" y="0"/>
                  </a:lnTo>
                  <a:lnTo>
                    <a:pt x="458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5000"/>
                </a:lnSpc>
              </a:pPr>
              <a:endParaRPr lang="de-DE" sz="32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94" name="Gruppieren 52">
            <a:extLst>
              <a:ext uri="{FF2B5EF4-FFF2-40B4-BE49-F238E27FC236}">
                <a16:creationId xmlns:a16="http://schemas.microsoft.com/office/drawing/2014/main" id="{BF99726F-A8A7-431B-BA44-155168EBFC0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449721" y="4987565"/>
            <a:ext cx="263517" cy="263517"/>
            <a:chOff x="826257" y="4517149"/>
            <a:chExt cx="864000" cy="864000"/>
          </a:xfrm>
        </p:grpSpPr>
        <p:sp>
          <p:nvSpPr>
            <p:cNvPr id="95" name="Oval 97">
              <a:extLst>
                <a:ext uri="{FF2B5EF4-FFF2-40B4-BE49-F238E27FC236}">
                  <a16:creationId xmlns:a16="http://schemas.microsoft.com/office/drawing/2014/main" id="{6E99A586-93E0-4278-8B40-DC9CCFD3AB9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257" y="4517149"/>
              <a:ext cx="864000" cy="864000"/>
            </a:xfrm>
            <a:prstGeom prst="rect">
              <a:avLst/>
            </a:prstGeom>
            <a:solidFill>
              <a:srgbClr val="00B070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rtlCol="0" anchor="ctr" anchorCtr="0">
              <a:noAutofit/>
            </a:bodyPr>
            <a:lstStyle/>
            <a:p>
              <a:pPr algn="ctr" defTabSz="963613" eaLnBrk="0" hangingPunct="0">
                <a:tabLst>
                  <a:tab pos="1257300" algn="l"/>
                </a:tabLst>
              </a:pPr>
              <a:endParaRPr lang="de-DE" sz="1400" kern="0" cap="all" dirty="0">
                <a:solidFill>
                  <a:srgbClr val="FFFFFF"/>
                </a:solidFill>
                <a:latin typeface="+mj-lt"/>
                <a:sym typeface="Wingdings" pitchFamily="2" charset="2"/>
              </a:endParaRPr>
            </a:p>
          </p:txBody>
        </p:sp>
        <p:sp>
          <p:nvSpPr>
            <p:cNvPr id="96" name="Freeform 16">
              <a:extLst>
                <a:ext uri="{FF2B5EF4-FFF2-40B4-BE49-F238E27FC236}">
                  <a16:creationId xmlns:a16="http://schemas.microsoft.com/office/drawing/2014/main" id="{EEBC4528-A0AA-4737-AF24-8A8CC18A27FD}"/>
                </a:ext>
              </a:extLst>
            </p:cNvPr>
            <p:cNvSpPr>
              <a:spLocks/>
            </p:cNvSpPr>
            <p:nvPr/>
          </p:nvSpPr>
          <p:spPr bwMode="gray">
            <a:xfrm>
              <a:off x="953312" y="4655028"/>
              <a:ext cx="556887" cy="588244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231" y="413"/>
                </a:cxn>
                <a:cxn ang="0">
                  <a:pos x="137" y="281"/>
                </a:cxn>
                <a:cxn ang="0">
                  <a:pos x="0" y="281"/>
                </a:cxn>
                <a:cxn ang="0">
                  <a:pos x="241" y="619"/>
                </a:cxn>
                <a:cxn ang="0">
                  <a:pos x="286" y="543"/>
                </a:cxn>
                <a:cxn ang="0">
                  <a:pos x="586" y="0"/>
                </a:cxn>
                <a:cxn ang="0">
                  <a:pos x="458" y="0"/>
                </a:cxn>
                <a:cxn ang="0">
                  <a:pos x="458" y="0"/>
                </a:cxn>
                <a:cxn ang="0">
                  <a:pos x="458" y="0"/>
                </a:cxn>
              </a:cxnLst>
              <a:rect l="0" t="0" r="r" b="b"/>
              <a:pathLst>
                <a:path w="586" h="619">
                  <a:moveTo>
                    <a:pt x="458" y="0"/>
                  </a:moveTo>
                  <a:lnTo>
                    <a:pt x="231" y="413"/>
                  </a:lnTo>
                  <a:lnTo>
                    <a:pt x="137" y="281"/>
                  </a:lnTo>
                  <a:lnTo>
                    <a:pt x="0" y="281"/>
                  </a:lnTo>
                  <a:lnTo>
                    <a:pt x="241" y="619"/>
                  </a:lnTo>
                  <a:lnTo>
                    <a:pt x="286" y="543"/>
                  </a:lnTo>
                  <a:lnTo>
                    <a:pt x="586" y="0"/>
                  </a:lnTo>
                  <a:lnTo>
                    <a:pt x="458" y="0"/>
                  </a:lnTo>
                  <a:lnTo>
                    <a:pt x="458" y="0"/>
                  </a:lnTo>
                  <a:lnTo>
                    <a:pt x="458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5000"/>
                </a:lnSpc>
              </a:pPr>
              <a:endParaRPr lang="de-DE" sz="32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97" name="Gruppieren 52">
            <a:extLst>
              <a:ext uri="{FF2B5EF4-FFF2-40B4-BE49-F238E27FC236}">
                <a16:creationId xmlns:a16="http://schemas.microsoft.com/office/drawing/2014/main" id="{E1093C5D-9C63-443C-84A0-212C4D74C98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449721" y="5346787"/>
            <a:ext cx="263517" cy="263517"/>
            <a:chOff x="826257" y="4517149"/>
            <a:chExt cx="864000" cy="864000"/>
          </a:xfrm>
        </p:grpSpPr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3AE0898E-DE4E-4576-A4BA-5993494B624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26257" y="4517149"/>
              <a:ext cx="864000" cy="864000"/>
            </a:xfrm>
            <a:prstGeom prst="rect">
              <a:avLst/>
            </a:prstGeom>
            <a:solidFill>
              <a:srgbClr val="00B070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rtlCol="0" anchor="ctr" anchorCtr="0">
              <a:noAutofit/>
            </a:bodyPr>
            <a:lstStyle/>
            <a:p>
              <a:pPr algn="ctr" defTabSz="963613" eaLnBrk="0" hangingPunct="0">
                <a:tabLst>
                  <a:tab pos="1257300" algn="l"/>
                </a:tabLst>
              </a:pPr>
              <a:endParaRPr lang="de-DE" sz="1400" kern="0" cap="all" dirty="0">
                <a:solidFill>
                  <a:srgbClr val="FFFFFF"/>
                </a:solidFill>
                <a:latin typeface="+mj-lt"/>
                <a:sym typeface="Wingdings" pitchFamily="2" charset="2"/>
              </a:endParaRPr>
            </a:p>
          </p:txBody>
        </p:sp>
        <p:sp>
          <p:nvSpPr>
            <p:cNvPr id="99" name="Freeform 16">
              <a:extLst>
                <a:ext uri="{FF2B5EF4-FFF2-40B4-BE49-F238E27FC236}">
                  <a16:creationId xmlns:a16="http://schemas.microsoft.com/office/drawing/2014/main" id="{431AC2C5-9BC1-453A-8079-492F6F57F4CC}"/>
                </a:ext>
              </a:extLst>
            </p:cNvPr>
            <p:cNvSpPr>
              <a:spLocks/>
            </p:cNvSpPr>
            <p:nvPr/>
          </p:nvSpPr>
          <p:spPr bwMode="gray">
            <a:xfrm>
              <a:off x="953312" y="4655028"/>
              <a:ext cx="556887" cy="588244"/>
            </a:xfrm>
            <a:custGeom>
              <a:avLst/>
              <a:gdLst/>
              <a:ahLst/>
              <a:cxnLst>
                <a:cxn ang="0">
                  <a:pos x="458" y="0"/>
                </a:cxn>
                <a:cxn ang="0">
                  <a:pos x="231" y="413"/>
                </a:cxn>
                <a:cxn ang="0">
                  <a:pos x="137" y="281"/>
                </a:cxn>
                <a:cxn ang="0">
                  <a:pos x="0" y="281"/>
                </a:cxn>
                <a:cxn ang="0">
                  <a:pos x="241" y="619"/>
                </a:cxn>
                <a:cxn ang="0">
                  <a:pos x="286" y="543"/>
                </a:cxn>
                <a:cxn ang="0">
                  <a:pos x="586" y="0"/>
                </a:cxn>
                <a:cxn ang="0">
                  <a:pos x="458" y="0"/>
                </a:cxn>
                <a:cxn ang="0">
                  <a:pos x="458" y="0"/>
                </a:cxn>
                <a:cxn ang="0">
                  <a:pos x="458" y="0"/>
                </a:cxn>
              </a:cxnLst>
              <a:rect l="0" t="0" r="r" b="b"/>
              <a:pathLst>
                <a:path w="586" h="619">
                  <a:moveTo>
                    <a:pt x="458" y="0"/>
                  </a:moveTo>
                  <a:lnTo>
                    <a:pt x="231" y="413"/>
                  </a:lnTo>
                  <a:lnTo>
                    <a:pt x="137" y="281"/>
                  </a:lnTo>
                  <a:lnTo>
                    <a:pt x="0" y="281"/>
                  </a:lnTo>
                  <a:lnTo>
                    <a:pt x="241" y="619"/>
                  </a:lnTo>
                  <a:lnTo>
                    <a:pt x="286" y="543"/>
                  </a:lnTo>
                  <a:lnTo>
                    <a:pt x="586" y="0"/>
                  </a:lnTo>
                  <a:lnTo>
                    <a:pt x="458" y="0"/>
                  </a:lnTo>
                  <a:lnTo>
                    <a:pt x="458" y="0"/>
                  </a:lnTo>
                  <a:lnTo>
                    <a:pt x="458" y="0"/>
                  </a:lnTo>
                  <a:close/>
                </a:path>
              </a:pathLst>
            </a:custGeom>
            <a:noFill/>
            <a:ln w="63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85000"/>
                </a:lnSpc>
              </a:pPr>
              <a:endParaRPr lang="de-DE" sz="3200" b="1" dirty="0">
                <a:solidFill>
                  <a:schemeClr val="accent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BA801621-C2D3-4192-A3CF-D1A9F9527F82}"/>
              </a:ext>
            </a:extLst>
          </p:cNvPr>
          <p:cNvSpPr txBox="1">
            <a:spLocks/>
          </p:cNvSpPr>
          <p:nvPr/>
        </p:nvSpPr>
        <p:spPr bwMode="gray">
          <a:xfrm>
            <a:off x="480000" y="6049107"/>
            <a:ext cx="11232000" cy="3240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Die komplette Übersicht:      </a:t>
            </a:r>
            <a:r>
              <a:rPr lang="de-DE" sz="1800" dirty="0">
                <a:solidFill>
                  <a:schemeClr val="accent2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inflectra.com/SpiraTeam/ProductComparison.aspx</a:t>
            </a:r>
            <a:endParaRPr lang="de-DE" dirty="0">
              <a:solidFill>
                <a:schemeClr val="accent2"/>
              </a:solidFill>
            </a:endParaRPr>
          </a:p>
        </p:txBody>
      </p:sp>
      <p:sp>
        <p:nvSpPr>
          <p:cNvPr id="101" name="Graphic 541">
            <a:extLst>
              <a:ext uri="{FF2B5EF4-FFF2-40B4-BE49-F238E27FC236}">
                <a16:creationId xmlns:a16="http://schemas.microsoft.com/office/drawing/2014/main" id="{69386168-AE87-491C-A935-80074F08B657}"/>
              </a:ext>
            </a:extLst>
          </p:cNvPr>
          <p:cNvSpPr>
            <a:spLocks noChangeAspect="1"/>
          </p:cNvSpPr>
          <p:nvPr/>
        </p:nvSpPr>
        <p:spPr>
          <a:xfrm>
            <a:off x="2923852" y="6075285"/>
            <a:ext cx="233999" cy="234000"/>
          </a:xfrm>
          <a:custGeom>
            <a:avLst/>
            <a:gdLst>
              <a:gd name="connsiteX0" fmla="*/ 2868441 w 4876811"/>
              <a:gd name="connsiteY0" fmla="*/ 3759552 h 4876821"/>
              <a:gd name="connsiteX1" fmla="*/ 2114061 w 4876811"/>
              <a:gd name="connsiteY1" fmla="*/ 4513837 h 4876821"/>
              <a:gd name="connsiteX2" fmla="*/ 362985 w 4876811"/>
              <a:gd name="connsiteY2" fmla="*/ 4513837 h 4876821"/>
              <a:gd name="connsiteX3" fmla="*/ 362985 w 4876811"/>
              <a:gd name="connsiteY3" fmla="*/ 2762761 h 4876821"/>
              <a:gd name="connsiteX4" fmla="*/ 1117269 w 4876811"/>
              <a:gd name="connsiteY4" fmla="*/ 2008381 h 4876821"/>
              <a:gd name="connsiteX5" fmla="*/ 1150912 w 4876811"/>
              <a:gd name="connsiteY5" fmla="*/ 1975967 h 4876821"/>
              <a:gd name="connsiteX6" fmla="*/ 1343393 w 4876811"/>
              <a:gd name="connsiteY6" fmla="*/ 2054891 h 4876821"/>
              <a:gd name="connsiteX7" fmla="*/ 1354975 w 4876811"/>
              <a:gd name="connsiteY7" fmla="*/ 2191899 h 4876821"/>
              <a:gd name="connsiteX8" fmla="*/ 1322619 w 4876811"/>
              <a:gd name="connsiteY8" fmla="*/ 2288063 h 4876821"/>
              <a:gd name="connsiteX9" fmla="*/ 605386 w 4876811"/>
              <a:gd name="connsiteY9" fmla="*/ 3005163 h 4876821"/>
              <a:gd name="connsiteX10" fmla="*/ 605386 w 4876811"/>
              <a:gd name="connsiteY10" fmla="*/ 4271416 h 4876821"/>
              <a:gd name="connsiteX11" fmla="*/ 1871640 w 4876811"/>
              <a:gd name="connsiteY11" fmla="*/ 4271416 h 4876821"/>
              <a:gd name="connsiteX12" fmla="*/ 2626020 w 4876811"/>
              <a:gd name="connsiteY12" fmla="*/ 3517036 h 4876821"/>
              <a:gd name="connsiteX13" fmla="*/ 2629449 w 4876811"/>
              <a:gd name="connsiteY13" fmla="*/ 3513607 h 4876821"/>
              <a:gd name="connsiteX14" fmla="*/ 2625925 w 4876811"/>
              <a:gd name="connsiteY14" fmla="*/ 2250783 h 4876821"/>
              <a:gd name="connsiteX15" fmla="*/ 2363178 w 4876811"/>
              <a:gd name="connsiteY15" fmla="*/ 2068769 h 4876821"/>
              <a:gd name="connsiteX16" fmla="*/ 2295226 w 4876811"/>
              <a:gd name="connsiteY16" fmla="*/ 1957613 h 4876821"/>
              <a:gd name="connsiteX17" fmla="*/ 2322144 w 4876811"/>
              <a:gd name="connsiteY17" fmla="*/ 1812271 h 4876821"/>
              <a:gd name="connsiteX18" fmla="*/ 2473773 w 4876811"/>
              <a:gd name="connsiteY18" fmla="*/ 1742929 h 4876821"/>
              <a:gd name="connsiteX19" fmla="*/ 2868441 w 4876811"/>
              <a:gd name="connsiteY19" fmla="*/ 2008371 h 4876821"/>
              <a:gd name="connsiteX20" fmla="*/ 2868441 w 4876811"/>
              <a:gd name="connsiteY20" fmla="*/ 3759552 h 4876821"/>
              <a:gd name="connsiteX21" fmla="*/ 2008371 w 4876811"/>
              <a:gd name="connsiteY21" fmla="*/ 2868450 h 4876821"/>
              <a:gd name="connsiteX22" fmla="*/ 2403040 w 4876811"/>
              <a:gd name="connsiteY22" fmla="*/ 3133893 h 4876821"/>
              <a:gd name="connsiteX23" fmla="*/ 2554668 w 4876811"/>
              <a:gd name="connsiteY23" fmla="*/ 3064551 h 4876821"/>
              <a:gd name="connsiteX24" fmla="*/ 2581586 w 4876811"/>
              <a:gd name="connsiteY24" fmla="*/ 2919209 h 4876821"/>
              <a:gd name="connsiteX25" fmla="*/ 2513635 w 4876811"/>
              <a:gd name="connsiteY25" fmla="*/ 2808052 h 4876821"/>
              <a:gd name="connsiteX26" fmla="*/ 2250887 w 4876811"/>
              <a:gd name="connsiteY26" fmla="*/ 2626039 h 4876821"/>
              <a:gd name="connsiteX27" fmla="*/ 2247363 w 4876811"/>
              <a:gd name="connsiteY27" fmla="*/ 1363214 h 4876821"/>
              <a:gd name="connsiteX28" fmla="*/ 2250792 w 4876811"/>
              <a:gd name="connsiteY28" fmla="*/ 1359785 h 4876821"/>
              <a:gd name="connsiteX29" fmla="*/ 3005172 w 4876811"/>
              <a:gd name="connsiteY29" fmla="*/ 605405 h 4876821"/>
              <a:gd name="connsiteX30" fmla="*/ 4271426 w 4876811"/>
              <a:gd name="connsiteY30" fmla="*/ 605405 h 4876821"/>
              <a:gd name="connsiteX31" fmla="*/ 4271426 w 4876811"/>
              <a:gd name="connsiteY31" fmla="*/ 1871659 h 4876821"/>
              <a:gd name="connsiteX32" fmla="*/ 3554193 w 4876811"/>
              <a:gd name="connsiteY32" fmla="*/ 2588758 h 4876821"/>
              <a:gd name="connsiteX33" fmla="*/ 3521837 w 4876811"/>
              <a:gd name="connsiteY33" fmla="*/ 2684923 h 4876821"/>
              <a:gd name="connsiteX34" fmla="*/ 3533419 w 4876811"/>
              <a:gd name="connsiteY34" fmla="*/ 2821930 h 4876821"/>
              <a:gd name="connsiteX35" fmla="*/ 3725900 w 4876811"/>
              <a:gd name="connsiteY35" fmla="*/ 2900854 h 4876821"/>
              <a:gd name="connsiteX36" fmla="*/ 3759543 w 4876811"/>
              <a:gd name="connsiteY36" fmla="*/ 2868441 h 4876821"/>
              <a:gd name="connsiteX37" fmla="*/ 4513827 w 4876811"/>
              <a:gd name="connsiteY37" fmla="*/ 2114061 h 4876821"/>
              <a:gd name="connsiteX38" fmla="*/ 4513827 w 4876811"/>
              <a:gd name="connsiteY38" fmla="*/ 362985 h 4876821"/>
              <a:gd name="connsiteX39" fmla="*/ 2762751 w 4876811"/>
              <a:gd name="connsiteY39" fmla="*/ 362985 h 4876821"/>
              <a:gd name="connsiteX40" fmla="*/ 2008371 w 4876811"/>
              <a:gd name="connsiteY40" fmla="*/ 1117269 h 4876821"/>
              <a:gd name="connsiteX41" fmla="*/ 2008371 w 4876811"/>
              <a:gd name="connsiteY41" fmla="*/ 2868450 h 4876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4876811" h="4876821">
                <a:moveTo>
                  <a:pt x="2868441" y="3759552"/>
                </a:moveTo>
                <a:lnTo>
                  <a:pt x="2114061" y="4513837"/>
                </a:lnTo>
                <a:cubicBezTo>
                  <a:pt x="1630400" y="4997697"/>
                  <a:pt x="846883" y="4997936"/>
                  <a:pt x="362985" y="4513837"/>
                </a:cubicBezTo>
                <a:cubicBezTo>
                  <a:pt x="-120876" y="4030177"/>
                  <a:pt x="-121114" y="3246660"/>
                  <a:pt x="362985" y="2762761"/>
                </a:cubicBezTo>
                <a:lnTo>
                  <a:pt x="1117269" y="2008381"/>
                </a:lnTo>
                <a:cubicBezTo>
                  <a:pt x="1128283" y="1997370"/>
                  <a:pt x="1139499" y="1986564"/>
                  <a:pt x="1150912" y="1975967"/>
                </a:cubicBezTo>
                <a:cubicBezTo>
                  <a:pt x="1222826" y="1909245"/>
                  <a:pt x="1339459" y="1956879"/>
                  <a:pt x="1343393" y="2054891"/>
                </a:cubicBezTo>
                <a:cubicBezTo>
                  <a:pt x="1345231" y="2100678"/>
                  <a:pt x="1349089" y="2146398"/>
                  <a:pt x="1354975" y="2191899"/>
                </a:cubicBezTo>
                <a:cubicBezTo>
                  <a:pt x="1359557" y="2227303"/>
                  <a:pt x="1347870" y="2262832"/>
                  <a:pt x="1322619" y="2288063"/>
                </a:cubicBezTo>
                <a:cubicBezTo>
                  <a:pt x="1165647" y="2444931"/>
                  <a:pt x="606891" y="3003658"/>
                  <a:pt x="605386" y="3005163"/>
                </a:cubicBezTo>
                <a:cubicBezTo>
                  <a:pt x="255457" y="3355292"/>
                  <a:pt x="255524" y="3921353"/>
                  <a:pt x="605386" y="4271416"/>
                </a:cubicBezTo>
                <a:cubicBezTo>
                  <a:pt x="955516" y="4621346"/>
                  <a:pt x="1521577" y="4621279"/>
                  <a:pt x="1871640" y="4271416"/>
                </a:cubicBezTo>
                <a:lnTo>
                  <a:pt x="2626020" y="3517036"/>
                </a:lnTo>
                <a:lnTo>
                  <a:pt x="2629449" y="3513607"/>
                </a:lnTo>
                <a:cubicBezTo>
                  <a:pt x="2975216" y="3164306"/>
                  <a:pt x="2973682" y="2598540"/>
                  <a:pt x="2625925" y="2250783"/>
                </a:cubicBezTo>
                <a:cubicBezTo>
                  <a:pt x="2547686" y="2172544"/>
                  <a:pt x="2458504" y="2111908"/>
                  <a:pt x="2363178" y="2068769"/>
                </a:cubicBezTo>
                <a:cubicBezTo>
                  <a:pt x="2319686" y="2049091"/>
                  <a:pt x="2292445" y="2005266"/>
                  <a:pt x="2295226" y="1957613"/>
                </a:cubicBezTo>
                <a:cubicBezTo>
                  <a:pt x="2298096" y="1908231"/>
                  <a:pt x="2307139" y="1859404"/>
                  <a:pt x="2322144" y="1812271"/>
                </a:cubicBezTo>
                <a:cubicBezTo>
                  <a:pt x="2342175" y="1749396"/>
                  <a:pt x="2412927" y="1717392"/>
                  <a:pt x="2473773" y="1742929"/>
                </a:cubicBezTo>
                <a:cubicBezTo>
                  <a:pt x="2617343" y="1803165"/>
                  <a:pt x="2751779" y="1891709"/>
                  <a:pt x="2868441" y="2008371"/>
                </a:cubicBezTo>
                <a:cubicBezTo>
                  <a:pt x="3351244" y="2491184"/>
                  <a:pt x="3351158" y="3276816"/>
                  <a:pt x="2868441" y="3759552"/>
                </a:cubicBezTo>
                <a:close/>
                <a:moveTo>
                  <a:pt x="2008371" y="2868450"/>
                </a:moveTo>
                <a:cubicBezTo>
                  <a:pt x="2125034" y="2985112"/>
                  <a:pt x="2259469" y="3073657"/>
                  <a:pt x="2403040" y="3133893"/>
                </a:cubicBezTo>
                <a:cubicBezTo>
                  <a:pt x="2463885" y="3159420"/>
                  <a:pt x="2534637" y="3127416"/>
                  <a:pt x="2554668" y="3064551"/>
                </a:cubicBezTo>
                <a:cubicBezTo>
                  <a:pt x="2569673" y="3017417"/>
                  <a:pt x="2578716" y="2968590"/>
                  <a:pt x="2581586" y="2919209"/>
                </a:cubicBezTo>
                <a:cubicBezTo>
                  <a:pt x="2584367" y="2871555"/>
                  <a:pt x="2557116" y="2827731"/>
                  <a:pt x="2513635" y="2808052"/>
                </a:cubicBezTo>
                <a:cubicBezTo>
                  <a:pt x="2418308" y="2764923"/>
                  <a:pt x="2329126" y="2704287"/>
                  <a:pt x="2250887" y="2626039"/>
                </a:cubicBezTo>
                <a:cubicBezTo>
                  <a:pt x="1903130" y="2278281"/>
                  <a:pt x="1901596" y="1712515"/>
                  <a:pt x="2247363" y="1363214"/>
                </a:cubicBezTo>
                <a:lnTo>
                  <a:pt x="2250792" y="1359785"/>
                </a:lnTo>
                <a:lnTo>
                  <a:pt x="3005172" y="605405"/>
                </a:lnTo>
                <a:cubicBezTo>
                  <a:pt x="3355235" y="255543"/>
                  <a:pt x="3921296" y="255476"/>
                  <a:pt x="4271426" y="605405"/>
                </a:cubicBezTo>
                <a:cubicBezTo>
                  <a:pt x="4621289" y="955468"/>
                  <a:pt x="4621355" y="1521530"/>
                  <a:pt x="4271426" y="1871659"/>
                </a:cubicBezTo>
                <a:cubicBezTo>
                  <a:pt x="4269930" y="1873154"/>
                  <a:pt x="3711175" y="2431891"/>
                  <a:pt x="3554193" y="2588758"/>
                </a:cubicBezTo>
                <a:cubicBezTo>
                  <a:pt x="3528942" y="2613999"/>
                  <a:pt x="3517255" y="2649518"/>
                  <a:pt x="3521837" y="2684923"/>
                </a:cubicBezTo>
                <a:cubicBezTo>
                  <a:pt x="3527717" y="2730399"/>
                  <a:pt x="3531582" y="2776112"/>
                  <a:pt x="3533419" y="2821930"/>
                </a:cubicBezTo>
                <a:cubicBezTo>
                  <a:pt x="3537353" y="2919952"/>
                  <a:pt x="3653996" y="2967577"/>
                  <a:pt x="3725900" y="2900854"/>
                </a:cubicBezTo>
                <a:cubicBezTo>
                  <a:pt x="3737315" y="2890260"/>
                  <a:pt x="3748531" y="2879454"/>
                  <a:pt x="3759543" y="2868441"/>
                </a:cubicBezTo>
                <a:lnTo>
                  <a:pt x="4513827" y="2114061"/>
                </a:lnTo>
                <a:cubicBezTo>
                  <a:pt x="4997926" y="1630162"/>
                  <a:pt x="4997688" y="846645"/>
                  <a:pt x="4513827" y="362985"/>
                </a:cubicBezTo>
                <a:cubicBezTo>
                  <a:pt x="4029938" y="-121114"/>
                  <a:pt x="3246412" y="-120876"/>
                  <a:pt x="2762751" y="362985"/>
                </a:cubicBezTo>
                <a:lnTo>
                  <a:pt x="2008371" y="1117269"/>
                </a:lnTo>
                <a:cubicBezTo>
                  <a:pt x="1525654" y="1600016"/>
                  <a:pt x="1525568" y="2385647"/>
                  <a:pt x="2008371" y="2868450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711329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E2D495-47B6-4E90-9428-F3C5929B5D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6027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E2D495-47B6-4E90-9428-F3C5929B5D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66">
            <a:extLst>
              <a:ext uri="{FF2B5EF4-FFF2-40B4-BE49-F238E27FC236}">
                <a16:creationId xmlns:a16="http://schemas.microsoft.com/office/drawing/2014/main" id="{7CCB4B2B-24AD-48F0-850D-45EC67CB311C}"/>
              </a:ext>
            </a:extLst>
          </p:cNvPr>
          <p:cNvCxnSpPr>
            <a:cxnSpLocks/>
          </p:cNvCxnSpPr>
          <p:nvPr/>
        </p:nvCxnSpPr>
        <p:spPr>
          <a:xfrm>
            <a:off x="3743325" y="2769703"/>
            <a:ext cx="2173288" cy="0"/>
          </a:xfrm>
          <a:prstGeom prst="line">
            <a:avLst/>
          </a:prstGeom>
          <a:ln>
            <a:gradFill>
              <a:gsLst>
                <a:gs pos="100000">
                  <a:schemeClr val="accent1"/>
                </a:gs>
                <a:gs pos="0">
                  <a:schemeClr val="accent3"/>
                </a:gs>
              </a:gsLst>
              <a:lin ang="5400000" scaled="0"/>
            </a:gra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66">
            <a:extLst>
              <a:ext uri="{FF2B5EF4-FFF2-40B4-BE49-F238E27FC236}">
                <a16:creationId xmlns:a16="http://schemas.microsoft.com/office/drawing/2014/main" id="{DC082502-F02C-4569-BCFE-FCA2E596EFFC}"/>
              </a:ext>
            </a:extLst>
          </p:cNvPr>
          <p:cNvCxnSpPr>
            <a:cxnSpLocks/>
          </p:cNvCxnSpPr>
          <p:nvPr/>
        </p:nvCxnSpPr>
        <p:spPr>
          <a:xfrm>
            <a:off x="4486275" y="4217503"/>
            <a:ext cx="1430338" cy="0"/>
          </a:xfrm>
          <a:prstGeom prst="line">
            <a:avLst/>
          </a:prstGeom>
          <a:ln>
            <a:gradFill>
              <a:gsLst>
                <a:gs pos="100000">
                  <a:schemeClr val="accent1"/>
                </a:gs>
                <a:gs pos="0">
                  <a:schemeClr val="accent3"/>
                </a:gs>
              </a:gsLst>
              <a:lin ang="5400000" scaled="0"/>
            </a:gra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66">
            <a:extLst>
              <a:ext uri="{FF2B5EF4-FFF2-40B4-BE49-F238E27FC236}">
                <a16:creationId xmlns:a16="http://schemas.microsoft.com/office/drawing/2014/main" id="{361FD2CB-7CDB-46A0-9DE0-E46DFB28C518}"/>
              </a:ext>
            </a:extLst>
          </p:cNvPr>
          <p:cNvCxnSpPr>
            <a:cxnSpLocks/>
          </p:cNvCxnSpPr>
          <p:nvPr/>
        </p:nvCxnSpPr>
        <p:spPr>
          <a:xfrm>
            <a:off x="3395663" y="5448326"/>
            <a:ext cx="2520950" cy="0"/>
          </a:xfrm>
          <a:prstGeom prst="line">
            <a:avLst/>
          </a:prstGeom>
          <a:ln>
            <a:gradFill>
              <a:gsLst>
                <a:gs pos="100000">
                  <a:schemeClr val="accent1"/>
                </a:gs>
                <a:gs pos="0">
                  <a:schemeClr val="accent3"/>
                </a:gs>
              </a:gsLst>
              <a:lin ang="5400000" scaled="0"/>
            </a:gra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66">
            <a:extLst>
              <a:ext uri="{FF2B5EF4-FFF2-40B4-BE49-F238E27FC236}">
                <a16:creationId xmlns:a16="http://schemas.microsoft.com/office/drawing/2014/main" id="{435490B7-3B05-40C7-93C5-A7CF6DF75A44}"/>
              </a:ext>
            </a:extLst>
          </p:cNvPr>
          <p:cNvCxnSpPr>
            <a:cxnSpLocks/>
          </p:cNvCxnSpPr>
          <p:nvPr/>
        </p:nvCxnSpPr>
        <p:spPr>
          <a:xfrm>
            <a:off x="480000" y="2769703"/>
            <a:ext cx="2173288" cy="0"/>
          </a:xfrm>
          <a:prstGeom prst="line">
            <a:avLst/>
          </a:prstGeom>
          <a:ln>
            <a:gradFill>
              <a:gsLst>
                <a:gs pos="100000">
                  <a:schemeClr val="accent1"/>
                </a:gs>
                <a:gs pos="0">
                  <a:schemeClr val="accent3"/>
                </a:gs>
              </a:gsLst>
              <a:lin ang="5400000" scaled="0"/>
            </a:gra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66">
            <a:extLst>
              <a:ext uri="{FF2B5EF4-FFF2-40B4-BE49-F238E27FC236}">
                <a16:creationId xmlns:a16="http://schemas.microsoft.com/office/drawing/2014/main" id="{25DFE8CD-5161-4BE0-8544-8ACF2166FAE0}"/>
              </a:ext>
            </a:extLst>
          </p:cNvPr>
          <p:cNvCxnSpPr>
            <a:cxnSpLocks/>
          </p:cNvCxnSpPr>
          <p:nvPr/>
        </p:nvCxnSpPr>
        <p:spPr>
          <a:xfrm>
            <a:off x="480000" y="4217503"/>
            <a:ext cx="1430338" cy="0"/>
          </a:xfrm>
          <a:prstGeom prst="line">
            <a:avLst/>
          </a:prstGeom>
          <a:ln>
            <a:gradFill>
              <a:gsLst>
                <a:gs pos="100000">
                  <a:schemeClr val="accent1"/>
                </a:gs>
                <a:gs pos="0">
                  <a:schemeClr val="accent3"/>
                </a:gs>
              </a:gsLst>
              <a:lin ang="5400000" scaled="0"/>
            </a:gra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66">
            <a:extLst>
              <a:ext uri="{FF2B5EF4-FFF2-40B4-BE49-F238E27FC236}">
                <a16:creationId xmlns:a16="http://schemas.microsoft.com/office/drawing/2014/main" id="{72829E9F-B5B8-4B56-91D0-60A9F8AACC20}"/>
              </a:ext>
            </a:extLst>
          </p:cNvPr>
          <p:cNvCxnSpPr>
            <a:cxnSpLocks/>
          </p:cNvCxnSpPr>
          <p:nvPr/>
        </p:nvCxnSpPr>
        <p:spPr>
          <a:xfrm>
            <a:off x="480000" y="5448326"/>
            <a:ext cx="2520950" cy="0"/>
          </a:xfrm>
          <a:prstGeom prst="line">
            <a:avLst/>
          </a:prstGeom>
          <a:ln>
            <a:gradFill>
              <a:gsLst>
                <a:gs pos="100000">
                  <a:schemeClr val="accent1"/>
                </a:gs>
                <a:gs pos="0">
                  <a:schemeClr val="accent3"/>
                </a:gs>
              </a:gsLst>
              <a:lin ang="5400000" scaled="0"/>
            </a:gra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97E29E2-7E98-4C99-90AA-241235C586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01" y="849054"/>
            <a:ext cx="11231473" cy="467820"/>
          </a:xfrm>
        </p:spPr>
        <p:txBody>
          <a:bodyPr vert="horz"/>
          <a:lstStyle/>
          <a:p>
            <a:r>
              <a:rPr lang="de-DE" dirty="0"/>
              <a:t>ALM – Application </a:t>
            </a:r>
            <a:r>
              <a:rPr lang="de-DE"/>
              <a:t>Lifecycle Management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0E7B4B5-E60E-4C7D-B88A-C353B4EED41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noProof="0" dirty="0">
                <a:solidFill>
                  <a:schemeClr val="accent4"/>
                </a:solidFill>
              </a:rPr>
              <a:t>PTA – Vorstellung </a:t>
            </a:r>
            <a:r>
              <a:rPr lang="de-DE" noProof="0" dirty="0" err="1">
                <a:solidFill>
                  <a:schemeClr val="accent4"/>
                </a:solidFill>
              </a:rPr>
              <a:t>Inflectra</a:t>
            </a:r>
            <a:endParaRPr lang="de-DE" noProof="0" dirty="0">
              <a:solidFill>
                <a:schemeClr val="accent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98D16D-0D62-49D6-A2C6-8C230B76E94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F58692B-9CFC-42D8-9B64-0B547ADAD28E}" type="slidenum">
              <a:rPr lang="de-DE" noProof="0" smtClean="0"/>
              <a:pPr/>
              <a:t>9</a:t>
            </a:fld>
            <a:endParaRPr lang="de-DE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8316DF-9856-4AF6-9D33-406D66B007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0000" y="1664804"/>
            <a:ext cx="11232000" cy="297346"/>
          </a:xfrm>
        </p:spPr>
        <p:txBody>
          <a:bodyPr/>
          <a:lstStyle/>
          <a:p>
            <a:r>
              <a:rPr lang="de-DE" dirty="0"/>
              <a:t>Funktionaler Umfang von SpiraTeam und SpiraPlan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AE417CE-B281-493D-85D0-74C21D87460E}"/>
              </a:ext>
            </a:extLst>
          </p:cNvPr>
          <p:cNvSpPr txBox="1">
            <a:spLocks/>
          </p:cNvSpPr>
          <p:nvPr/>
        </p:nvSpPr>
        <p:spPr bwMode="gray">
          <a:xfrm>
            <a:off x="6274760" y="2063525"/>
            <a:ext cx="5436614" cy="39454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b="1" dirty="0">
                <a:latin typeface="Segoe UI" panose="020B0502040204020203" pitchFamily="34" charset="0"/>
                <a:cs typeface="Segoe UI" panose="020B0502040204020203" pitchFamily="34" charset="0"/>
              </a:rPr>
              <a:t>Kontrolle, Planung und Steuerung</a:t>
            </a:r>
            <a:r>
              <a:rPr lang="de-DE" dirty="0"/>
              <a:t> eines oder mehrerer Projekte von der Anforderungsdefinition bis hin zum fertigen Produkt.</a:t>
            </a:r>
          </a:p>
          <a:p>
            <a:pPr lvl="2"/>
            <a:r>
              <a:rPr lang="de-DE" dirty="0"/>
              <a:t>Ermöglicht das Management von</a:t>
            </a:r>
          </a:p>
          <a:p>
            <a:pPr lvl="3"/>
            <a:r>
              <a:rPr lang="de-DE" sz="1800" dirty="0"/>
              <a:t>Anforderungen</a:t>
            </a:r>
          </a:p>
          <a:p>
            <a:pPr lvl="3"/>
            <a:r>
              <a:rPr lang="de-DE" sz="1800" dirty="0"/>
              <a:t>Aufgaben </a:t>
            </a:r>
          </a:p>
          <a:p>
            <a:pPr lvl="3"/>
            <a:r>
              <a:rPr lang="de-DE" sz="1800" dirty="0"/>
              <a:t>Releases</a:t>
            </a:r>
          </a:p>
          <a:p>
            <a:pPr lvl="3"/>
            <a:r>
              <a:rPr lang="de-DE" sz="1800" dirty="0"/>
              <a:t>Testfällen und Testreihen sowie</a:t>
            </a:r>
          </a:p>
          <a:p>
            <a:pPr lvl="3"/>
            <a:r>
              <a:rPr lang="de-DE" sz="1800" dirty="0"/>
              <a:t>Vorfällen (Incidents, Fehler, Defects)	</a:t>
            </a:r>
          </a:p>
        </p:txBody>
      </p:sp>
      <p:grpSp>
        <p:nvGrpSpPr>
          <p:cNvPr id="14" name="Group 3">
            <a:extLst>
              <a:ext uri="{FF2B5EF4-FFF2-40B4-BE49-F238E27FC236}">
                <a16:creationId xmlns:a16="http://schemas.microsoft.com/office/drawing/2014/main" id="{E51176FB-8207-474C-9DDD-02CF8948EE8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715196" y="2555097"/>
            <a:ext cx="2966222" cy="2962275"/>
            <a:chOff x="1713" y="994"/>
            <a:chExt cx="2334" cy="2331"/>
          </a:xfrm>
          <a:solidFill>
            <a:schemeClr val="tx2"/>
          </a:solidFill>
        </p:grpSpPr>
        <p:sp>
          <p:nvSpPr>
            <p:cNvPr id="15" name="Freeform 4">
              <a:extLst>
                <a:ext uri="{FF2B5EF4-FFF2-40B4-BE49-F238E27FC236}">
                  <a16:creationId xmlns:a16="http://schemas.microsoft.com/office/drawing/2014/main" id="{64A1999E-49D1-42F8-AAB0-41BF821EBD4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548" y="1618"/>
              <a:ext cx="499" cy="1088"/>
            </a:xfrm>
            <a:custGeom>
              <a:avLst/>
              <a:gdLst>
                <a:gd name="T0" fmla="*/ 0 w 211"/>
                <a:gd name="T1" fmla="*/ 90 h 461"/>
                <a:gd name="T2" fmla="*/ 32 w 211"/>
                <a:gd name="T3" fmla="*/ 230 h 461"/>
                <a:gd name="T4" fmla="*/ 1 w 211"/>
                <a:gd name="T5" fmla="*/ 367 h 461"/>
                <a:gd name="T6" fmla="*/ 47 w 211"/>
                <a:gd name="T7" fmla="*/ 461 h 461"/>
                <a:gd name="T8" fmla="*/ 158 w 211"/>
                <a:gd name="T9" fmla="*/ 453 h 461"/>
                <a:gd name="T10" fmla="*/ 211 w 211"/>
                <a:gd name="T11" fmla="*/ 229 h 461"/>
                <a:gd name="T12" fmla="*/ 154 w 211"/>
                <a:gd name="T13" fmla="*/ 0 h 461"/>
                <a:gd name="T14" fmla="*/ 106 w 211"/>
                <a:gd name="T15" fmla="*/ 98 h 461"/>
                <a:gd name="T16" fmla="*/ 0 w 211"/>
                <a:gd name="T17" fmla="*/ 90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1" h="461">
                  <a:moveTo>
                    <a:pt x="0" y="90"/>
                  </a:moveTo>
                  <a:cubicBezTo>
                    <a:pt x="20" y="132"/>
                    <a:pt x="32" y="180"/>
                    <a:pt x="32" y="230"/>
                  </a:cubicBezTo>
                  <a:cubicBezTo>
                    <a:pt x="32" y="279"/>
                    <a:pt x="21" y="325"/>
                    <a:pt x="1" y="367"/>
                  </a:cubicBezTo>
                  <a:cubicBezTo>
                    <a:pt x="47" y="461"/>
                    <a:pt x="47" y="461"/>
                    <a:pt x="47" y="461"/>
                  </a:cubicBezTo>
                  <a:cubicBezTo>
                    <a:pt x="158" y="453"/>
                    <a:pt x="158" y="453"/>
                    <a:pt x="158" y="453"/>
                  </a:cubicBezTo>
                  <a:cubicBezTo>
                    <a:pt x="192" y="386"/>
                    <a:pt x="211" y="310"/>
                    <a:pt x="211" y="229"/>
                  </a:cubicBezTo>
                  <a:cubicBezTo>
                    <a:pt x="211" y="146"/>
                    <a:pt x="190" y="68"/>
                    <a:pt x="154" y="0"/>
                  </a:cubicBezTo>
                  <a:cubicBezTo>
                    <a:pt x="106" y="98"/>
                    <a:pt x="106" y="98"/>
                    <a:pt x="106" y="98"/>
                  </a:cubicBezTo>
                  <a:lnTo>
                    <a:pt x="0" y="9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dirty="0">
                <a:solidFill>
                  <a:schemeClr val="tx2"/>
                </a:solidFill>
              </a:endParaRPr>
            </a:p>
          </p:txBody>
        </p:sp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2520AC28-F49D-41B0-9C5B-43D84590EF0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900" y="2555"/>
              <a:ext cx="935" cy="770"/>
            </a:xfrm>
            <a:custGeom>
              <a:avLst/>
              <a:gdLst>
                <a:gd name="T0" fmla="*/ 392 w 396"/>
                <a:gd name="T1" fmla="*/ 147 h 326"/>
                <a:gd name="T2" fmla="*/ 153 w 396"/>
                <a:gd name="T3" fmla="*/ 7 h 326"/>
                <a:gd name="T4" fmla="*/ 48 w 396"/>
                <a:gd name="T5" fmla="*/ 0 h 326"/>
                <a:gd name="T6" fmla="*/ 0 w 396"/>
                <a:gd name="T7" fmla="*/ 100 h 326"/>
                <a:gd name="T8" fmla="*/ 396 w 396"/>
                <a:gd name="T9" fmla="*/ 326 h 326"/>
                <a:gd name="T10" fmla="*/ 333 w 396"/>
                <a:gd name="T11" fmla="*/ 233 h 326"/>
                <a:gd name="T12" fmla="*/ 392 w 396"/>
                <a:gd name="T13" fmla="*/ 147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6" h="326">
                  <a:moveTo>
                    <a:pt x="392" y="147"/>
                  </a:moveTo>
                  <a:cubicBezTo>
                    <a:pt x="292" y="140"/>
                    <a:pt x="205" y="86"/>
                    <a:pt x="153" y="7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84" y="232"/>
                    <a:pt x="230" y="320"/>
                    <a:pt x="396" y="326"/>
                  </a:cubicBezTo>
                  <a:cubicBezTo>
                    <a:pt x="333" y="233"/>
                    <a:pt x="333" y="233"/>
                    <a:pt x="333" y="233"/>
                  </a:cubicBezTo>
                  <a:lnTo>
                    <a:pt x="392" y="14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dirty="0">
                <a:solidFill>
                  <a:schemeClr val="tx2"/>
                </a:solidFill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8069D81-D8D7-4845-A78E-C6CF983392A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13" y="1606"/>
              <a:ext cx="499" cy="1095"/>
            </a:xfrm>
            <a:custGeom>
              <a:avLst/>
              <a:gdLst>
                <a:gd name="T0" fmla="*/ 210 w 211"/>
                <a:gd name="T1" fmla="*/ 371 h 464"/>
                <a:gd name="T2" fmla="*/ 179 w 211"/>
                <a:gd name="T3" fmla="*/ 235 h 464"/>
                <a:gd name="T4" fmla="*/ 211 w 211"/>
                <a:gd name="T5" fmla="*/ 96 h 464"/>
                <a:gd name="T6" fmla="*/ 165 w 211"/>
                <a:gd name="T7" fmla="*/ 0 h 464"/>
                <a:gd name="T8" fmla="*/ 55 w 211"/>
                <a:gd name="T9" fmla="*/ 8 h 464"/>
                <a:gd name="T10" fmla="*/ 0 w 211"/>
                <a:gd name="T11" fmla="*/ 236 h 464"/>
                <a:gd name="T12" fmla="*/ 56 w 211"/>
                <a:gd name="T13" fmla="*/ 464 h 464"/>
                <a:gd name="T14" fmla="*/ 105 w 211"/>
                <a:gd name="T15" fmla="*/ 363 h 464"/>
                <a:gd name="T16" fmla="*/ 210 w 211"/>
                <a:gd name="T17" fmla="*/ 371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1" h="464">
                  <a:moveTo>
                    <a:pt x="210" y="371"/>
                  </a:moveTo>
                  <a:cubicBezTo>
                    <a:pt x="190" y="330"/>
                    <a:pt x="179" y="284"/>
                    <a:pt x="179" y="235"/>
                  </a:cubicBezTo>
                  <a:cubicBezTo>
                    <a:pt x="179" y="185"/>
                    <a:pt x="191" y="138"/>
                    <a:pt x="211" y="96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20" y="76"/>
                    <a:pt x="0" y="154"/>
                    <a:pt x="0" y="236"/>
                  </a:cubicBezTo>
                  <a:cubicBezTo>
                    <a:pt x="0" y="318"/>
                    <a:pt x="21" y="396"/>
                    <a:pt x="56" y="464"/>
                  </a:cubicBezTo>
                  <a:cubicBezTo>
                    <a:pt x="105" y="363"/>
                    <a:pt x="105" y="363"/>
                    <a:pt x="105" y="363"/>
                  </a:cubicBezTo>
                  <a:lnTo>
                    <a:pt x="210" y="37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dirty="0">
                <a:solidFill>
                  <a:schemeClr val="tx2"/>
                </a:solidFill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13113A07-AD79-40EB-80E9-3CDC73E3FA3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98" y="996"/>
              <a:ext cx="1072" cy="744"/>
            </a:xfrm>
            <a:custGeom>
              <a:avLst/>
              <a:gdLst>
                <a:gd name="T0" fmla="*/ 156 w 454"/>
                <a:gd name="T1" fmla="*/ 315 h 315"/>
                <a:gd name="T2" fmla="*/ 393 w 454"/>
                <a:gd name="T3" fmla="*/ 179 h 315"/>
                <a:gd name="T4" fmla="*/ 454 w 454"/>
                <a:gd name="T5" fmla="*/ 89 h 315"/>
                <a:gd name="T6" fmla="*/ 393 w 454"/>
                <a:gd name="T7" fmla="*/ 0 h 315"/>
                <a:gd name="T8" fmla="*/ 0 w 454"/>
                <a:gd name="T9" fmla="*/ 227 h 315"/>
                <a:gd name="T10" fmla="*/ 109 w 454"/>
                <a:gd name="T11" fmla="*/ 219 h 315"/>
                <a:gd name="T12" fmla="*/ 156 w 454"/>
                <a:gd name="T13" fmla="*/ 315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4" h="315">
                  <a:moveTo>
                    <a:pt x="156" y="315"/>
                  </a:moveTo>
                  <a:cubicBezTo>
                    <a:pt x="208" y="238"/>
                    <a:pt x="294" y="186"/>
                    <a:pt x="393" y="179"/>
                  </a:cubicBezTo>
                  <a:cubicBezTo>
                    <a:pt x="454" y="89"/>
                    <a:pt x="454" y="89"/>
                    <a:pt x="454" y="89"/>
                  </a:cubicBezTo>
                  <a:cubicBezTo>
                    <a:pt x="393" y="0"/>
                    <a:pt x="393" y="0"/>
                    <a:pt x="393" y="0"/>
                  </a:cubicBezTo>
                  <a:cubicBezTo>
                    <a:pt x="228" y="7"/>
                    <a:pt x="84" y="96"/>
                    <a:pt x="0" y="227"/>
                  </a:cubicBezTo>
                  <a:cubicBezTo>
                    <a:pt x="109" y="219"/>
                    <a:pt x="109" y="219"/>
                    <a:pt x="109" y="219"/>
                  </a:cubicBezTo>
                  <a:lnTo>
                    <a:pt x="156" y="31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dirty="0">
                <a:solidFill>
                  <a:schemeClr val="tx2"/>
                </a:solidFill>
              </a:endParaRPr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ADB92230-B8EC-4309-A17B-BAD25704002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93" y="2576"/>
              <a:ext cx="1077" cy="749"/>
            </a:xfrm>
            <a:custGeom>
              <a:avLst/>
              <a:gdLst>
                <a:gd name="T0" fmla="*/ 299 w 456"/>
                <a:gd name="T1" fmla="*/ 0 h 317"/>
                <a:gd name="T2" fmla="*/ 58 w 456"/>
                <a:gd name="T3" fmla="*/ 138 h 317"/>
                <a:gd name="T4" fmla="*/ 0 w 456"/>
                <a:gd name="T5" fmla="*/ 224 h 317"/>
                <a:gd name="T6" fmla="*/ 63 w 456"/>
                <a:gd name="T7" fmla="*/ 317 h 317"/>
                <a:gd name="T8" fmla="*/ 456 w 456"/>
                <a:gd name="T9" fmla="*/ 86 h 317"/>
                <a:gd name="T10" fmla="*/ 344 w 456"/>
                <a:gd name="T11" fmla="*/ 94 h 317"/>
                <a:gd name="T12" fmla="*/ 299 w 456"/>
                <a:gd name="T13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6" h="317">
                  <a:moveTo>
                    <a:pt x="299" y="0"/>
                  </a:moveTo>
                  <a:cubicBezTo>
                    <a:pt x="246" y="78"/>
                    <a:pt x="158" y="132"/>
                    <a:pt x="58" y="138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63" y="317"/>
                    <a:pt x="63" y="317"/>
                    <a:pt x="63" y="317"/>
                  </a:cubicBezTo>
                  <a:cubicBezTo>
                    <a:pt x="229" y="309"/>
                    <a:pt x="373" y="218"/>
                    <a:pt x="456" y="86"/>
                  </a:cubicBezTo>
                  <a:cubicBezTo>
                    <a:pt x="344" y="94"/>
                    <a:pt x="344" y="94"/>
                    <a:pt x="344" y="94"/>
                  </a:cubicBezTo>
                  <a:lnTo>
                    <a:pt x="299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dirty="0">
                <a:solidFill>
                  <a:schemeClr val="tx2"/>
                </a:solidFill>
              </a:endParaRPr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C920657A-E958-4971-92BF-F4AD44D51AE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930" y="994"/>
              <a:ext cx="930" cy="763"/>
            </a:xfrm>
            <a:custGeom>
              <a:avLst/>
              <a:gdLst>
                <a:gd name="T0" fmla="*/ 0 w 394"/>
                <a:gd name="T1" fmla="*/ 180 h 323"/>
                <a:gd name="T2" fmla="*/ 239 w 394"/>
                <a:gd name="T3" fmla="*/ 316 h 323"/>
                <a:gd name="T4" fmla="*/ 346 w 394"/>
                <a:gd name="T5" fmla="*/ 323 h 323"/>
                <a:gd name="T6" fmla="*/ 394 w 394"/>
                <a:gd name="T7" fmla="*/ 225 h 323"/>
                <a:gd name="T8" fmla="*/ 0 w 394"/>
                <a:gd name="T9" fmla="*/ 0 h 323"/>
                <a:gd name="T10" fmla="*/ 61 w 394"/>
                <a:gd name="T11" fmla="*/ 90 h 323"/>
                <a:gd name="T12" fmla="*/ 0 w 394"/>
                <a:gd name="T13" fmla="*/ 180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4" h="323">
                  <a:moveTo>
                    <a:pt x="0" y="180"/>
                  </a:moveTo>
                  <a:cubicBezTo>
                    <a:pt x="99" y="186"/>
                    <a:pt x="186" y="238"/>
                    <a:pt x="239" y="316"/>
                  </a:cubicBezTo>
                  <a:cubicBezTo>
                    <a:pt x="346" y="323"/>
                    <a:pt x="346" y="323"/>
                    <a:pt x="346" y="323"/>
                  </a:cubicBezTo>
                  <a:cubicBezTo>
                    <a:pt x="394" y="225"/>
                    <a:pt x="394" y="225"/>
                    <a:pt x="394" y="225"/>
                  </a:cubicBezTo>
                  <a:cubicBezTo>
                    <a:pt x="309" y="95"/>
                    <a:pt x="165" y="8"/>
                    <a:pt x="0" y="0"/>
                  </a:cubicBezTo>
                  <a:cubicBezTo>
                    <a:pt x="61" y="90"/>
                    <a:pt x="61" y="90"/>
                    <a:pt x="61" y="90"/>
                  </a:cubicBezTo>
                  <a:lnTo>
                    <a:pt x="0" y="18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dirty="0">
                <a:solidFill>
                  <a:schemeClr val="tx2"/>
                </a:solidFill>
              </a:endParaRPr>
            </a:p>
          </p:txBody>
        </p:sp>
      </p:grp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BF647C47-D9C7-4C9A-91AB-0D9FC2D583B0}"/>
              </a:ext>
            </a:extLst>
          </p:cNvPr>
          <p:cNvSpPr txBox="1">
            <a:spLocks/>
          </p:cNvSpPr>
          <p:nvPr/>
        </p:nvSpPr>
        <p:spPr bwMode="gray">
          <a:xfrm>
            <a:off x="4769248" y="2481556"/>
            <a:ext cx="1147365" cy="288147"/>
          </a:xfrm>
          <a:prstGeom prst="rect">
            <a:avLst/>
          </a:prstGeom>
        </p:spPr>
        <p:txBody>
          <a:bodyPr vert="horz" wrap="none" lIns="0" tIns="0" rIns="0" bIns="7200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/>
            <a:r>
              <a:rPr lang="de-DE" sz="1400" dirty="0"/>
              <a:t>Anforderungen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5E23B19-8CC9-4942-986D-F5C341FDC84E}"/>
              </a:ext>
            </a:extLst>
          </p:cNvPr>
          <p:cNvSpPr txBox="1">
            <a:spLocks/>
          </p:cNvSpPr>
          <p:nvPr/>
        </p:nvSpPr>
        <p:spPr bwMode="gray">
          <a:xfrm>
            <a:off x="5180835" y="3929356"/>
            <a:ext cx="735778" cy="288147"/>
          </a:xfrm>
          <a:prstGeom prst="rect">
            <a:avLst/>
          </a:prstGeom>
        </p:spPr>
        <p:txBody>
          <a:bodyPr vert="horz" wrap="none" lIns="0" tIns="0" rIns="0" bIns="7200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/>
            <a:r>
              <a:rPr lang="de-DE" sz="1400" dirty="0"/>
              <a:t>Aufgaben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A87A7FE2-C018-451B-826A-0E280FE0A02B}"/>
              </a:ext>
            </a:extLst>
          </p:cNvPr>
          <p:cNvSpPr txBox="1">
            <a:spLocks/>
          </p:cNvSpPr>
          <p:nvPr/>
        </p:nvSpPr>
        <p:spPr bwMode="gray">
          <a:xfrm>
            <a:off x="5280221" y="5160179"/>
            <a:ext cx="636392" cy="288147"/>
          </a:xfrm>
          <a:prstGeom prst="rect">
            <a:avLst/>
          </a:prstGeom>
        </p:spPr>
        <p:txBody>
          <a:bodyPr vert="horz" wrap="none" lIns="0" tIns="0" rIns="0" bIns="7200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/>
            <a:r>
              <a:rPr lang="de-DE" sz="1400" dirty="0"/>
              <a:t>Releases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71677597-CE3E-4255-9343-8A20222FE558}"/>
              </a:ext>
            </a:extLst>
          </p:cNvPr>
          <p:cNvSpPr txBox="1">
            <a:spLocks/>
          </p:cNvSpPr>
          <p:nvPr/>
        </p:nvSpPr>
        <p:spPr bwMode="gray">
          <a:xfrm>
            <a:off x="480000" y="2481556"/>
            <a:ext cx="1170962" cy="288147"/>
          </a:xfrm>
          <a:prstGeom prst="rect">
            <a:avLst/>
          </a:prstGeom>
        </p:spPr>
        <p:txBody>
          <a:bodyPr vert="horz" wrap="none" lIns="0" tIns="0" rIns="0" bIns="7200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/>
              <a:t>Vorfälle (Fehler)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8A68CB18-5272-4CD0-AB80-E75AC3289C98}"/>
              </a:ext>
            </a:extLst>
          </p:cNvPr>
          <p:cNvSpPr txBox="1">
            <a:spLocks/>
          </p:cNvSpPr>
          <p:nvPr/>
        </p:nvSpPr>
        <p:spPr bwMode="gray">
          <a:xfrm>
            <a:off x="480000" y="3713913"/>
            <a:ext cx="777713" cy="503590"/>
          </a:xfrm>
          <a:prstGeom prst="rect">
            <a:avLst/>
          </a:prstGeom>
        </p:spPr>
        <p:txBody>
          <a:bodyPr vert="horz" wrap="none" lIns="0" tIns="0" rIns="0" bIns="7200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/>
              <a:t>Testdurch-</a:t>
            </a:r>
            <a:br>
              <a:rPr lang="de-DE" sz="1400" dirty="0"/>
            </a:br>
            <a:r>
              <a:rPr lang="de-DE" sz="1400" dirty="0"/>
              <a:t>führung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949ECEE2-9016-4D01-B547-23708F080369}"/>
              </a:ext>
            </a:extLst>
          </p:cNvPr>
          <p:cNvSpPr txBox="1">
            <a:spLocks/>
          </p:cNvSpPr>
          <p:nvPr/>
        </p:nvSpPr>
        <p:spPr bwMode="gray">
          <a:xfrm>
            <a:off x="480000" y="5160179"/>
            <a:ext cx="579326" cy="288147"/>
          </a:xfrm>
          <a:prstGeom prst="rect">
            <a:avLst/>
          </a:prstGeom>
        </p:spPr>
        <p:txBody>
          <a:bodyPr vert="horz" wrap="none" lIns="0" tIns="0" rIns="0" bIns="7200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egoe UI Light" panose="020B0604020202020204" pitchFamily="34" charset="0"/>
              <a:buNone/>
              <a:defRPr sz="1800" kern="1200" cap="none" baseline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Segoe UI Light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52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Segoe UI Light" panose="020B0502040204020203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indent="-252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buFont typeface="Segoe UI Light" panose="020B0502040204020203" pitchFamily="34" charset="0"/>
              <a:buChar char="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400" dirty="0"/>
              <a:t>Testfälle</a:t>
            </a:r>
          </a:p>
        </p:txBody>
      </p:sp>
      <p:sp>
        <p:nvSpPr>
          <p:cNvPr id="37" name="Graphic 480">
            <a:extLst>
              <a:ext uri="{FF2B5EF4-FFF2-40B4-BE49-F238E27FC236}">
                <a16:creationId xmlns:a16="http://schemas.microsoft.com/office/drawing/2014/main" id="{47B377A0-D963-424B-AC6F-613E25658AC3}"/>
              </a:ext>
            </a:extLst>
          </p:cNvPr>
          <p:cNvSpPr>
            <a:spLocks noChangeAspect="1"/>
          </p:cNvSpPr>
          <p:nvPr/>
        </p:nvSpPr>
        <p:spPr>
          <a:xfrm>
            <a:off x="2345934" y="4882480"/>
            <a:ext cx="227585" cy="260097"/>
          </a:xfrm>
          <a:custGeom>
            <a:avLst/>
            <a:gdLst>
              <a:gd name="connsiteX0" fmla="*/ 1066800 w 4267200"/>
              <a:gd name="connsiteY0" fmla="*/ 4114800 h 4876800"/>
              <a:gd name="connsiteX1" fmla="*/ 1371600 w 4267200"/>
              <a:gd name="connsiteY1" fmla="*/ 4114800 h 4876800"/>
              <a:gd name="connsiteX2" fmla="*/ 1676400 w 4267200"/>
              <a:gd name="connsiteY2" fmla="*/ 3810000 h 4876800"/>
              <a:gd name="connsiteX3" fmla="*/ 1676400 w 4267200"/>
              <a:gd name="connsiteY3" fmla="*/ 3505200 h 4876800"/>
              <a:gd name="connsiteX4" fmla="*/ 1371600 w 4267200"/>
              <a:gd name="connsiteY4" fmla="*/ 3200400 h 4876800"/>
              <a:gd name="connsiteX5" fmla="*/ 1066800 w 4267200"/>
              <a:gd name="connsiteY5" fmla="*/ 3200400 h 4876800"/>
              <a:gd name="connsiteX6" fmla="*/ 762000 w 4267200"/>
              <a:gd name="connsiteY6" fmla="*/ 3505200 h 4876800"/>
              <a:gd name="connsiteX7" fmla="*/ 762000 w 4267200"/>
              <a:gd name="connsiteY7" fmla="*/ 3810000 h 4876800"/>
              <a:gd name="connsiteX8" fmla="*/ 1066800 w 4267200"/>
              <a:gd name="connsiteY8" fmla="*/ 4114800 h 4876800"/>
              <a:gd name="connsiteX9" fmla="*/ 1066800 w 4267200"/>
              <a:gd name="connsiteY9" fmla="*/ 3505200 h 4876800"/>
              <a:gd name="connsiteX10" fmla="*/ 1371600 w 4267200"/>
              <a:gd name="connsiteY10" fmla="*/ 3505200 h 4876800"/>
              <a:gd name="connsiteX11" fmla="*/ 1371600 w 4267200"/>
              <a:gd name="connsiteY11" fmla="*/ 3810000 h 4876800"/>
              <a:gd name="connsiteX12" fmla="*/ 1066800 w 4267200"/>
              <a:gd name="connsiteY12" fmla="*/ 3810000 h 4876800"/>
              <a:gd name="connsiteX13" fmla="*/ 1066800 w 4267200"/>
              <a:gd name="connsiteY13" fmla="*/ 3505200 h 4876800"/>
              <a:gd name="connsiteX14" fmla="*/ 1066800 w 4267200"/>
              <a:gd name="connsiteY14" fmla="*/ 1676400 h 4876800"/>
              <a:gd name="connsiteX15" fmla="*/ 1371600 w 4267200"/>
              <a:gd name="connsiteY15" fmla="*/ 1676400 h 4876800"/>
              <a:gd name="connsiteX16" fmla="*/ 1676400 w 4267200"/>
              <a:gd name="connsiteY16" fmla="*/ 1371600 h 4876800"/>
              <a:gd name="connsiteX17" fmla="*/ 1676400 w 4267200"/>
              <a:gd name="connsiteY17" fmla="*/ 1066800 h 4876800"/>
              <a:gd name="connsiteX18" fmla="*/ 1371600 w 4267200"/>
              <a:gd name="connsiteY18" fmla="*/ 762000 h 4876800"/>
              <a:gd name="connsiteX19" fmla="*/ 1066800 w 4267200"/>
              <a:gd name="connsiteY19" fmla="*/ 762000 h 4876800"/>
              <a:gd name="connsiteX20" fmla="*/ 762000 w 4267200"/>
              <a:gd name="connsiteY20" fmla="*/ 1066800 h 4876800"/>
              <a:gd name="connsiteX21" fmla="*/ 762000 w 4267200"/>
              <a:gd name="connsiteY21" fmla="*/ 1371600 h 4876800"/>
              <a:gd name="connsiteX22" fmla="*/ 1066800 w 4267200"/>
              <a:gd name="connsiteY22" fmla="*/ 1676400 h 4876800"/>
              <a:gd name="connsiteX23" fmla="*/ 1066800 w 4267200"/>
              <a:gd name="connsiteY23" fmla="*/ 1066800 h 4876800"/>
              <a:gd name="connsiteX24" fmla="*/ 1371600 w 4267200"/>
              <a:gd name="connsiteY24" fmla="*/ 1066800 h 4876800"/>
              <a:gd name="connsiteX25" fmla="*/ 1371600 w 4267200"/>
              <a:gd name="connsiteY25" fmla="*/ 1371600 h 4876800"/>
              <a:gd name="connsiteX26" fmla="*/ 1066800 w 4267200"/>
              <a:gd name="connsiteY26" fmla="*/ 1371600 h 4876800"/>
              <a:gd name="connsiteX27" fmla="*/ 1066800 w 4267200"/>
              <a:gd name="connsiteY27" fmla="*/ 1066800 h 4876800"/>
              <a:gd name="connsiteX28" fmla="*/ 3962400 w 4267200"/>
              <a:gd name="connsiteY28" fmla="*/ 0 h 4876800"/>
              <a:gd name="connsiteX29" fmla="*/ 304800 w 4267200"/>
              <a:gd name="connsiteY29" fmla="*/ 0 h 4876800"/>
              <a:gd name="connsiteX30" fmla="*/ 0 w 4267200"/>
              <a:gd name="connsiteY30" fmla="*/ 304800 h 4876800"/>
              <a:gd name="connsiteX31" fmla="*/ 0 w 4267200"/>
              <a:gd name="connsiteY31" fmla="*/ 4572000 h 4876800"/>
              <a:gd name="connsiteX32" fmla="*/ 304800 w 4267200"/>
              <a:gd name="connsiteY32" fmla="*/ 4876800 h 4876800"/>
              <a:gd name="connsiteX33" fmla="*/ 3962400 w 4267200"/>
              <a:gd name="connsiteY33" fmla="*/ 4876800 h 4876800"/>
              <a:gd name="connsiteX34" fmla="*/ 4267200 w 4267200"/>
              <a:gd name="connsiteY34" fmla="*/ 4572000 h 4876800"/>
              <a:gd name="connsiteX35" fmla="*/ 4267200 w 4267200"/>
              <a:gd name="connsiteY35" fmla="*/ 304800 h 4876800"/>
              <a:gd name="connsiteX36" fmla="*/ 3962400 w 4267200"/>
              <a:gd name="connsiteY36" fmla="*/ 0 h 4876800"/>
              <a:gd name="connsiteX37" fmla="*/ 3962400 w 4267200"/>
              <a:gd name="connsiteY37" fmla="*/ 4572000 h 4876800"/>
              <a:gd name="connsiteX38" fmla="*/ 304800 w 4267200"/>
              <a:gd name="connsiteY38" fmla="*/ 4572000 h 4876800"/>
              <a:gd name="connsiteX39" fmla="*/ 304800 w 4267200"/>
              <a:gd name="connsiteY39" fmla="*/ 304800 h 4876800"/>
              <a:gd name="connsiteX40" fmla="*/ 3962400 w 4267200"/>
              <a:gd name="connsiteY40" fmla="*/ 304800 h 4876800"/>
              <a:gd name="connsiteX41" fmla="*/ 3962400 w 4267200"/>
              <a:gd name="connsiteY41" fmla="*/ 4572000 h 4876800"/>
              <a:gd name="connsiteX42" fmla="*/ 2057400 w 4267200"/>
              <a:gd name="connsiteY42" fmla="*/ 1371600 h 4876800"/>
              <a:gd name="connsiteX43" fmla="*/ 3276600 w 4267200"/>
              <a:gd name="connsiteY43" fmla="*/ 1371600 h 4876800"/>
              <a:gd name="connsiteX44" fmla="*/ 3352800 w 4267200"/>
              <a:gd name="connsiteY44" fmla="*/ 1295400 h 4876800"/>
              <a:gd name="connsiteX45" fmla="*/ 3352800 w 4267200"/>
              <a:gd name="connsiteY45" fmla="*/ 1143000 h 4876800"/>
              <a:gd name="connsiteX46" fmla="*/ 3276600 w 4267200"/>
              <a:gd name="connsiteY46" fmla="*/ 1066800 h 4876800"/>
              <a:gd name="connsiteX47" fmla="*/ 2057400 w 4267200"/>
              <a:gd name="connsiteY47" fmla="*/ 1066800 h 4876800"/>
              <a:gd name="connsiteX48" fmla="*/ 1981200 w 4267200"/>
              <a:gd name="connsiteY48" fmla="*/ 1143000 h 4876800"/>
              <a:gd name="connsiteX49" fmla="*/ 1981200 w 4267200"/>
              <a:gd name="connsiteY49" fmla="*/ 1295400 h 4876800"/>
              <a:gd name="connsiteX50" fmla="*/ 2057400 w 4267200"/>
              <a:gd name="connsiteY50" fmla="*/ 1371600 h 4876800"/>
              <a:gd name="connsiteX51" fmla="*/ 2057400 w 4267200"/>
              <a:gd name="connsiteY51" fmla="*/ 2590800 h 4876800"/>
              <a:gd name="connsiteX52" fmla="*/ 3276600 w 4267200"/>
              <a:gd name="connsiteY52" fmla="*/ 2590800 h 4876800"/>
              <a:gd name="connsiteX53" fmla="*/ 3352800 w 4267200"/>
              <a:gd name="connsiteY53" fmla="*/ 2514600 h 4876800"/>
              <a:gd name="connsiteX54" fmla="*/ 3352800 w 4267200"/>
              <a:gd name="connsiteY54" fmla="*/ 2362200 h 4876800"/>
              <a:gd name="connsiteX55" fmla="*/ 3276600 w 4267200"/>
              <a:gd name="connsiteY55" fmla="*/ 2286000 h 4876800"/>
              <a:gd name="connsiteX56" fmla="*/ 2057400 w 4267200"/>
              <a:gd name="connsiteY56" fmla="*/ 2286000 h 4876800"/>
              <a:gd name="connsiteX57" fmla="*/ 1981200 w 4267200"/>
              <a:gd name="connsiteY57" fmla="*/ 2362200 h 4876800"/>
              <a:gd name="connsiteX58" fmla="*/ 1981200 w 4267200"/>
              <a:gd name="connsiteY58" fmla="*/ 2514600 h 4876800"/>
              <a:gd name="connsiteX59" fmla="*/ 2057400 w 4267200"/>
              <a:gd name="connsiteY59" fmla="*/ 2590800 h 4876800"/>
              <a:gd name="connsiteX60" fmla="*/ 2057400 w 4267200"/>
              <a:gd name="connsiteY60" fmla="*/ 3810000 h 4876800"/>
              <a:gd name="connsiteX61" fmla="*/ 3276600 w 4267200"/>
              <a:gd name="connsiteY61" fmla="*/ 3810000 h 4876800"/>
              <a:gd name="connsiteX62" fmla="*/ 3352800 w 4267200"/>
              <a:gd name="connsiteY62" fmla="*/ 3733800 h 4876800"/>
              <a:gd name="connsiteX63" fmla="*/ 3352800 w 4267200"/>
              <a:gd name="connsiteY63" fmla="*/ 3581400 h 4876800"/>
              <a:gd name="connsiteX64" fmla="*/ 3276600 w 4267200"/>
              <a:gd name="connsiteY64" fmla="*/ 3505200 h 4876800"/>
              <a:gd name="connsiteX65" fmla="*/ 2057400 w 4267200"/>
              <a:gd name="connsiteY65" fmla="*/ 3505200 h 4876800"/>
              <a:gd name="connsiteX66" fmla="*/ 1981200 w 4267200"/>
              <a:gd name="connsiteY66" fmla="*/ 3581400 h 4876800"/>
              <a:gd name="connsiteX67" fmla="*/ 1981200 w 4267200"/>
              <a:gd name="connsiteY67" fmla="*/ 3733800 h 4876800"/>
              <a:gd name="connsiteX68" fmla="*/ 2057400 w 4267200"/>
              <a:gd name="connsiteY68" fmla="*/ 3810000 h 4876800"/>
              <a:gd name="connsiteX69" fmla="*/ 1129665 w 4267200"/>
              <a:gd name="connsiteY69" fmla="*/ 2727960 h 4876800"/>
              <a:gd name="connsiteX70" fmla="*/ 1202055 w 4267200"/>
              <a:gd name="connsiteY70" fmla="*/ 2727960 h 4876800"/>
              <a:gd name="connsiteX71" fmla="*/ 1813560 w 4267200"/>
              <a:gd name="connsiteY71" fmla="*/ 2122170 h 4876800"/>
              <a:gd name="connsiteX72" fmla="*/ 1813560 w 4267200"/>
              <a:gd name="connsiteY72" fmla="*/ 2049780 h 4876800"/>
              <a:gd name="connsiteX73" fmla="*/ 1693545 w 4267200"/>
              <a:gd name="connsiteY73" fmla="*/ 1928813 h 4876800"/>
              <a:gd name="connsiteX74" fmla="*/ 1621155 w 4267200"/>
              <a:gd name="connsiteY74" fmla="*/ 1928813 h 4876800"/>
              <a:gd name="connsiteX75" fmla="*/ 1167765 w 4267200"/>
              <a:gd name="connsiteY75" fmla="*/ 2378393 h 4876800"/>
              <a:gd name="connsiteX76" fmla="*/ 971550 w 4267200"/>
              <a:gd name="connsiteY76" fmla="*/ 2179320 h 4876800"/>
              <a:gd name="connsiteX77" fmla="*/ 899160 w 4267200"/>
              <a:gd name="connsiteY77" fmla="*/ 2179320 h 4876800"/>
              <a:gd name="connsiteX78" fmla="*/ 778193 w 4267200"/>
              <a:gd name="connsiteY78" fmla="*/ 2299335 h 4876800"/>
              <a:gd name="connsiteX79" fmla="*/ 778193 w 4267200"/>
              <a:gd name="connsiteY79" fmla="*/ 2371725 h 4876800"/>
              <a:gd name="connsiteX80" fmla="*/ 1129665 w 4267200"/>
              <a:gd name="connsiteY80" fmla="*/ 272796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4267200" h="4876800">
                <a:moveTo>
                  <a:pt x="1066800" y="4114800"/>
                </a:moveTo>
                <a:lnTo>
                  <a:pt x="1371600" y="4114800"/>
                </a:lnTo>
                <a:cubicBezTo>
                  <a:pt x="1540193" y="4114800"/>
                  <a:pt x="1676400" y="3977640"/>
                  <a:pt x="1676400" y="3810000"/>
                </a:cubicBezTo>
                <a:lnTo>
                  <a:pt x="1676400" y="3505200"/>
                </a:lnTo>
                <a:cubicBezTo>
                  <a:pt x="1676400" y="3337560"/>
                  <a:pt x="1540193" y="3200400"/>
                  <a:pt x="1371600" y="3200400"/>
                </a:cubicBezTo>
                <a:lnTo>
                  <a:pt x="1066800" y="3200400"/>
                </a:lnTo>
                <a:cubicBezTo>
                  <a:pt x="898208" y="3200400"/>
                  <a:pt x="762000" y="3337560"/>
                  <a:pt x="762000" y="3505200"/>
                </a:cubicBezTo>
                <a:lnTo>
                  <a:pt x="762000" y="3810000"/>
                </a:lnTo>
                <a:cubicBezTo>
                  <a:pt x="762000" y="3977640"/>
                  <a:pt x="898208" y="4114800"/>
                  <a:pt x="1066800" y="4114800"/>
                </a:cubicBezTo>
                <a:close/>
                <a:moveTo>
                  <a:pt x="1066800" y="3505200"/>
                </a:moveTo>
                <a:lnTo>
                  <a:pt x="1371600" y="3505200"/>
                </a:lnTo>
                <a:lnTo>
                  <a:pt x="1371600" y="3810000"/>
                </a:lnTo>
                <a:lnTo>
                  <a:pt x="1066800" y="3810000"/>
                </a:lnTo>
                <a:lnTo>
                  <a:pt x="1066800" y="3505200"/>
                </a:lnTo>
                <a:close/>
                <a:moveTo>
                  <a:pt x="1066800" y="1676400"/>
                </a:moveTo>
                <a:lnTo>
                  <a:pt x="1371600" y="1676400"/>
                </a:lnTo>
                <a:cubicBezTo>
                  <a:pt x="1540193" y="1676400"/>
                  <a:pt x="1676400" y="1539240"/>
                  <a:pt x="1676400" y="1371600"/>
                </a:cubicBezTo>
                <a:lnTo>
                  <a:pt x="1676400" y="1066800"/>
                </a:lnTo>
                <a:cubicBezTo>
                  <a:pt x="1676400" y="899160"/>
                  <a:pt x="1540193" y="762000"/>
                  <a:pt x="1371600" y="762000"/>
                </a:cubicBezTo>
                <a:lnTo>
                  <a:pt x="1066800" y="762000"/>
                </a:lnTo>
                <a:cubicBezTo>
                  <a:pt x="898208" y="762000"/>
                  <a:pt x="762000" y="899160"/>
                  <a:pt x="762000" y="1066800"/>
                </a:cubicBezTo>
                <a:lnTo>
                  <a:pt x="762000" y="1371600"/>
                </a:lnTo>
                <a:cubicBezTo>
                  <a:pt x="762000" y="1539240"/>
                  <a:pt x="898208" y="1676400"/>
                  <a:pt x="1066800" y="1676400"/>
                </a:cubicBezTo>
                <a:close/>
                <a:moveTo>
                  <a:pt x="1066800" y="1066800"/>
                </a:moveTo>
                <a:lnTo>
                  <a:pt x="1371600" y="1066800"/>
                </a:lnTo>
                <a:lnTo>
                  <a:pt x="1371600" y="1371600"/>
                </a:lnTo>
                <a:lnTo>
                  <a:pt x="1066800" y="1371600"/>
                </a:lnTo>
                <a:lnTo>
                  <a:pt x="1066800" y="1066800"/>
                </a:lnTo>
                <a:close/>
                <a:moveTo>
                  <a:pt x="3962400" y="0"/>
                </a:moveTo>
                <a:lnTo>
                  <a:pt x="304800" y="0"/>
                </a:lnTo>
                <a:cubicBezTo>
                  <a:pt x="136208" y="0"/>
                  <a:pt x="0" y="137160"/>
                  <a:pt x="0" y="304800"/>
                </a:cubicBezTo>
                <a:lnTo>
                  <a:pt x="0" y="4572000"/>
                </a:lnTo>
                <a:cubicBezTo>
                  <a:pt x="0" y="4739640"/>
                  <a:pt x="136208" y="4876800"/>
                  <a:pt x="304800" y="4876800"/>
                </a:cubicBezTo>
                <a:lnTo>
                  <a:pt x="3962400" y="4876800"/>
                </a:lnTo>
                <a:cubicBezTo>
                  <a:pt x="4130993" y="4876800"/>
                  <a:pt x="4267200" y="4739640"/>
                  <a:pt x="4267200" y="4572000"/>
                </a:cubicBezTo>
                <a:lnTo>
                  <a:pt x="4267200" y="304800"/>
                </a:lnTo>
                <a:cubicBezTo>
                  <a:pt x="4267200" y="137160"/>
                  <a:pt x="4130993" y="0"/>
                  <a:pt x="3962400" y="0"/>
                </a:cubicBezTo>
                <a:close/>
                <a:moveTo>
                  <a:pt x="3962400" y="4572000"/>
                </a:moveTo>
                <a:lnTo>
                  <a:pt x="304800" y="4572000"/>
                </a:lnTo>
                <a:lnTo>
                  <a:pt x="304800" y="304800"/>
                </a:lnTo>
                <a:lnTo>
                  <a:pt x="3962400" y="304800"/>
                </a:lnTo>
                <a:lnTo>
                  <a:pt x="3962400" y="4572000"/>
                </a:lnTo>
                <a:close/>
                <a:moveTo>
                  <a:pt x="2057400" y="1371600"/>
                </a:moveTo>
                <a:lnTo>
                  <a:pt x="3276600" y="1371600"/>
                </a:lnTo>
                <a:cubicBezTo>
                  <a:pt x="3318510" y="1371600"/>
                  <a:pt x="3352800" y="1337310"/>
                  <a:pt x="3352800" y="1295400"/>
                </a:cubicBezTo>
                <a:lnTo>
                  <a:pt x="3352800" y="1143000"/>
                </a:lnTo>
                <a:cubicBezTo>
                  <a:pt x="3352800" y="1101090"/>
                  <a:pt x="3318510" y="1066800"/>
                  <a:pt x="3276600" y="1066800"/>
                </a:cubicBezTo>
                <a:lnTo>
                  <a:pt x="2057400" y="1066800"/>
                </a:lnTo>
                <a:cubicBezTo>
                  <a:pt x="2015490" y="1066800"/>
                  <a:pt x="1981200" y="1101090"/>
                  <a:pt x="1981200" y="1143000"/>
                </a:cubicBezTo>
                <a:lnTo>
                  <a:pt x="1981200" y="1295400"/>
                </a:lnTo>
                <a:cubicBezTo>
                  <a:pt x="1981200" y="1337310"/>
                  <a:pt x="2015490" y="1371600"/>
                  <a:pt x="2057400" y="1371600"/>
                </a:cubicBezTo>
                <a:close/>
                <a:moveTo>
                  <a:pt x="2057400" y="2590800"/>
                </a:moveTo>
                <a:lnTo>
                  <a:pt x="3276600" y="2590800"/>
                </a:lnTo>
                <a:cubicBezTo>
                  <a:pt x="3318510" y="2590800"/>
                  <a:pt x="3352800" y="2556510"/>
                  <a:pt x="3352800" y="2514600"/>
                </a:cubicBezTo>
                <a:lnTo>
                  <a:pt x="3352800" y="2362200"/>
                </a:lnTo>
                <a:cubicBezTo>
                  <a:pt x="3352800" y="2320290"/>
                  <a:pt x="3318510" y="2286000"/>
                  <a:pt x="3276600" y="2286000"/>
                </a:cubicBezTo>
                <a:lnTo>
                  <a:pt x="2057400" y="2286000"/>
                </a:lnTo>
                <a:cubicBezTo>
                  <a:pt x="2015490" y="2286000"/>
                  <a:pt x="1981200" y="2320290"/>
                  <a:pt x="1981200" y="2362200"/>
                </a:cubicBezTo>
                <a:lnTo>
                  <a:pt x="1981200" y="2514600"/>
                </a:lnTo>
                <a:cubicBezTo>
                  <a:pt x="1981200" y="2556510"/>
                  <a:pt x="2015490" y="2590800"/>
                  <a:pt x="2057400" y="2590800"/>
                </a:cubicBezTo>
                <a:close/>
                <a:moveTo>
                  <a:pt x="2057400" y="3810000"/>
                </a:moveTo>
                <a:lnTo>
                  <a:pt x="3276600" y="3810000"/>
                </a:lnTo>
                <a:cubicBezTo>
                  <a:pt x="3318510" y="3810000"/>
                  <a:pt x="3352800" y="3775710"/>
                  <a:pt x="3352800" y="3733800"/>
                </a:cubicBezTo>
                <a:lnTo>
                  <a:pt x="3352800" y="3581400"/>
                </a:lnTo>
                <a:cubicBezTo>
                  <a:pt x="3352800" y="3539490"/>
                  <a:pt x="3318510" y="3505200"/>
                  <a:pt x="3276600" y="3505200"/>
                </a:cubicBezTo>
                <a:lnTo>
                  <a:pt x="2057400" y="3505200"/>
                </a:lnTo>
                <a:cubicBezTo>
                  <a:pt x="2015490" y="3505200"/>
                  <a:pt x="1981200" y="3539490"/>
                  <a:pt x="1981200" y="3581400"/>
                </a:cubicBezTo>
                <a:lnTo>
                  <a:pt x="1981200" y="3733800"/>
                </a:lnTo>
                <a:cubicBezTo>
                  <a:pt x="1981200" y="3775710"/>
                  <a:pt x="2015490" y="3810000"/>
                  <a:pt x="2057400" y="3810000"/>
                </a:cubicBezTo>
                <a:close/>
                <a:moveTo>
                  <a:pt x="1129665" y="2727960"/>
                </a:moveTo>
                <a:cubicBezTo>
                  <a:pt x="1149668" y="2747963"/>
                  <a:pt x="1182053" y="2747963"/>
                  <a:pt x="1202055" y="2727960"/>
                </a:cubicBezTo>
                <a:lnTo>
                  <a:pt x="1813560" y="2122170"/>
                </a:lnTo>
                <a:cubicBezTo>
                  <a:pt x="1833563" y="2102168"/>
                  <a:pt x="1833563" y="2069783"/>
                  <a:pt x="1813560" y="2049780"/>
                </a:cubicBezTo>
                <a:lnTo>
                  <a:pt x="1693545" y="1928813"/>
                </a:lnTo>
                <a:cubicBezTo>
                  <a:pt x="1673543" y="1908810"/>
                  <a:pt x="1641158" y="1908810"/>
                  <a:pt x="1621155" y="1928813"/>
                </a:cubicBezTo>
                <a:lnTo>
                  <a:pt x="1167765" y="2378393"/>
                </a:lnTo>
                <a:lnTo>
                  <a:pt x="971550" y="2179320"/>
                </a:lnTo>
                <a:cubicBezTo>
                  <a:pt x="951548" y="2159318"/>
                  <a:pt x="919163" y="2159318"/>
                  <a:pt x="899160" y="2179320"/>
                </a:cubicBezTo>
                <a:lnTo>
                  <a:pt x="778193" y="2299335"/>
                </a:lnTo>
                <a:cubicBezTo>
                  <a:pt x="758190" y="2319338"/>
                  <a:pt x="758190" y="2351723"/>
                  <a:pt x="778193" y="2371725"/>
                </a:cubicBezTo>
                <a:lnTo>
                  <a:pt x="1129665" y="2727960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38" name="Graphic 478">
            <a:extLst>
              <a:ext uri="{FF2B5EF4-FFF2-40B4-BE49-F238E27FC236}">
                <a16:creationId xmlns:a16="http://schemas.microsoft.com/office/drawing/2014/main" id="{E23FA242-FE1F-4361-9474-F307B722C73C}"/>
              </a:ext>
            </a:extLst>
          </p:cNvPr>
          <p:cNvSpPr>
            <a:spLocks noChangeAspect="1"/>
          </p:cNvSpPr>
          <p:nvPr/>
        </p:nvSpPr>
        <p:spPr>
          <a:xfrm>
            <a:off x="3736061" y="2888017"/>
            <a:ext cx="226800" cy="259200"/>
          </a:xfrm>
          <a:custGeom>
            <a:avLst/>
            <a:gdLst>
              <a:gd name="connsiteX0" fmla="*/ 1371600 w 4267200"/>
              <a:gd name="connsiteY0" fmla="*/ 762000 h 4876800"/>
              <a:gd name="connsiteX1" fmla="*/ 1066800 w 4267200"/>
              <a:gd name="connsiteY1" fmla="*/ 762000 h 4876800"/>
              <a:gd name="connsiteX2" fmla="*/ 762000 w 4267200"/>
              <a:gd name="connsiteY2" fmla="*/ 1066800 h 4876800"/>
              <a:gd name="connsiteX3" fmla="*/ 762000 w 4267200"/>
              <a:gd name="connsiteY3" fmla="*/ 1371600 h 4876800"/>
              <a:gd name="connsiteX4" fmla="*/ 1066800 w 4267200"/>
              <a:gd name="connsiteY4" fmla="*/ 1676400 h 4876800"/>
              <a:gd name="connsiteX5" fmla="*/ 1371600 w 4267200"/>
              <a:gd name="connsiteY5" fmla="*/ 1676400 h 4876800"/>
              <a:gd name="connsiteX6" fmla="*/ 1676400 w 4267200"/>
              <a:gd name="connsiteY6" fmla="*/ 1371600 h 4876800"/>
              <a:gd name="connsiteX7" fmla="*/ 1676400 w 4267200"/>
              <a:gd name="connsiteY7" fmla="*/ 1066800 h 4876800"/>
              <a:gd name="connsiteX8" fmla="*/ 1371600 w 4267200"/>
              <a:gd name="connsiteY8" fmla="*/ 762000 h 4876800"/>
              <a:gd name="connsiteX9" fmla="*/ 1371600 w 4267200"/>
              <a:gd name="connsiteY9" fmla="*/ 1371600 h 4876800"/>
              <a:gd name="connsiteX10" fmla="*/ 1066800 w 4267200"/>
              <a:gd name="connsiteY10" fmla="*/ 1371600 h 4876800"/>
              <a:gd name="connsiteX11" fmla="*/ 1066800 w 4267200"/>
              <a:gd name="connsiteY11" fmla="*/ 1066800 h 4876800"/>
              <a:gd name="connsiteX12" fmla="*/ 1371600 w 4267200"/>
              <a:gd name="connsiteY12" fmla="*/ 1066800 h 4876800"/>
              <a:gd name="connsiteX13" fmla="*/ 1371600 w 4267200"/>
              <a:gd name="connsiteY13" fmla="*/ 1371600 h 4876800"/>
              <a:gd name="connsiteX14" fmla="*/ 3962400 w 4267200"/>
              <a:gd name="connsiteY14" fmla="*/ 0 h 4876800"/>
              <a:gd name="connsiteX15" fmla="*/ 304800 w 4267200"/>
              <a:gd name="connsiteY15" fmla="*/ 0 h 4876800"/>
              <a:gd name="connsiteX16" fmla="*/ 0 w 4267200"/>
              <a:gd name="connsiteY16" fmla="*/ 304800 h 4876800"/>
              <a:gd name="connsiteX17" fmla="*/ 0 w 4267200"/>
              <a:gd name="connsiteY17" fmla="*/ 4572000 h 4876800"/>
              <a:gd name="connsiteX18" fmla="*/ 304800 w 4267200"/>
              <a:gd name="connsiteY18" fmla="*/ 4876800 h 4876800"/>
              <a:gd name="connsiteX19" fmla="*/ 3962400 w 4267200"/>
              <a:gd name="connsiteY19" fmla="*/ 4876800 h 4876800"/>
              <a:gd name="connsiteX20" fmla="*/ 4267200 w 4267200"/>
              <a:gd name="connsiteY20" fmla="*/ 4572000 h 4876800"/>
              <a:gd name="connsiteX21" fmla="*/ 4267200 w 4267200"/>
              <a:gd name="connsiteY21" fmla="*/ 304800 h 4876800"/>
              <a:gd name="connsiteX22" fmla="*/ 3962400 w 4267200"/>
              <a:gd name="connsiteY22" fmla="*/ 0 h 4876800"/>
              <a:gd name="connsiteX23" fmla="*/ 3962400 w 4267200"/>
              <a:gd name="connsiteY23" fmla="*/ 4572000 h 4876800"/>
              <a:gd name="connsiteX24" fmla="*/ 304800 w 4267200"/>
              <a:gd name="connsiteY24" fmla="*/ 4572000 h 4876800"/>
              <a:gd name="connsiteX25" fmla="*/ 304800 w 4267200"/>
              <a:gd name="connsiteY25" fmla="*/ 304800 h 4876800"/>
              <a:gd name="connsiteX26" fmla="*/ 3962400 w 4267200"/>
              <a:gd name="connsiteY26" fmla="*/ 304800 h 4876800"/>
              <a:gd name="connsiteX27" fmla="*/ 3962400 w 4267200"/>
              <a:gd name="connsiteY27" fmla="*/ 4572000 h 4876800"/>
              <a:gd name="connsiteX28" fmla="*/ 3276600 w 4267200"/>
              <a:gd name="connsiteY28" fmla="*/ 2286000 h 4876800"/>
              <a:gd name="connsiteX29" fmla="*/ 2057400 w 4267200"/>
              <a:gd name="connsiteY29" fmla="*/ 2286000 h 4876800"/>
              <a:gd name="connsiteX30" fmla="*/ 1981200 w 4267200"/>
              <a:gd name="connsiteY30" fmla="*/ 2362200 h 4876800"/>
              <a:gd name="connsiteX31" fmla="*/ 1981200 w 4267200"/>
              <a:gd name="connsiteY31" fmla="*/ 2514600 h 4876800"/>
              <a:gd name="connsiteX32" fmla="*/ 2057400 w 4267200"/>
              <a:gd name="connsiteY32" fmla="*/ 2590800 h 4876800"/>
              <a:gd name="connsiteX33" fmla="*/ 3276600 w 4267200"/>
              <a:gd name="connsiteY33" fmla="*/ 2590800 h 4876800"/>
              <a:gd name="connsiteX34" fmla="*/ 3352800 w 4267200"/>
              <a:gd name="connsiteY34" fmla="*/ 2514600 h 4876800"/>
              <a:gd name="connsiteX35" fmla="*/ 3352800 w 4267200"/>
              <a:gd name="connsiteY35" fmla="*/ 2362200 h 4876800"/>
              <a:gd name="connsiteX36" fmla="*/ 3276600 w 4267200"/>
              <a:gd name="connsiteY36" fmla="*/ 2286000 h 4876800"/>
              <a:gd name="connsiteX37" fmla="*/ 1371600 w 4267200"/>
              <a:gd name="connsiteY37" fmla="*/ 3200400 h 4876800"/>
              <a:gd name="connsiteX38" fmla="*/ 1066800 w 4267200"/>
              <a:gd name="connsiteY38" fmla="*/ 3200400 h 4876800"/>
              <a:gd name="connsiteX39" fmla="*/ 762000 w 4267200"/>
              <a:gd name="connsiteY39" fmla="*/ 3505200 h 4876800"/>
              <a:gd name="connsiteX40" fmla="*/ 762000 w 4267200"/>
              <a:gd name="connsiteY40" fmla="*/ 3810000 h 4876800"/>
              <a:gd name="connsiteX41" fmla="*/ 1066800 w 4267200"/>
              <a:gd name="connsiteY41" fmla="*/ 4114800 h 4876800"/>
              <a:gd name="connsiteX42" fmla="*/ 1371600 w 4267200"/>
              <a:gd name="connsiteY42" fmla="*/ 4114800 h 4876800"/>
              <a:gd name="connsiteX43" fmla="*/ 1676400 w 4267200"/>
              <a:gd name="connsiteY43" fmla="*/ 3810000 h 4876800"/>
              <a:gd name="connsiteX44" fmla="*/ 1676400 w 4267200"/>
              <a:gd name="connsiteY44" fmla="*/ 3505200 h 4876800"/>
              <a:gd name="connsiteX45" fmla="*/ 1371600 w 4267200"/>
              <a:gd name="connsiteY45" fmla="*/ 3200400 h 4876800"/>
              <a:gd name="connsiteX46" fmla="*/ 1371600 w 4267200"/>
              <a:gd name="connsiteY46" fmla="*/ 3810000 h 4876800"/>
              <a:gd name="connsiteX47" fmla="*/ 1066800 w 4267200"/>
              <a:gd name="connsiteY47" fmla="*/ 3810000 h 4876800"/>
              <a:gd name="connsiteX48" fmla="*/ 1066800 w 4267200"/>
              <a:gd name="connsiteY48" fmla="*/ 3505200 h 4876800"/>
              <a:gd name="connsiteX49" fmla="*/ 1371600 w 4267200"/>
              <a:gd name="connsiteY49" fmla="*/ 3505200 h 4876800"/>
              <a:gd name="connsiteX50" fmla="*/ 1371600 w 4267200"/>
              <a:gd name="connsiteY50" fmla="*/ 3810000 h 4876800"/>
              <a:gd name="connsiteX51" fmla="*/ 3276600 w 4267200"/>
              <a:gd name="connsiteY51" fmla="*/ 3505200 h 4876800"/>
              <a:gd name="connsiteX52" fmla="*/ 2057400 w 4267200"/>
              <a:gd name="connsiteY52" fmla="*/ 3505200 h 4876800"/>
              <a:gd name="connsiteX53" fmla="*/ 1981200 w 4267200"/>
              <a:gd name="connsiteY53" fmla="*/ 3581400 h 4876800"/>
              <a:gd name="connsiteX54" fmla="*/ 1981200 w 4267200"/>
              <a:gd name="connsiteY54" fmla="*/ 3733800 h 4876800"/>
              <a:gd name="connsiteX55" fmla="*/ 2057400 w 4267200"/>
              <a:gd name="connsiteY55" fmla="*/ 3810000 h 4876800"/>
              <a:gd name="connsiteX56" fmla="*/ 3276600 w 4267200"/>
              <a:gd name="connsiteY56" fmla="*/ 3810000 h 4876800"/>
              <a:gd name="connsiteX57" fmla="*/ 3352800 w 4267200"/>
              <a:gd name="connsiteY57" fmla="*/ 3733800 h 4876800"/>
              <a:gd name="connsiteX58" fmla="*/ 3352800 w 4267200"/>
              <a:gd name="connsiteY58" fmla="*/ 3581400 h 4876800"/>
              <a:gd name="connsiteX59" fmla="*/ 3276600 w 4267200"/>
              <a:gd name="connsiteY59" fmla="*/ 3505200 h 4876800"/>
              <a:gd name="connsiteX60" fmla="*/ 3276600 w 4267200"/>
              <a:gd name="connsiteY60" fmla="*/ 1066800 h 4876800"/>
              <a:gd name="connsiteX61" fmla="*/ 2057400 w 4267200"/>
              <a:gd name="connsiteY61" fmla="*/ 1066800 h 4876800"/>
              <a:gd name="connsiteX62" fmla="*/ 1981200 w 4267200"/>
              <a:gd name="connsiteY62" fmla="*/ 1143000 h 4876800"/>
              <a:gd name="connsiteX63" fmla="*/ 1981200 w 4267200"/>
              <a:gd name="connsiteY63" fmla="*/ 1295400 h 4876800"/>
              <a:gd name="connsiteX64" fmla="*/ 2057400 w 4267200"/>
              <a:gd name="connsiteY64" fmla="*/ 1371600 h 4876800"/>
              <a:gd name="connsiteX65" fmla="*/ 3276600 w 4267200"/>
              <a:gd name="connsiteY65" fmla="*/ 1371600 h 4876800"/>
              <a:gd name="connsiteX66" fmla="*/ 3352800 w 4267200"/>
              <a:gd name="connsiteY66" fmla="*/ 1295400 h 4876800"/>
              <a:gd name="connsiteX67" fmla="*/ 3352800 w 4267200"/>
              <a:gd name="connsiteY67" fmla="*/ 1143000 h 4876800"/>
              <a:gd name="connsiteX68" fmla="*/ 3276600 w 4267200"/>
              <a:gd name="connsiteY68" fmla="*/ 1066800 h 4876800"/>
              <a:gd name="connsiteX69" fmla="*/ 1371600 w 4267200"/>
              <a:gd name="connsiteY69" fmla="*/ 1981200 h 4876800"/>
              <a:gd name="connsiteX70" fmla="*/ 1066800 w 4267200"/>
              <a:gd name="connsiteY70" fmla="*/ 1981200 h 4876800"/>
              <a:gd name="connsiteX71" fmla="*/ 762000 w 4267200"/>
              <a:gd name="connsiteY71" fmla="*/ 2286000 h 4876800"/>
              <a:gd name="connsiteX72" fmla="*/ 762000 w 4267200"/>
              <a:gd name="connsiteY72" fmla="*/ 2590800 h 4876800"/>
              <a:gd name="connsiteX73" fmla="*/ 1066800 w 4267200"/>
              <a:gd name="connsiteY73" fmla="*/ 2895600 h 4876800"/>
              <a:gd name="connsiteX74" fmla="*/ 1371600 w 4267200"/>
              <a:gd name="connsiteY74" fmla="*/ 2895600 h 4876800"/>
              <a:gd name="connsiteX75" fmla="*/ 1676400 w 4267200"/>
              <a:gd name="connsiteY75" fmla="*/ 2590800 h 4876800"/>
              <a:gd name="connsiteX76" fmla="*/ 1676400 w 4267200"/>
              <a:gd name="connsiteY76" fmla="*/ 2286000 h 4876800"/>
              <a:gd name="connsiteX77" fmla="*/ 1371600 w 4267200"/>
              <a:gd name="connsiteY77" fmla="*/ 1981200 h 4876800"/>
              <a:gd name="connsiteX78" fmla="*/ 1371600 w 4267200"/>
              <a:gd name="connsiteY78" fmla="*/ 2590800 h 4876800"/>
              <a:gd name="connsiteX79" fmla="*/ 1066800 w 4267200"/>
              <a:gd name="connsiteY79" fmla="*/ 2590800 h 4876800"/>
              <a:gd name="connsiteX80" fmla="*/ 1066800 w 4267200"/>
              <a:gd name="connsiteY80" fmla="*/ 2286000 h 4876800"/>
              <a:gd name="connsiteX81" fmla="*/ 1371600 w 4267200"/>
              <a:gd name="connsiteY81" fmla="*/ 2286000 h 4876800"/>
              <a:gd name="connsiteX82" fmla="*/ 1371600 w 4267200"/>
              <a:gd name="connsiteY82" fmla="*/ 259080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4267200" h="4876800">
                <a:moveTo>
                  <a:pt x="1371600" y="762000"/>
                </a:moveTo>
                <a:lnTo>
                  <a:pt x="1066800" y="762000"/>
                </a:lnTo>
                <a:cubicBezTo>
                  <a:pt x="898208" y="762000"/>
                  <a:pt x="762000" y="899160"/>
                  <a:pt x="762000" y="1066800"/>
                </a:cubicBezTo>
                <a:lnTo>
                  <a:pt x="762000" y="1371600"/>
                </a:lnTo>
                <a:cubicBezTo>
                  <a:pt x="762000" y="1539240"/>
                  <a:pt x="898208" y="1676400"/>
                  <a:pt x="1066800" y="1676400"/>
                </a:cubicBezTo>
                <a:lnTo>
                  <a:pt x="1371600" y="1676400"/>
                </a:lnTo>
                <a:cubicBezTo>
                  <a:pt x="1540193" y="1676400"/>
                  <a:pt x="1676400" y="1539240"/>
                  <a:pt x="1676400" y="1371600"/>
                </a:cubicBezTo>
                <a:lnTo>
                  <a:pt x="1676400" y="1066800"/>
                </a:lnTo>
                <a:cubicBezTo>
                  <a:pt x="1676400" y="899160"/>
                  <a:pt x="1540193" y="762000"/>
                  <a:pt x="1371600" y="762000"/>
                </a:cubicBezTo>
                <a:close/>
                <a:moveTo>
                  <a:pt x="1371600" y="1371600"/>
                </a:moveTo>
                <a:lnTo>
                  <a:pt x="1066800" y="1371600"/>
                </a:lnTo>
                <a:lnTo>
                  <a:pt x="1066800" y="1066800"/>
                </a:lnTo>
                <a:lnTo>
                  <a:pt x="1371600" y="1066800"/>
                </a:lnTo>
                <a:lnTo>
                  <a:pt x="1371600" y="1371600"/>
                </a:lnTo>
                <a:close/>
                <a:moveTo>
                  <a:pt x="3962400" y="0"/>
                </a:moveTo>
                <a:lnTo>
                  <a:pt x="304800" y="0"/>
                </a:lnTo>
                <a:cubicBezTo>
                  <a:pt x="136208" y="0"/>
                  <a:pt x="0" y="137160"/>
                  <a:pt x="0" y="304800"/>
                </a:cubicBezTo>
                <a:lnTo>
                  <a:pt x="0" y="4572000"/>
                </a:lnTo>
                <a:cubicBezTo>
                  <a:pt x="0" y="4739640"/>
                  <a:pt x="136208" y="4876800"/>
                  <a:pt x="304800" y="4876800"/>
                </a:cubicBezTo>
                <a:lnTo>
                  <a:pt x="3962400" y="4876800"/>
                </a:lnTo>
                <a:cubicBezTo>
                  <a:pt x="4130993" y="4876800"/>
                  <a:pt x="4267200" y="4739640"/>
                  <a:pt x="4267200" y="4572000"/>
                </a:cubicBezTo>
                <a:lnTo>
                  <a:pt x="4267200" y="304800"/>
                </a:lnTo>
                <a:cubicBezTo>
                  <a:pt x="4267200" y="137160"/>
                  <a:pt x="4130993" y="0"/>
                  <a:pt x="3962400" y="0"/>
                </a:cubicBezTo>
                <a:close/>
                <a:moveTo>
                  <a:pt x="3962400" y="4572000"/>
                </a:moveTo>
                <a:lnTo>
                  <a:pt x="304800" y="4572000"/>
                </a:lnTo>
                <a:lnTo>
                  <a:pt x="304800" y="304800"/>
                </a:lnTo>
                <a:lnTo>
                  <a:pt x="3962400" y="304800"/>
                </a:lnTo>
                <a:lnTo>
                  <a:pt x="3962400" y="4572000"/>
                </a:lnTo>
                <a:close/>
                <a:moveTo>
                  <a:pt x="3276600" y="2286000"/>
                </a:moveTo>
                <a:lnTo>
                  <a:pt x="2057400" y="2286000"/>
                </a:lnTo>
                <a:cubicBezTo>
                  <a:pt x="2015490" y="2286000"/>
                  <a:pt x="1981200" y="2320290"/>
                  <a:pt x="1981200" y="2362200"/>
                </a:cubicBezTo>
                <a:lnTo>
                  <a:pt x="1981200" y="2514600"/>
                </a:lnTo>
                <a:cubicBezTo>
                  <a:pt x="1981200" y="2556510"/>
                  <a:pt x="2015490" y="2590800"/>
                  <a:pt x="2057400" y="2590800"/>
                </a:cubicBezTo>
                <a:lnTo>
                  <a:pt x="3276600" y="2590800"/>
                </a:lnTo>
                <a:cubicBezTo>
                  <a:pt x="3318510" y="2590800"/>
                  <a:pt x="3352800" y="2556510"/>
                  <a:pt x="3352800" y="2514600"/>
                </a:cubicBezTo>
                <a:lnTo>
                  <a:pt x="3352800" y="2362200"/>
                </a:lnTo>
                <a:cubicBezTo>
                  <a:pt x="3352800" y="2320290"/>
                  <a:pt x="3318510" y="2286000"/>
                  <a:pt x="3276600" y="2286000"/>
                </a:cubicBezTo>
                <a:close/>
                <a:moveTo>
                  <a:pt x="1371600" y="3200400"/>
                </a:moveTo>
                <a:lnTo>
                  <a:pt x="1066800" y="3200400"/>
                </a:lnTo>
                <a:cubicBezTo>
                  <a:pt x="898208" y="3200400"/>
                  <a:pt x="762000" y="3337560"/>
                  <a:pt x="762000" y="3505200"/>
                </a:cubicBezTo>
                <a:lnTo>
                  <a:pt x="762000" y="3810000"/>
                </a:lnTo>
                <a:cubicBezTo>
                  <a:pt x="762000" y="3977640"/>
                  <a:pt x="898208" y="4114800"/>
                  <a:pt x="1066800" y="4114800"/>
                </a:cubicBezTo>
                <a:lnTo>
                  <a:pt x="1371600" y="4114800"/>
                </a:lnTo>
                <a:cubicBezTo>
                  <a:pt x="1540193" y="4114800"/>
                  <a:pt x="1676400" y="3977640"/>
                  <a:pt x="1676400" y="3810000"/>
                </a:cubicBezTo>
                <a:lnTo>
                  <a:pt x="1676400" y="3505200"/>
                </a:lnTo>
                <a:cubicBezTo>
                  <a:pt x="1676400" y="3337560"/>
                  <a:pt x="1540193" y="3200400"/>
                  <a:pt x="1371600" y="3200400"/>
                </a:cubicBezTo>
                <a:close/>
                <a:moveTo>
                  <a:pt x="1371600" y="3810000"/>
                </a:moveTo>
                <a:lnTo>
                  <a:pt x="1066800" y="3810000"/>
                </a:lnTo>
                <a:lnTo>
                  <a:pt x="1066800" y="3505200"/>
                </a:lnTo>
                <a:lnTo>
                  <a:pt x="1371600" y="3505200"/>
                </a:lnTo>
                <a:lnTo>
                  <a:pt x="1371600" y="3810000"/>
                </a:lnTo>
                <a:close/>
                <a:moveTo>
                  <a:pt x="3276600" y="3505200"/>
                </a:moveTo>
                <a:lnTo>
                  <a:pt x="2057400" y="3505200"/>
                </a:lnTo>
                <a:cubicBezTo>
                  <a:pt x="2015490" y="3505200"/>
                  <a:pt x="1981200" y="3539490"/>
                  <a:pt x="1981200" y="3581400"/>
                </a:cubicBezTo>
                <a:lnTo>
                  <a:pt x="1981200" y="3733800"/>
                </a:lnTo>
                <a:cubicBezTo>
                  <a:pt x="1981200" y="3775710"/>
                  <a:pt x="2015490" y="3810000"/>
                  <a:pt x="2057400" y="3810000"/>
                </a:cubicBezTo>
                <a:lnTo>
                  <a:pt x="3276600" y="3810000"/>
                </a:lnTo>
                <a:cubicBezTo>
                  <a:pt x="3318510" y="3810000"/>
                  <a:pt x="3352800" y="3775710"/>
                  <a:pt x="3352800" y="3733800"/>
                </a:cubicBezTo>
                <a:lnTo>
                  <a:pt x="3352800" y="3581400"/>
                </a:lnTo>
                <a:cubicBezTo>
                  <a:pt x="3352800" y="3539490"/>
                  <a:pt x="3318510" y="3505200"/>
                  <a:pt x="3276600" y="3505200"/>
                </a:cubicBezTo>
                <a:close/>
                <a:moveTo>
                  <a:pt x="3276600" y="1066800"/>
                </a:moveTo>
                <a:lnTo>
                  <a:pt x="2057400" y="1066800"/>
                </a:lnTo>
                <a:cubicBezTo>
                  <a:pt x="2015490" y="1066800"/>
                  <a:pt x="1981200" y="1101090"/>
                  <a:pt x="1981200" y="1143000"/>
                </a:cubicBezTo>
                <a:lnTo>
                  <a:pt x="1981200" y="1295400"/>
                </a:lnTo>
                <a:cubicBezTo>
                  <a:pt x="1981200" y="1337310"/>
                  <a:pt x="2015490" y="1371600"/>
                  <a:pt x="2057400" y="1371600"/>
                </a:cubicBezTo>
                <a:lnTo>
                  <a:pt x="3276600" y="1371600"/>
                </a:lnTo>
                <a:cubicBezTo>
                  <a:pt x="3318510" y="1371600"/>
                  <a:pt x="3352800" y="1337310"/>
                  <a:pt x="3352800" y="1295400"/>
                </a:cubicBezTo>
                <a:lnTo>
                  <a:pt x="3352800" y="1143000"/>
                </a:lnTo>
                <a:cubicBezTo>
                  <a:pt x="3352800" y="1101090"/>
                  <a:pt x="3318510" y="1066800"/>
                  <a:pt x="3276600" y="1066800"/>
                </a:cubicBezTo>
                <a:close/>
                <a:moveTo>
                  <a:pt x="1371600" y="1981200"/>
                </a:moveTo>
                <a:lnTo>
                  <a:pt x="1066800" y="1981200"/>
                </a:lnTo>
                <a:cubicBezTo>
                  <a:pt x="898208" y="1981200"/>
                  <a:pt x="762000" y="2118360"/>
                  <a:pt x="762000" y="2286000"/>
                </a:cubicBezTo>
                <a:lnTo>
                  <a:pt x="762000" y="2590800"/>
                </a:lnTo>
                <a:cubicBezTo>
                  <a:pt x="762000" y="2758440"/>
                  <a:pt x="898208" y="2895600"/>
                  <a:pt x="1066800" y="2895600"/>
                </a:cubicBezTo>
                <a:lnTo>
                  <a:pt x="1371600" y="2895600"/>
                </a:lnTo>
                <a:cubicBezTo>
                  <a:pt x="1540193" y="2895600"/>
                  <a:pt x="1676400" y="2758440"/>
                  <a:pt x="1676400" y="2590800"/>
                </a:cubicBezTo>
                <a:lnTo>
                  <a:pt x="1676400" y="2286000"/>
                </a:lnTo>
                <a:cubicBezTo>
                  <a:pt x="1676400" y="2118360"/>
                  <a:pt x="1540193" y="1981200"/>
                  <a:pt x="1371600" y="1981200"/>
                </a:cubicBezTo>
                <a:close/>
                <a:moveTo>
                  <a:pt x="1371600" y="2590800"/>
                </a:moveTo>
                <a:lnTo>
                  <a:pt x="1066800" y="2590800"/>
                </a:lnTo>
                <a:lnTo>
                  <a:pt x="1066800" y="2286000"/>
                </a:lnTo>
                <a:lnTo>
                  <a:pt x="1371600" y="2286000"/>
                </a:lnTo>
                <a:lnTo>
                  <a:pt x="1371600" y="2590800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39" name="Graphic 30">
            <a:extLst>
              <a:ext uri="{FF2B5EF4-FFF2-40B4-BE49-F238E27FC236}">
                <a16:creationId xmlns:a16="http://schemas.microsoft.com/office/drawing/2014/main" id="{BCF20FC2-6EE2-45CA-AC06-EE8ED1106D43}"/>
              </a:ext>
            </a:extLst>
          </p:cNvPr>
          <p:cNvSpPr>
            <a:spLocks noChangeAspect="1"/>
          </p:cNvSpPr>
          <p:nvPr/>
        </p:nvSpPr>
        <p:spPr>
          <a:xfrm>
            <a:off x="3496763" y="4953271"/>
            <a:ext cx="311332" cy="311359"/>
          </a:xfrm>
          <a:custGeom>
            <a:avLst/>
            <a:gdLst>
              <a:gd name="connsiteX0" fmla="*/ 4419465 w 4876611"/>
              <a:gd name="connsiteY0" fmla="*/ 41209 h 4877032"/>
              <a:gd name="connsiteX1" fmla="*/ 152265 w 4876611"/>
              <a:gd name="connsiteY1" fmla="*/ 2502469 h 4877032"/>
              <a:gd name="connsiteX2" fmla="*/ 188460 w 4876611"/>
              <a:gd name="connsiteY2" fmla="*/ 3048252 h 4877032"/>
              <a:gd name="connsiteX3" fmla="*/ 1523865 w 4876611"/>
              <a:gd name="connsiteY3" fmla="*/ 3600702 h 4877032"/>
              <a:gd name="connsiteX4" fmla="*/ 1523865 w 4876611"/>
              <a:gd name="connsiteY4" fmla="*/ 4572252 h 4877032"/>
              <a:gd name="connsiteX5" fmla="*/ 2063933 w 4876611"/>
              <a:gd name="connsiteY5" fmla="*/ 4765609 h 4877032"/>
              <a:gd name="connsiteX6" fmla="*/ 2642100 w 4876611"/>
              <a:gd name="connsiteY6" fmla="*/ 4062664 h 4877032"/>
              <a:gd name="connsiteX7" fmla="*/ 3846060 w 4876611"/>
              <a:gd name="connsiteY7" fmla="*/ 4559870 h 4877032"/>
              <a:gd name="connsiteX8" fmla="*/ 4263255 w 4876611"/>
              <a:gd name="connsiteY8" fmla="*/ 4324602 h 4877032"/>
              <a:gd name="connsiteX9" fmla="*/ 4872855 w 4876611"/>
              <a:gd name="connsiteY9" fmla="*/ 351724 h 4877032"/>
              <a:gd name="connsiteX10" fmla="*/ 4419465 w 4876611"/>
              <a:gd name="connsiteY10" fmla="*/ 41209 h 4877032"/>
              <a:gd name="connsiteX11" fmla="*/ 1828665 w 4876611"/>
              <a:gd name="connsiteY11" fmla="*/ 4572252 h 4877032"/>
              <a:gd name="connsiteX12" fmla="*/ 1828665 w 4876611"/>
              <a:gd name="connsiteY12" fmla="*/ 3726432 h 4877032"/>
              <a:gd name="connsiteX13" fmla="*/ 2347778 w 4876611"/>
              <a:gd name="connsiteY13" fmla="*/ 3940744 h 4877032"/>
              <a:gd name="connsiteX14" fmla="*/ 1828665 w 4876611"/>
              <a:gd name="connsiteY14" fmla="*/ 4572252 h 4877032"/>
              <a:gd name="connsiteX15" fmla="*/ 3962265 w 4876611"/>
              <a:gd name="connsiteY15" fmla="*/ 4277930 h 4877032"/>
              <a:gd name="connsiteX16" fmla="*/ 1998210 w 4876611"/>
              <a:gd name="connsiteY16" fmla="*/ 3466399 h 4877032"/>
              <a:gd name="connsiteX17" fmla="*/ 3898448 w 4876611"/>
              <a:gd name="connsiteY17" fmla="*/ 1220404 h 4877032"/>
              <a:gd name="connsiteX18" fmla="*/ 3817485 w 4876611"/>
              <a:gd name="connsiteY18" fmla="*/ 1140394 h 4877032"/>
              <a:gd name="connsiteX19" fmla="*/ 1385753 w 4876611"/>
              <a:gd name="connsiteY19" fmla="*/ 3213034 h 4877032"/>
              <a:gd name="connsiteX20" fmla="*/ 304665 w 4876611"/>
              <a:gd name="connsiteY20" fmla="*/ 2767264 h 4877032"/>
              <a:gd name="connsiteX21" fmla="*/ 4571865 w 4876611"/>
              <a:gd name="connsiteY21" fmla="*/ 305052 h 4877032"/>
              <a:gd name="connsiteX22" fmla="*/ 3962265 w 4876611"/>
              <a:gd name="connsiteY22" fmla="*/ 4277930 h 4877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4876611" h="4877032">
                <a:moveTo>
                  <a:pt x="4419465" y="41209"/>
                </a:moveTo>
                <a:lnTo>
                  <a:pt x="152265" y="2502469"/>
                </a:lnTo>
                <a:cubicBezTo>
                  <a:pt x="-66810" y="2629152"/>
                  <a:pt x="-44902" y="2952049"/>
                  <a:pt x="188460" y="3048252"/>
                </a:cubicBezTo>
                <a:lnTo>
                  <a:pt x="1523865" y="3600702"/>
                </a:lnTo>
                <a:lnTo>
                  <a:pt x="1523865" y="4572252"/>
                </a:lnTo>
                <a:cubicBezTo>
                  <a:pt x="1523865" y="4859907"/>
                  <a:pt x="1883910" y="4984684"/>
                  <a:pt x="2063933" y="4765609"/>
                </a:cubicBezTo>
                <a:lnTo>
                  <a:pt x="2642100" y="4062664"/>
                </a:lnTo>
                <a:lnTo>
                  <a:pt x="3846060" y="4559870"/>
                </a:lnTo>
                <a:cubicBezTo>
                  <a:pt x="4027988" y="4635117"/>
                  <a:pt x="4233728" y="4519864"/>
                  <a:pt x="4263255" y="4324602"/>
                </a:cubicBezTo>
                <a:lnTo>
                  <a:pt x="4872855" y="351724"/>
                </a:lnTo>
                <a:cubicBezTo>
                  <a:pt x="4911908" y="97407"/>
                  <a:pt x="4638540" y="-85473"/>
                  <a:pt x="4419465" y="41209"/>
                </a:cubicBezTo>
                <a:close/>
                <a:moveTo>
                  <a:pt x="1828665" y="4572252"/>
                </a:moveTo>
                <a:lnTo>
                  <a:pt x="1828665" y="3726432"/>
                </a:lnTo>
                <a:lnTo>
                  <a:pt x="2347778" y="3940744"/>
                </a:lnTo>
                <a:lnTo>
                  <a:pt x="1828665" y="4572252"/>
                </a:lnTo>
                <a:close/>
                <a:moveTo>
                  <a:pt x="3962265" y="4277930"/>
                </a:moveTo>
                <a:lnTo>
                  <a:pt x="1998210" y="3466399"/>
                </a:lnTo>
                <a:lnTo>
                  <a:pt x="3898448" y="1220404"/>
                </a:lnTo>
                <a:cubicBezTo>
                  <a:pt x="3944168" y="1167064"/>
                  <a:pt x="3870825" y="1094674"/>
                  <a:pt x="3817485" y="1140394"/>
                </a:cubicBezTo>
                <a:lnTo>
                  <a:pt x="1385753" y="3213034"/>
                </a:lnTo>
                <a:lnTo>
                  <a:pt x="304665" y="2767264"/>
                </a:lnTo>
                <a:lnTo>
                  <a:pt x="4571865" y="305052"/>
                </a:lnTo>
                <a:lnTo>
                  <a:pt x="3962265" y="4277930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41" name="Graphic 468">
            <a:extLst>
              <a:ext uri="{FF2B5EF4-FFF2-40B4-BE49-F238E27FC236}">
                <a16:creationId xmlns:a16="http://schemas.microsoft.com/office/drawing/2014/main" id="{BA4F8115-63DA-4378-90FF-5F26A47CBD87}"/>
              </a:ext>
            </a:extLst>
          </p:cNvPr>
          <p:cNvSpPr>
            <a:spLocks noChangeAspect="1"/>
          </p:cNvSpPr>
          <p:nvPr/>
        </p:nvSpPr>
        <p:spPr>
          <a:xfrm>
            <a:off x="1823094" y="3770190"/>
            <a:ext cx="318332" cy="318332"/>
          </a:xfrm>
          <a:custGeom>
            <a:avLst/>
            <a:gdLst>
              <a:gd name="connsiteX0" fmla="*/ 3289364 w 4876800"/>
              <a:gd name="connsiteY0" fmla="*/ 1737932 h 4876800"/>
              <a:gd name="connsiteX1" fmla="*/ 3235452 w 4876800"/>
              <a:gd name="connsiteY1" fmla="*/ 1715643 h 4876800"/>
              <a:gd name="connsiteX2" fmla="*/ 3181541 w 4876800"/>
              <a:gd name="connsiteY2" fmla="*/ 1737932 h 4876800"/>
              <a:gd name="connsiteX3" fmla="*/ 2157794 w 4876800"/>
              <a:gd name="connsiteY3" fmla="*/ 2761679 h 4876800"/>
              <a:gd name="connsiteX4" fmla="*/ 1695164 w 4876800"/>
              <a:gd name="connsiteY4" fmla="*/ 2299049 h 4876800"/>
              <a:gd name="connsiteX5" fmla="*/ 1641253 w 4876800"/>
              <a:gd name="connsiteY5" fmla="*/ 2276761 h 4876800"/>
              <a:gd name="connsiteX6" fmla="*/ 1587341 w 4876800"/>
              <a:gd name="connsiteY6" fmla="*/ 2299049 h 4876800"/>
              <a:gd name="connsiteX7" fmla="*/ 1479614 w 4876800"/>
              <a:gd name="connsiteY7" fmla="*/ 2406777 h 4876800"/>
              <a:gd name="connsiteX8" fmla="*/ 1479614 w 4876800"/>
              <a:gd name="connsiteY8" fmla="*/ 2514505 h 4876800"/>
              <a:gd name="connsiteX9" fmla="*/ 2103882 w 4876800"/>
              <a:gd name="connsiteY9" fmla="*/ 3138773 h 4876800"/>
              <a:gd name="connsiteX10" fmla="*/ 2157794 w 4876800"/>
              <a:gd name="connsiteY10" fmla="*/ 3161062 h 4876800"/>
              <a:gd name="connsiteX11" fmla="*/ 2211610 w 4876800"/>
              <a:gd name="connsiteY11" fmla="*/ 3138773 h 4876800"/>
              <a:gd name="connsiteX12" fmla="*/ 3396996 w 4876800"/>
              <a:gd name="connsiteY12" fmla="*/ 1953387 h 4876800"/>
              <a:gd name="connsiteX13" fmla="*/ 3396996 w 4876800"/>
              <a:gd name="connsiteY13" fmla="*/ 1845659 h 4876800"/>
              <a:gd name="connsiteX14" fmla="*/ 3289364 w 4876800"/>
              <a:gd name="connsiteY14" fmla="*/ 1737932 h 4876800"/>
              <a:gd name="connsiteX15" fmla="*/ 4876800 w 4876800"/>
              <a:gd name="connsiteY15" fmla="*/ 2438400 h 4876800"/>
              <a:gd name="connsiteX16" fmla="*/ 4404360 w 4876800"/>
              <a:gd name="connsiteY16" fmla="*/ 1624013 h 4876800"/>
              <a:gd name="connsiteX17" fmla="*/ 4162425 w 4876800"/>
              <a:gd name="connsiteY17" fmla="*/ 714375 h 4876800"/>
              <a:gd name="connsiteX18" fmla="*/ 3252788 w 4876800"/>
              <a:gd name="connsiteY18" fmla="*/ 472440 h 4876800"/>
              <a:gd name="connsiteX19" fmla="*/ 2438400 w 4876800"/>
              <a:gd name="connsiteY19" fmla="*/ 0 h 4876800"/>
              <a:gd name="connsiteX20" fmla="*/ 1624013 w 4876800"/>
              <a:gd name="connsiteY20" fmla="*/ 472440 h 4876800"/>
              <a:gd name="connsiteX21" fmla="*/ 714375 w 4876800"/>
              <a:gd name="connsiteY21" fmla="*/ 714375 h 4876800"/>
              <a:gd name="connsiteX22" fmla="*/ 472440 w 4876800"/>
              <a:gd name="connsiteY22" fmla="*/ 1624013 h 4876800"/>
              <a:gd name="connsiteX23" fmla="*/ 0 w 4876800"/>
              <a:gd name="connsiteY23" fmla="*/ 2438400 h 4876800"/>
              <a:gd name="connsiteX24" fmla="*/ 472440 w 4876800"/>
              <a:gd name="connsiteY24" fmla="*/ 3252788 h 4876800"/>
              <a:gd name="connsiteX25" fmla="*/ 714375 w 4876800"/>
              <a:gd name="connsiteY25" fmla="*/ 4162425 h 4876800"/>
              <a:gd name="connsiteX26" fmla="*/ 1624013 w 4876800"/>
              <a:gd name="connsiteY26" fmla="*/ 4404360 h 4876800"/>
              <a:gd name="connsiteX27" fmla="*/ 2438400 w 4876800"/>
              <a:gd name="connsiteY27" fmla="*/ 4876800 h 4876800"/>
              <a:gd name="connsiteX28" fmla="*/ 3252788 w 4876800"/>
              <a:gd name="connsiteY28" fmla="*/ 4404360 h 4876800"/>
              <a:gd name="connsiteX29" fmla="*/ 4162425 w 4876800"/>
              <a:gd name="connsiteY29" fmla="*/ 4162425 h 4876800"/>
              <a:gd name="connsiteX30" fmla="*/ 4404360 w 4876800"/>
              <a:gd name="connsiteY30" fmla="*/ 3252788 h 4876800"/>
              <a:gd name="connsiteX31" fmla="*/ 4876800 w 4876800"/>
              <a:gd name="connsiteY31" fmla="*/ 2438400 h 4876800"/>
              <a:gd name="connsiteX32" fmla="*/ 4009073 w 4876800"/>
              <a:gd name="connsiteY32" fmla="*/ 3088958 h 4876800"/>
              <a:gd name="connsiteX33" fmla="*/ 3947160 w 4876800"/>
              <a:gd name="connsiteY33" fmla="*/ 3947160 h 4876800"/>
              <a:gd name="connsiteX34" fmla="*/ 3088958 w 4876800"/>
              <a:gd name="connsiteY34" fmla="*/ 4009073 h 4876800"/>
              <a:gd name="connsiteX35" fmla="*/ 2438400 w 4876800"/>
              <a:gd name="connsiteY35" fmla="*/ 4572000 h 4876800"/>
              <a:gd name="connsiteX36" fmla="*/ 1787843 w 4876800"/>
              <a:gd name="connsiteY36" fmla="*/ 4009073 h 4876800"/>
              <a:gd name="connsiteX37" fmla="*/ 929640 w 4876800"/>
              <a:gd name="connsiteY37" fmla="*/ 3947160 h 4876800"/>
              <a:gd name="connsiteX38" fmla="*/ 867728 w 4876800"/>
              <a:gd name="connsiteY38" fmla="*/ 3088958 h 4876800"/>
              <a:gd name="connsiteX39" fmla="*/ 304800 w 4876800"/>
              <a:gd name="connsiteY39" fmla="*/ 2438400 h 4876800"/>
              <a:gd name="connsiteX40" fmla="*/ 867728 w 4876800"/>
              <a:gd name="connsiteY40" fmla="*/ 1787843 h 4876800"/>
              <a:gd name="connsiteX41" fmla="*/ 929640 w 4876800"/>
              <a:gd name="connsiteY41" fmla="*/ 929640 h 4876800"/>
              <a:gd name="connsiteX42" fmla="*/ 1787843 w 4876800"/>
              <a:gd name="connsiteY42" fmla="*/ 867728 h 4876800"/>
              <a:gd name="connsiteX43" fmla="*/ 2438400 w 4876800"/>
              <a:gd name="connsiteY43" fmla="*/ 304800 h 4876800"/>
              <a:gd name="connsiteX44" fmla="*/ 3088958 w 4876800"/>
              <a:gd name="connsiteY44" fmla="*/ 867728 h 4876800"/>
              <a:gd name="connsiteX45" fmla="*/ 3947160 w 4876800"/>
              <a:gd name="connsiteY45" fmla="*/ 929640 h 4876800"/>
              <a:gd name="connsiteX46" fmla="*/ 4009073 w 4876800"/>
              <a:gd name="connsiteY46" fmla="*/ 1787843 h 4876800"/>
              <a:gd name="connsiteX47" fmla="*/ 4572000 w 4876800"/>
              <a:gd name="connsiteY47" fmla="*/ 2438400 h 4876800"/>
              <a:gd name="connsiteX48" fmla="*/ 4009073 w 4876800"/>
              <a:gd name="connsiteY48" fmla="*/ 3088958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876800" h="4876800">
                <a:moveTo>
                  <a:pt x="3289364" y="1737932"/>
                </a:moveTo>
                <a:cubicBezTo>
                  <a:pt x="3275076" y="1723625"/>
                  <a:pt x="3255674" y="1715605"/>
                  <a:pt x="3235452" y="1715643"/>
                </a:cubicBezTo>
                <a:cubicBezTo>
                  <a:pt x="3215926" y="1715643"/>
                  <a:pt x="3196399" y="1723073"/>
                  <a:pt x="3181541" y="1737932"/>
                </a:cubicBezTo>
                <a:lnTo>
                  <a:pt x="2157794" y="2761679"/>
                </a:lnTo>
                <a:lnTo>
                  <a:pt x="1695164" y="2299049"/>
                </a:lnTo>
                <a:cubicBezTo>
                  <a:pt x="1680877" y="2284743"/>
                  <a:pt x="1661474" y="2276723"/>
                  <a:pt x="1641253" y="2276761"/>
                </a:cubicBezTo>
                <a:cubicBezTo>
                  <a:pt x="1621727" y="2276761"/>
                  <a:pt x="1602200" y="2284190"/>
                  <a:pt x="1587341" y="2299049"/>
                </a:cubicBezTo>
                <a:lnTo>
                  <a:pt x="1479614" y="2406777"/>
                </a:lnTo>
                <a:cubicBezTo>
                  <a:pt x="1449896" y="2436495"/>
                  <a:pt x="1449896" y="2484787"/>
                  <a:pt x="1479614" y="2514505"/>
                </a:cubicBezTo>
                <a:lnTo>
                  <a:pt x="2103882" y="3138773"/>
                </a:lnTo>
                <a:cubicBezTo>
                  <a:pt x="2118741" y="3153632"/>
                  <a:pt x="2138267" y="3161062"/>
                  <a:pt x="2157794" y="3161062"/>
                </a:cubicBezTo>
                <a:cubicBezTo>
                  <a:pt x="2177320" y="3161062"/>
                  <a:pt x="2196751" y="3153632"/>
                  <a:pt x="2211610" y="3138773"/>
                </a:cubicBezTo>
                <a:lnTo>
                  <a:pt x="3396996" y="1953387"/>
                </a:lnTo>
                <a:cubicBezTo>
                  <a:pt x="3426714" y="1923669"/>
                  <a:pt x="3426714" y="1875377"/>
                  <a:pt x="3396996" y="1845659"/>
                </a:cubicBezTo>
                <a:lnTo>
                  <a:pt x="3289364" y="1737932"/>
                </a:lnTo>
                <a:close/>
                <a:moveTo>
                  <a:pt x="4876800" y="2438400"/>
                </a:moveTo>
                <a:cubicBezTo>
                  <a:pt x="4876800" y="2100263"/>
                  <a:pt x="4692015" y="1788795"/>
                  <a:pt x="4404360" y="1624013"/>
                </a:cubicBezTo>
                <a:cubicBezTo>
                  <a:pt x="4491038" y="1303973"/>
                  <a:pt x="4401503" y="953453"/>
                  <a:pt x="4162425" y="714375"/>
                </a:cubicBezTo>
                <a:cubicBezTo>
                  <a:pt x="3923348" y="475298"/>
                  <a:pt x="3572828" y="385763"/>
                  <a:pt x="3252788" y="472440"/>
                </a:cubicBezTo>
                <a:cubicBezTo>
                  <a:pt x="3088005" y="184785"/>
                  <a:pt x="2776538" y="0"/>
                  <a:pt x="2438400" y="0"/>
                </a:cubicBezTo>
                <a:cubicBezTo>
                  <a:pt x="2100263" y="0"/>
                  <a:pt x="1788795" y="184785"/>
                  <a:pt x="1624013" y="472440"/>
                </a:cubicBezTo>
                <a:cubicBezTo>
                  <a:pt x="1303973" y="385763"/>
                  <a:pt x="953453" y="475298"/>
                  <a:pt x="714375" y="714375"/>
                </a:cubicBezTo>
                <a:cubicBezTo>
                  <a:pt x="475298" y="953453"/>
                  <a:pt x="385763" y="1303973"/>
                  <a:pt x="472440" y="1624013"/>
                </a:cubicBezTo>
                <a:cubicBezTo>
                  <a:pt x="184785" y="1788795"/>
                  <a:pt x="0" y="2100263"/>
                  <a:pt x="0" y="2438400"/>
                </a:cubicBezTo>
                <a:cubicBezTo>
                  <a:pt x="0" y="2776538"/>
                  <a:pt x="184785" y="3088005"/>
                  <a:pt x="472440" y="3252788"/>
                </a:cubicBezTo>
                <a:cubicBezTo>
                  <a:pt x="385763" y="3572828"/>
                  <a:pt x="475298" y="3923348"/>
                  <a:pt x="714375" y="4162425"/>
                </a:cubicBezTo>
                <a:cubicBezTo>
                  <a:pt x="966788" y="4414838"/>
                  <a:pt x="1318260" y="4487228"/>
                  <a:pt x="1624013" y="4404360"/>
                </a:cubicBezTo>
                <a:cubicBezTo>
                  <a:pt x="1789748" y="4692015"/>
                  <a:pt x="2100263" y="4876800"/>
                  <a:pt x="2438400" y="4876800"/>
                </a:cubicBezTo>
                <a:cubicBezTo>
                  <a:pt x="2776538" y="4876800"/>
                  <a:pt x="3087053" y="4692015"/>
                  <a:pt x="3252788" y="4404360"/>
                </a:cubicBezTo>
                <a:cubicBezTo>
                  <a:pt x="3564255" y="4489133"/>
                  <a:pt x="3913823" y="4411028"/>
                  <a:pt x="4162425" y="4162425"/>
                </a:cubicBezTo>
                <a:cubicBezTo>
                  <a:pt x="4401503" y="3923348"/>
                  <a:pt x="4491038" y="3572828"/>
                  <a:pt x="4404360" y="3252788"/>
                </a:cubicBezTo>
                <a:cubicBezTo>
                  <a:pt x="4692015" y="3088005"/>
                  <a:pt x="4876800" y="2776538"/>
                  <a:pt x="4876800" y="2438400"/>
                </a:cubicBezTo>
                <a:close/>
                <a:moveTo>
                  <a:pt x="4009073" y="3088958"/>
                </a:moveTo>
                <a:cubicBezTo>
                  <a:pt x="4059555" y="3201353"/>
                  <a:pt x="4290060" y="3604260"/>
                  <a:pt x="3947160" y="3947160"/>
                </a:cubicBezTo>
                <a:cubicBezTo>
                  <a:pt x="3671888" y="4222433"/>
                  <a:pt x="3399473" y="4150043"/>
                  <a:pt x="3088958" y="4009073"/>
                </a:cubicBezTo>
                <a:cubicBezTo>
                  <a:pt x="3045143" y="4124325"/>
                  <a:pt x="2924175" y="4572000"/>
                  <a:pt x="2438400" y="4572000"/>
                </a:cubicBezTo>
                <a:cubicBezTo>
                  <a:pt x="1942148" y="4572000"/>
                  <a:pt x="1822133" y="4100513"/>
                  <a:pt x="1787843" y="4009073"/>
                </a:cubicBezTo>
                <a:cubicBezTo>
                  <a:pt x="1477328" y="4150043"/>
                  <a:pt x="1203960" y="4220528"/>
                  <a:pt x="929640" y="3947160"/>
                </a:cubicBezTo>
                <a:cubicBezTo>
                  <a:pt x="579120" y="3597593"/>
                  <a:pt x="825818" y="3180398"/>
                  <a:pt x="867728" y="3088958"/>
                </a:cubicBezTo>
                <a:cubicBezTo>
                  <a:pt x="752475" y="3045143"/>
                  <a:pt x="304800" y="2924175"/>
                  <a:pt x="304800" y="2438400"/>
                </a:cubicBezTo>
                <a:cubicBezTo>
                  <a:pt x="304800" y="1942148"/>
                  <a:pt x="776288" y="1822133"/>
                  <a:pt x="867728" y="1787843"/>
                </a:cubicBezTo>
                <a:cubicBezTo>
                  <a:pt x="817245" y="1675448"/>
                  <a:pt x="586740" y="1272540"/>
                  <a:pt x="929640" y="929640"/>
                </a:cubicBezTo>
                <a:cubicBezTo>
                  <a:pt x="1280160" y="578168"/>
                  <a:pt x="1699260" y="827723"/>
                  <a:pt x="1787843" y="867728"/>
                </a:cubicBezTo>
                <a:cubicBezTo>
                  <a:pt x="1831658" y="752475"/>
                  <a:pt x="1952625" y="304800"/>
                  <a:pt x="2438400" y="304800"/>
                </a:cubicBezTo>
                <a:cubicBezTo>
                  <a:pt x="2934653" y="304800"/>
                  <a:pt x="3054668" y="776288"/>
                  <a:pt x="3088958" y="867728"/>
                </a:cubicBezTo>
                <a:cubicBezTo>
                  <a:pt x="3201353" y="817245"/>
                  <a:pt x="3604260" y="586740"/>
                  <a:pt x="3947160" y="929640"/>
                </a:cubicBezTo>
                <a:cubicBezTo>
                  <a:pt x="4297680" y="1279208"/>
                  <a:pt x="4050983" y="1696403"/>
                  <a:pt x="4009073" y="1787843"/>
                </a:cubicBezTo>
                <a:cubicBezTo>
                  <a:pt x="4124325" y="1831658"/>
                  <a:pt x="4572000" y="1952625"/>
                  <a:pt x="4572000" y="2438400"/>
                </a:cubicBezTo>
                <a:cubicBezTo>
                  <a:pt x="4572000" y="2934653"/>
                  <a:pt x="4100513" y="3054668"/>
                  <a:pt x="4009073" y="3088958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42" name="Graphic 663">
            <a:extLst>
              <a:ext uri="{FF2B5EF4-FFF2-40B4-BE49-F238E27FC236}">
                <a16:creationId xmlns:a16="http://schemas.microsoft.com/office/drawing/2014/main" id="{2DBBB3A9-1211-4712-A7F5-835BF6870CF4}"/>
              </a:ext>
            </a:extLst>
          </p:cNvPr>
          <p:cNvSpPr>
            <a:spLocks noChangeAspect="1"/>
          </p:cNvSpPr>
          <p:nvPr/>
        </p:nvSpPr>
        <p:spPr>
          <a:xfrm>
            <a:off x="4259909" y="3913635"/>
            <a:ext cx="239691" cy="319588"/>
          </a:xfrm>
          <a:custGeom>
            <a:avLst/>
            <a:gdLst>
              <a:gd name="connsiteX0" fmla="*/ 2667000 w 3657600"/>
              <a:gd name="connsiteY0" fmla="*/ 2286000 h 4876800"/>
              <a:gd name="connsiteX1" fmla="*/ 1600200 w 3657600"/>
              <a:gd name="connsiteY1" fmla="*/ 2286000 h 4876800"/>
              <a:gd name="connsiteX2" fmla="*/ 1524000 w 3657600"/>
              <a:gd name="connsiteY2" fmla="*/ 2362200 h 4876800"/>
              <a:gd name="connsiteX3" fmla="*/ 1524000 w 3657600"/>
              <a:gd name="connsiteY3" fmla="*/ 2514600 h 4876800"/>
              <a:gd name="connsiteX4" fmla="*/ 1600200 w 3657600"/>
              <a:gd name="connsiteY4" fmla="*/ 2590800 h 4876800"/>
              <a:gd name="connsiteX5" fmla="*/ 2667000 w 3657600"/>
              <a:gd name="connsiteY5" fmla="*/ 2590800 h 4876800"/>
              <a:gd name="connsiteX6" fmla="*/ 2743200 w 3657600"/>
              <a:gd name="connsiteY6" fmla="*/ 2514600 h 4876800"/>
              <a:gd name="connsiteX7" fmla="*/ 2743200 w 3657600"/>
              <a:gd name="connsiteY7" fmla="*/ 2362200 h 4876800"/>
              <a:gd name="connsiteX8" fmla="*/ 2667000 w 3657600"/>
              <a:gd name="connsiteY8" fmla="*/ 2286000 h 4876800"/>
              <a:gd name="connsiteX9" fmla="*/ 2667000 w 3657600"/>
              <a:gd name="connsiteY9" fmla="*/ 3200400 h 4876800"/>
              <a:gd name="connsiteX10" fmla="*/ 1600200 w 3657600"/>
              <a:gd name="connsiteY10" fmla="*/ 3200400 h 4876800"/>
              <a:gd name="connsiteX11" fmla="*/ 1524000 w 3657600"/>
              <a:gd name="connsiteY11" fmla="*/ 3276600 h 4876800"/>
              <a:gd name="connsiteX12" fmla="*/ 1524000 w 3657600"/>
              <a:gd name="connsiteY12" fmla="*/ 3429000 h 4876800"/>
              <a:gd name="connsiteX13" fmla="*/ 1600200 w 3657600"/>
              <a:gd name="connsiteY13" fmla="*/ 3505200 h 4876800"/>
              <a:gd name="connsiteX14" fmla="*/ 2667000 w 3657600"/>
              <a:gd name="connsiteY14" fmla="*/ 3505200 h 4876800"/>
              <a:gd name="connsiteX15" fmla="*/ 2743200 w 3657600"/>
              <a:gd name="connsiteY15" fmla="*/ 3429000 h 4876800"/>
              <a:gd name="connsiteX16" fmla="*/ 2743200 w 3657600"/>
              <a:gd name="connsiteY16" fmla="*/ 3276600 h 4876800"/>
              <a:gd name="connsiteX17" fmla="*/ 2667000 w 3657600"/>
              <a:gd name="connsiteY17" fmla="*/ 3200400 h 4876800"/>
              <a:gd name="connsiteX18" fmla="*/ 1066800 w 3657600"/>
              <a:gd name="connsiteY18" fmla="*/ 2209800 h 4876800"/>
              <a:gd name="connsiteX19" fmla="*/ 838200 w 3657600"/>
              <a:gd name="connsiteY19" fmla="*/ 2438400 h 4876800"/>
              <a:gd name="connsiteX20" fmla="*/ 1066800 w 3657600"/>
              <a:gd name="connsiteY20" fmla="*/ 2667000 h 4876800"/>
              <a:gd name="connsiteX21" fmla="*/ 1295400 w 3657600"/>
              <a:gd name="connsiteY21" fmla="*/ 2438400 h 4876800"/>
              <a:gd name="connsiteX22" fmla="*/ 1066800 w 3657600"/>
              <a:gd name="connsiteY22" fmla="*/ 2209800 h 4876800"/>
              <a:gd name="connsiteX23" fmla="*/ 1066800 w 3657600"/>
              <a:gd name="connsiteY23" fmla="*/ 3124200 h 4876800"/>
              <a:gd name="connsiteX24" fmla="*/ 838200 w 3657600"/>
              <a:gd name="connsiteY24" fmla="*/ 3352800 h 4876800"/>
              <a:gd name="connsiteX25" fmla="*/ 1066800 w 3657600"/>
              <a:gd name="connsiteY25" fmla="*/ 3581400 h 4876800"/>
              <a:gd name="connsiteX26" fmla="*/ 1295400 w 3657600"/>
              <a:gd name="connsiteY26" fmla="*/ 3352800 h 4876800"/>
              <a:gd name="connsiteX27" fmla="*/ 1066800 w 3657600"/>
              <a:gd name="connsiteY27" fmla="*/ 3124200 h 4876800"/>
              <a:gd name="connsiteX28" fmla="*/ 3200400 w 3657600"/>
              <a:gd name="connsiteY28" fmla="*/ 609600 h 4876800"/>
              <a:gd name="connsiteX29" fmla="*/ 2356485 w 3657600"/>
              <a:gd name="connsiteY29" fmla="*/ 609600 h 4876800"/>
              <a:gd name="connsiteX30" fmla="*/ 2362200 w 3657600"/>
              <a:gd name="connsiteY30" fmla="*/ 533400 h 4876800"/>
              <a:gd name="connsiteX31" fmla="*/ 1828800 w 3657600"/>
              <a:gd name="connsiteY31" fmla="*/ 0 h 4876800"/>
              <a:gd name="connsiteX32" fmla="*/ 1295400 w 3657600"/>
              <a:gd name="connsiteY32" fmla="*/ 533400 h 4876800"/>
              <a:gd name="connsiteX33" fmla="*/ 1301115 w 3657600"/>
              <a:gd name="connsiteY33" fmla="*/ 609600 h 4876800"/>
              <a:gd name="connsiteX34" fmla="*/ 457200 w 3657600"/>
              <a:gd name="connsiteY34" fmla="*/ 609600 h 4876800"/>
              <a:gd name="connsiteX35" fmla="*/ 0 w 3657600"/>
              <a:gd name="connsiteY35" fmla="*/ 1066800 h 4876800"/>
              <a:gd name="connsiteX36" fmla="*/ 0 w 3657600"/>
              <a:gd name="connsiteY36" fmla="*/ 4419600 h 4876800"/>
              <a:gd name="connsiteX37" fmla="*/ 457200 w 3657600"/>
              <a:gd name="connsiteY37" fmla="*/ 4876800 h 4876800"/>
              <a:gd name="connsiteX38" fmla="*/ 3200400 w 3657600"/>
              <a:gd name="connsiteY38" fmla="*/ 4876800 h 4876800"/>
              <a:gd name="connsiteX39" fmla="*/ 3657600 w 3657600"/>
              <a:gd name="connsiteY39" fmla="*/ 4419600 h 4876800"/>
              <a:gd name="connsiteX40" fmla="*/ 3657600 w 3657600"/>
              <a:gd name="connsiteY40" fmla="*/ 1066800 h 4876800"/>
              <a:gd name="connsiteX41" fmla="*/ 3200400 w 3657600"/>
              <a:gd name="connsiteY41" fmla="*/ 609600 h 4876800"/>
              <a:gd name="connsiteX42" fmla="*/ 1828800 w 3657600"/>
              <a:gd name="connsiteY42" fmla="*/ 304800 h 4876800"/>
              <a:gd name="connsiteX43" fmla="*/ 2057400 w 3657600"/>
              <a:gd name="connsiteY43" fmla="*/ 533400 h 4876800"/>
              <a:gd name="connsiteX44" fmla="*/ 1828800 w 3657600"/>
              <a:gd name="connsiteY44" fmla="*/ 762000 h 4876800"/>
              <a:gd name="connsiteX45" fmla="*/ 1600200 w 3657600"/>
              <a:gd name="connsiteY45" fmla="*/ 533400 h 4876800"/>
              <a:gd name="connsiteX46" fmla="*/ 1828800 w 3657600"/>
              <a:gd name="connsiteY46" fmla="*/ 304800 h 4876800"/>
              <a:gd name="connsiteX47" fmla="*/ 3352800 w 3657600"/>
              <a:gd name="connsiteY47" fmla="*/ 4419600 h 4876800"/>
              <a:gd name="connsiteX48" fmla="*/ 3200400 w 3657600"/>
              <a:gd name="connsiteY48" fmla="*/ 4572000 h 4876800"/>
              <a:gd name="connsiteX49" fmla="*/ 457200 w 3657600"/>
              <a:gd name="connsiteY49" fmla="*/ 4572000 h 4876800"/>
              <a:gd name="connsiteX50" fmla="*/ 304800 w 3657600"/>
              <a:gd name="connsiteY50" fmla="*/ 4419600 h 4876800"/>
              <a:gd name="connsiteX51" fmla="*/ 304800 w 3657600"/>
              <a:gd name="connsiteY51" fmla="*/ 1066800 h 4876800"/>
              <a:gd name="connsiteX52" fmla="*/ 457200 w 3657600"/>
              <a:gd name="connsiteY52" fmla="*/ 914400 h 4876800"/>
              <a:gd name="connsiteX53" fmla="*/ 914400 w 3657600"/>
              <a:gd name="connsiteY53" fmla="*/ 914400 h 4876800"/>
              <a:gd name="connsiteX54" fmla="*/ 914400 w 3657600"/>
              <a:gd name="connsiteY54" fmla="*/ 1104900 h 4876800"/>
              <a:gd name="connsiteX55" fmla="*/ 1028700 w 3657600"/>
              <a:gd name="connsiteY55" fmla="*/ 1219200 h 4876800"/>
              <a:gd name="connsiteX56" fmla="*/ 2628900 w 3657600"/>
              <a:gd name="connsiteY56" fmla="*/ 1219200 h 4876800"/>
              <a:gd name="connsiteX57" fmla="*/ 2743200 w 3657600"/>
              <a:gd name="connsiteY57" fmla="*/ 1104900 h 4876800"/>
              <a:gd name="connsiteX58" fmla="*/ 2743200 w 3657600"/>
              <a:gd name="connsiteY58" fmla="*/ 914400 h 4876800"/>
              <a:gd name="connsiteX59" fmla="*/ 3200400 w 3657600"/>
              <a:gd name="connsiteY59" fmla="*/ 914400 h 4876800"/>
              <a:gd name="connsiteX60" fmla="*/ 3352800 w 3657600"/>
              <a:gd name="connsiteY60" fmla="*/ 1066800 h 4876800"/>
              <a:gd name="connsiteX61" fmla="*/ 3352800 w 3657600"/>
              <a:gd name="connsiteY61" fmla="*/ 441960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657600" h="4876800">
                <a:moveTo>
                  <a:pt x="2667000" y="2286000"/>
                </a:moveTo>
                <a:lnTo>
                  <a:pt x="1600200" y="2286000"/>
                </a:lnTo>
                <a:cubicBezTo>
                  <a:pt x="1558290" y="2286000"/>
                  <a:pt x="1524000" y="2320290"/>
                  <a:pt x="1524000" y="2362200"/>
                </a:cubicBezTo>
                <a:lnTo>
                  <a:pt x="1524000" y="2514600"/>
                </a:lnTo>
                <a:cubicBezTo>
                  <a:pt x="1524000" y="2556510"/>
                  <a:pt x="1558290" y="2590800"/>
                  <a:pt x="1600200" y="2590800"/>
                </a:cubicBezTo>
                <a:lnTo>
                  <a:pt x="2667000" y="2590800"/>
                </a:lnTo>
                <a:cubicBezTo>
                  <a:pt x="2708910" y="2590800"/>
                  <a:pt x="2743200" y="2556510"/>
                  <a:pt x="2743200" y="2514600"/>
                </a:cubicBezTo>
                <a:lnTo>
                  <a:pt x="2743200" y="2362200"/>
                </a:lnTo>
                <a:cubicBezTo>
                  <a:pt x="2743200" y="2320290"/>
                  <a:pt x="2708910" y="2286000"/>
                  <a:pt x="2667000" y="2286000"/>
                </a:cubicBezTo>
                <a:close/>
                <a:moveTo>
                  <a:pt x="2667000" y="3200400"/>
                </a:moveTo>
                <a:lnTo>
                  <a:pt x="1600200" y="3200400"/>
                </a:lnTo>
                <a:cubicBezTo>
                  <a:pt x="1558290" y="3200400"/>
                  <a:pt x="1524000" y="3234690"/>
                  <a:pt x="1524000" y="3276600"/>
                </a:cubicBezTo>
                <a:lnTo>
                  <a:pt x="1524000" y="3429000"/>
                </a:lnTo>
                <a:cubicBezTo>
                  <a:pt x="1524000" y="3470910"/>
                  <a:pt x="1558290" y="3505200"/>
                  <a:pt x="1600200" y="3505200"/>
                </a:cubicBezTo>
                <a:lnTo>
                  <a:pt x="2667000" y="3505200"/>
                </a:lnTo>
                <a:cubicBezTo>
                  <a:pt x="2708910" y="3505200"/>
                  <a:pt x="2743200" y="3470910"/>
                  <a:pt x="2743200" y="3429000"/>
                </a:cubicBezTo>
                <a:lnTo>
                  <a:pt x="2743200" y="3276600"/>
                </a:lnTo>
                <a:cubicBezTo>
                  <a:pt x="2743200" y="3234690"/>
                  <a:pt x="2708910" y="3200400"/>
                  <a:pt x="2667000" y="3200400"/>
                </a:cubicBezTo>
                <a:close/>
                <a:moveTo>
                  <a:pt x="1066800" y="2209800"/>
                </a:moveTo>
                <a:cubicBezTo>
                  <a:pt x="940118" y="2209800"/>
                  <a:pt x="838200" y="2311718"/>
                  <a:pt x="838200" y="2438400"/>
                </a:cubicBezTo>
                <a:cubicBezTo>
                  <a:pt x="838200" y="2565083"/>
                  <a:pt x="940118" y="2667000"/>
                  <a:pt x="1066800" y="2667000"/>
                </a:cubicBezTo>
                <a:cubicBezTo>
                  <a:pt x="1193483" y="2667000"/>
                  <a:pt x="1295400" y="2565083"/>
                  <a:pt x="1295400" y="2438400"/>
                </a:cubicBezTo>
                <a:cubicBezTo>
                  <a:pt x="1295400" y="2311718"/>
                  <a:pt x="1193483" y="2209800"/>
                  <a:pt x="1066800" y="2209800"/>
                </a:cubicBezTo>
                <a:close/>
                <a:moveTo>
                  <a:pt x="1066800" y="3124200"/>
                </a:moveTo>
                <a:cubicBezTo>
                  <a:pt x="940118" y="3124200"/>
                  <a:pt x="838200" y="3226118"/>
                  <a:pt x="838200" y="3352800"/>
                </a:cubicBezTo>
                <a:cubicBezTo>
                  <a:pt x="838200" y="3479483"/>
                  <a:pt x="940118" y="3581400"/>
                  <a:pt x="1066800" y="3581400"/>
                </a:cubicBezTo>
                <a:cubicBezTo>
                  <a:pt x="1193483" y="3581400"/>
                  <a:pt x="1295400" y="3479483"/>
                  <a:pt x="1295400" y="3352800"/>
                </a:cubicBezTo>
                <a:cubicBezTo>
                  <a:pt x="1295400" y="3226118"/>
                  <a:pt x="1193483" y="3124200"/>
                  <a:pt x="1066800" y="3124200"/>
                </a:cubicBezTo>
                <a:close/>
                <a:moveTo>
                  <a:pt x="3200400" y="609600"/>
                </a:moveTo>
                <a:lnTo>
                  <a:pt x="2356485" y="609600"/>
                </a:lnTo>
                <a:cubicBezTo>
                  <a:pt x="2360295" y="584835"/>
                  <a:pt x="2362200" y="559118"/>
                  <a:pt x="2362200" y="533400"/>
                </a:cubicBezTo>
                <a:cubicBezTo>
                  <a:pt x="2362200" y="239078"/>
                  <a:pt x="2123123" y="0"/>
                  <a:pt x="1828800" y="0"/>
                </a:cubicBezTo>
                <a:cubicBezTo>
                  <a:pt x="1534478" y="0"/>
                  <a:pt x="1295400" y="239078"/>
                  <a:pt x="1295400" y="533400"/>
                </a:cubicBezTo>
                <a:cubicBezTo>
                  <a:pt x="1295400" y="559118"/>
                  <a:pt x="1297305" y="584835"/>
                  <a:pt x="1301115" y="609600"/>
                </a:cubicBezTo>
                <a:lnTo>
                  <a:pt x="457200" y="609600"/>
                </a:lnTo>
                <a:cubicBezTo>
                  <a:pt x="204788" y="609600"/>
                  <a:pt x="0" y="814388"/>
                  <a:pt x="0" y="1066800"/>
                </a:cubicBezTo>
                <a:lnTo>
                  <a:pt x="0" y="4419600"/>
                </a:lnTo>
                <a:cubicBezTo>
                  <a:pt x="0" y="4672013"/>
                  <a:pt x="204788" y="4876800"/>
                  <a:pt x="457200" y="4876800"/>
                </a:cubicBezTo>
                <a:lnTo>
                  <a:pt x="3200400" y="4876800"/>
                </a:lnTo>
                <a:cubicBezTo>
                  <a:pt x="3452813" y="4876800"/>
                  <a:pt x="3657600" y="4672013"/>
                  <a:pt x="3657600" y="4419600"/>
                </a:cubicBezTo>
                <a:lnTo>
                  <a:pt x="3657600" y="1066800"/>
                </a:lnTo>
                <a:cubicBezTo>
                  <a:pt x="3657600" y="814388"/>
                  <a:pt x="3452813" y="609600"/>
                  <a:pt x="3200400" y="609600"/>
                </a:cubicBezTo>
                <a:close/>
                <a:moveTo>
                  <a:pt x="1828800" y="304800"/>
                </a:moveTo>
                <a:cubicBezTo>
                  <a:pt x="1955483" y="304800"/>
                  <a:pt x="2057400" y="406718"/>
                  <a:pt x="2057400" y="533400"/>
                </a:cubicBezTo>
                <a:cubicBezTo>
                  <a:pt x="2057400" y="660083"/>
                  <a:pt x="1955483" y="762000"/>
                  <a:pt x="1828800" y="762000"/>
                </a:cubicBezTo>
                <a:cubicBezTo>
                  <a:pt x="1702118" y="762000"/>
                  <a:pt x="1600200" y="660083"/>
                  <a:pt x="1600200" y="533400"/>
                </a:cubicBezTo>
                <a:cubicBezTo>
                  <a:pt x="1600200" y="406718"/>
                  <a:pt x="1702118" y="304800"/>
                  <a:pt x="1828800" y="304800"/>
                </a:cubicBezTo>
                <a:close/>
                <a:moveTo>
                  <a:pt x="3352800" y="4419600"/>
                </a:moveTo>
                <a:cubicBezTo>
                  <a:pt x="3352800" y="4503420"/>
                  <a:pt x="3284220" y="4572000"/>
                  <a:pt x="3200400" y="4572000"/>
                </a:cubicBezTo>
                <a:lnTo>
                  <a:pt x="457200" y="4572000"/>
                </a:lnTo>
                <a:cubicBezTo>
                  <a:pt x="373380" y="4572000"/>
                  <a:pt x="304800" y="4503420"/>
                  <a:pt x="304800" y="4419600"/>
                </a:cubicBezTo>
                <a:lnTo>
                  <a:pt x="304800" y="1066800"/>
                </a:lnTo>
                <a:cubicBezTo>
                  <a:pt x="304800" y="982980"/>
                  <a:pt x="373380" y="914400"/>
                  <a:pt x="457200" y="914400"/>
                </a:cubicBezTo>
                <a:lnTo>
                  <a:pt x="914400" y="914400"/>
                </a:lnTo>
                <a:lnTo>
                  <a:pt x="914400" y="1104900"/>
                </a:lnTo>
                <a:cubicBezTo>
                  <a:pt x="914400" y="1167765"/>
                  <a:pt x="965835" y="1219200"/>
                  <a:pt x="1028700" y="1219200"/>
                </a:cubicBezTo>
                <a:lnTo>
                  <a:pt x="2628900" y="1219200"/>
                </a:lnTo>
                <a:cubicBezTo>
                  <a:pt x="2691765" y="1219200"/>
                  <a:pt x="2743200" y="1167765"/>
                  <a:pt x="2743200" y="1104900"/>
                </a:cubicBezTo>
                <a:lnTo>
                  <a:pt x="2743200" y="914400"/>
                </a:lnTo>
                <a:lnTo>
                  <a:pt x="3200400" y="914400"/>
                </a:lnTo>
                <a:cubicBezTo>
                  <a:pt x="3284220" y="914400"/>
                  <a:pt x="3352800" y="982980"/>
                  <a:pt x="3352800" y="1066800"/>
                </a:cubicBezTo>
                <a:lnTo>
                  <a:pt x="3352800" y="4419600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  <p:sp>
        <p:nvSpPr>
          <p:cNvPr id="44" name="Graphic 523">
            <a:extLst>
              <a:ext uri="{FF2B5EF4-FFF2-40B4-BE49-F238E27FC236}">
                <a16:creationId xmlns:a16="http://schemas.microsoft.com/office/drawing/2014/main" id="{272FF764-0171-473E-8A87-6F27811C8B7E}"/>
              </a:ext>
            </a:extLst>
          </p:cNvPr>
          <p:cNvSpPr>
            <a:spLocks noChangeAspect="1"/>
          </p:cNvSpPr>
          <p:nvPr/>
        </p:nvSpPr>
        <p:spPr>
          <a:xfrm>
            <a:off x="2573519" y="2788008"/>
            <a:ext cx="192801" cy="308478"/>
          </a:xfrm>
          <a:custGeom>
            <a:avLst/>
            <a:gdLst>
              <a:gd name="connsiteX0" fmla="*/ 2819501 w 3048034"/>
              <a:gd name="connsiteY0" fmla="*/ 1524000 h 4876800"/>
              <a:gd name="connsiteX1" fmla="*/ 1720316 w 3048034"/>
              <a:gd name="connsiteY1" fmla="*/ 1524000 h 4876800"/>
              <a:gd name="connsiteX2" fmla="*/ 2126081 w 3048034"/>
              <a:gd name="connsiteY2" fmla="*/ 287655 h 4876800"/>
              <a:gd name="connsiteX3" fmla="*/ 1905101 w 3048034"/>
              <a:gd name="connsiteY3" fmla="*/ 0 h 4876800"/>
              <a:gd name="connsiteX4" fmla="*/ 533501 w 3048034"/>
              <a:gd name="connsiteY4" fmla="*/ 0 h 4876800"/>
              <a:gd name="connsiteX5" fmla="*/ 306806 w 3048034"/>
              <a:gd name="connsiteY5" fmla="*/ 198120 h 4876800"/>
              <a:gd name="connsiteX6" fmla="*/ 2006 w 3048034"/>
              <a:gd name="connsiteY6" fmla="*/ 2484120 h 4876800"/>
              <a:gd name="connsiteX7" fmla="*/ 228701 w 3048034"/>
              <a:gd name="connsiteY7" fmla="*/ 2743200 h 4876800"/>
              <a:gd name="connsiteX8" fmla="*/ 1359318 w 3048034"/>
              <a:gd name="connsiteY8" fmla="*/ 2743200 h 4876800"/>
              <a:gd name="connsiteX9" fmla="*/ 920216 w 3048034"/>
              <a:gd name="connsiteY9" fmla="*/ 4595813 h 4876800"/>
              <a:gd name="connsiteX10" fmla="*/ 1142148 w 3048034"/>
              <a:gd name="connsiteY10" fmla="*/ 4876800 h 4876800"/>
              <a:gd name="connsiteX11" fmla="*/ 1340268 w 3048034"/>
              <a:gd name="connsiteY11" fmla="*/ 4762500 h 4876800"/>
              <a:gd name="connsiteX12" fmla="*/ 3016668 w 3048034"/>
              <a:gd name="connsiteY12" fmla="*/ 1866900 h 4876800"/>
              <a:gd name="connsiteX13" fmla="*/ 2819501 w 3048034"/>
              <a:gd name="connsiteY13" fmla="*/ 1524000 h 4876800"/>
              <a:gd name="connsiteX14" fmla="*/ 1336458 w 3048034"/>
              <a:gd name="connsiteY14" fmla="*/ 4161473 h 4876800"/>
              <a:gd name="connsiteX15" fmla="*/ 1655546 w 3048034"/>
              <a:gd name="connsiteY15" fmla="*/ 2812733 h 4876800"/>
              <a:gd name="connsiteX16" fmla="*/ 1744128 w 3048034"/>
              <a:gd name="connsiteY16" fmla="*/ 2437448 h 4876800"/>
              <a:gd name="connsiteX17" fmla="*/ 315378 w 3048034"/>
              <a:gd name="connsiteY17" fmla="*/ 2437448 h 4876800"/>
              <a:gd name="connsiteX18" fmla="*/ 600176 w 3048034"/>
              <a:gd name="connsiteY18" fmla="*/ 304800 h 4876800"/>
              <a:gd name="connsiteX19" fmla="*/ 1799373 w 3048034"/>
              <a:gd name="connsiteY19" fmla="*/ 304800 h 4876800"/>
              <a:gd name="connsiteX20" fmla="*/ 1430756 w 3048034"/>
              <a:gd name="connsiteY20" fmla="*/ 1428750 h 4876800"/>
              <a:gd name="connsiteX21" fmla="*/ 1299311 w 3048034"/>
              <a:gd name="connsiteY21" fmla="*/ 1828800 h 4876800"/>
              <a:gd name="connsiteX22" fmla="*/ 2687103 w 3048034"/>
              <a:gd name="connsiteY22" fmla="*/ 1828800 h 4876800"/>
              <a:gd name="connsiteX23" fmla="*/ 1336458 w 3048034"/>
              <a:gd name="connsiteY23" fmla="*/ 4161473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048034" h="4876800">
                <a:moveTo>
                  <a:pt x="2819501" y="1524000"/>
                </a:moveTo>
                <a:lnTo>
                  <a:pt x="1720316" y="1524000"/>
                </a:lnTo>
                <a:lnTo>
                  <a:pt x="2126081" y="287655"/>
                </a:lnTo>
                <a:cubicBezTo>
                  <a:pt x="2164181" y="142875"/>
                  <a:pt x="2054643" y="0"/>
                  <a:pt x="1905101" y="0"/>
                </a:cubicBezTo>
                <a:lnTo>
                  <a:pt x="533501" y="0"/>
                </a:lnTo>
                <a:cubicBezTo>
                  <a:pt x="419201" y="0"/>
                  <a:pt x="322046" y="84773"/>
                  <a:pt x="306806" y="198120"/>
                </a:cubicBezTo>
                <a:lnTo>
                  <a:pt x="2006" y="2484120"/>
                </a:lnTo>
                <a:cubicBezTo>
                  <a:pt x="-16092" y="2621280"/>
                  <a:pt x="90588" y="2743200"/>
                  <a:pt x="228701" y="2743200"/>
                </a:cubicBezTo>
                <a:lnTo>
                  <a:pt x="1359318" y="2743200"/>
                </a:lnTo>
                <a:lnTo>
                  <a:pt x="920216" y="4595813"/>
                </a:lnTo>
                <a:cubicBezTo>
                  <a:pt x="885926" y="4740593"/>
                  <a:pt x="996416" y="4876800"/>
                  <a:pt x="1142148" y="4876800"/>
                </a:cubicBezTo>
                <a:cubicBezTo>
                  <a:pt x="1221206" y="4876800"/>
                  <a:pt x="1298358" y="4834890"/>
                  <a:pt x="1340268" y="4762500"/>
                </a:cubicBezTo>
                <a:lnTo>
                  <a:pt x="3016668" y="1866900"/>
                </a:lnTo>
                <a:cubicBezTo>
                  <a:pt x="3105251" y="1715453"/>
                  <a:pt x="2995713" y="1524000"/>
                  <a:pt x="2819501" y="1524000"/>
                </a:cubicBezTo>
                <a:close/>
                <a:moveTo>
                  <a:pt x="1336458" y="4161473"/>
                </a:moveTo>
                <a:lnTo>
                  <a:pt x="1655546" y="2812733"/>
                </a:lnTo>
                <a:lnTo>
                  <a:pt x="1744128" y="2437448"/>
                </a:lnTo>
                <a:lnTo>
                  <a:pt x="315378" y="2437448"/>
                </a:lnTo>
                <a:lnTo>
                  <a:pt x="600176" y="304800"/>
                </a:lnTo>
                <a:lnTo>
                  <a:pt x="1799373" y="304800"/>
                </a:lnTo>
                <a:lnTo>
                  <a:pt x="1430756" y="1428750"/>
                </a:lnTo>
                <a:lnTo>
                  <a:pt x="1299311" y="1828800"/>
                </a:lnTo>
                <a:lnTo>
                  <a:pt x="2687103" y="1828800"/>
                </a:lnTo>
                <a:lnTo>
                  <a:pt x="1336458" y="4161473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14730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TA PowerPoint Vorlage">
  <a:themeElements>
    <a:clrScheme name="PTA 2020">
      <a:dk1>
        <a:srgbClr val="404040"/>
      </a:dk1>
      <a:lt1>
        <a:sysClr val="window" lastClr="FFFFFF"/>
      </a:lt1>
      <a:dk2>
        <a:srgbClr val="E6E6E6"/>
      </a:dk2>
      <a:lt2>
        <a:srgbClr val="FDDC35"/>
      </a:lt2>
      <a:accent1>
        <a:srgbClr val="006FB9"/>
      </a:accent1>
      <a:accent2>
        <a:srgbClr val="004676"/>
      </a:accent2>
      <a:accent3>
        <a:srgbClr val="9FD8FF"/>
      </a:accent3>
      <a:accent4>
        <a:srgbClr val="787878"/>
      </a:accent4>
      <a:accent5>
        <a:srgbClr val="AFAFAF"/>
      </a:accent5>
      <a:accent6>
        <a:srgbClr val="E6E6E6"/>
      </a:accent6>
      <a:hlink>
        <a:srgbClr val="004676"/>
      </a:hlink>
      <a:folHlink>
        <a:srgbClr val="787878"/>
      </a:folHlink>
    </a:clrScheme>
    <a:fontScheme name="PTA 2020">
      <a:majorFont>
        <a:latin typeface="Segoe UI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/>
      <a:lstStyle>
        <a:defPPr marL="216000" indent="-216000" algn="l">
          <a:spcBef>
            <a:spcPts val="600"/>
          </a:spcBef>
          <a:buFont typeface="Wingdings" panose="05000000000000000000" pitchFamily="2" charset="2"/>
          <a:buChar char="§"/>
          <a:defRPr dirty="0" err="1" smtClean="0">
            <a:solidFill>
              <a:schemeClr val="bg1"/>
            </a:solidFill>
            <a:latin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16000" indent="-216000" algn="l">
          <a:spcBef>
            <a:spcPts val="600"/>
          </a:spcBef>
          <a:buClr>
            <a:schemeClr val="accent1"/>
          </a:buClr>
          <a:buFont typeface="Wingdings" panose="05000000000000000000" pitchFamily="2" charset="2"/>
          <a:buChar char="§"/>
          <a:defRPr dirty="0" err="1" smtClean="0"/>
        </a:defPPr>
      </a:lstStyle>
    </a:txDef>
  </a:objectDefaults>
  <a:extraClrSchemeLst/>
  <a:custClrLst>
    <a:custClr>
      <a:srgbClr val="00B070"/>
    </a:custClr>
    <a:custClr>
      <a:srgbClr val="EAB500"/>
    </a:custClr>
    <a:custClr>
      <a:srgbClr val="D91E18"/>
    </a:custClr>
  </a:custClrLst>
  <a:extLst>
    <a:ext uri="{05A4C25C-085E-4340-85A3-A5531E510DB2}">
      <thm15:themeFamily xmlns:thm15="http://schemas.microsoft.com/office/thememl/2012/main" name="PTA_PowerPoint-Vorlage_scr06.potx" id="{8474E750-49A7-4853-93FC-C83DC88B73DE}" vid="{11DC2C5A-A135-4339-B0D8-2B33272DAA9F}"/>
    </a:ext>
  </a:extLst>
</a:theme>
</file>

<file path=ppt/theme/theme2.xml><?xml version="1.0" encoding="utf-8"?>
<a:theme xmlns:a="http://schemas.openxmlformats.org/drawingml/2006/main" name="Office">
  <a:themeElements>
    <a:clrScheme name="PTA 2020">
      <a:dk1>
        <a:srgbClr val="404040"/>
      </a:dk1>
      <a:lt1>
        <a:sysClr val="window" lastClr="FFFFFF"/>
      </a:lt1>
      <a:dk2>
        <a:srgbClr val="FDDC35"/>
      </a:dk2>
      <a:lt2>
        <a:srgbClr val="E6E6E6"/>
      </a:lt2>
      <a:accent1>
        <a:srgbClr val="006FB9"/>
      </a:accent1>
      <a:accent2>
        <a:srgbClr val="004676"/>
      </a:accent2>
      <a:accent3>
        <a:srgbClr val="9FD8FF"/>
      </a:accent3>
      <a:accent4>
        <a:srgbClr val="787878"/>
      </a:accent4>
      <a:accent5>
        <a:srgbClr val="AFAFAF"/>
      </a:accent5>
      <a:accent6>
        <a:srgbClr val="E6E6E6"/>
      </a:accent6>
      <a:hlink>
        <a:srgbClr val="004676"/>
      </a:hlink>
      <a:folHlink>
        <a:srgbClr val="787878"/>
      </a:folHlink>
    </a:clrScheme>
    <a:fontScheme name="PTA 2020">
      <a:majorFont>
        <a:latin typeface="Segoe UI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PTA 2020">
      <a:dk1>
        <a:srgbClr val="404040"/>
      </a:dk1>
      <a:lt1>
        <a:sysClr val="window" lastClr="FFFFFF"/>
      </a:lt1>
      <a:dk2>
        <a:srgbClr val="FDDC35"/>
      </a:dk2>
      <a:lt2>
        <a:srgbClr val="E6E6E6"/>
      </a:lt2>
      <a:accent1>
        <a:srgbClr val="006FB9"/>
      </a:accent1>
      <a:accent2>
        <a:srgbClr val="004676"/>
      </a:accent2>
      <a:accent3>
        <a:srgbClr val="9FD8FF"/>
      </a:accent3>
      <a:accent4>
        <a:srgbClr val="787878"/>
      </a:accent4>
      <a:accent5>
        <a:srgbClr val="AFAFAF"/>
      </a:accent5>
      <a:accent6>
        <a:srgbClr val="E6E6E6"/>
      </a:accent6>
      <a:hlink>
        <a:srgbClr val="004676"/>
      </a:hlink>
      <a:folHlink>
        <a:srgbClr val="787878"/>
      </a:folHlink>
    </a:clrScheme>
    <a:fontScheme name="PTA 2020">
      <a:majorFont>
        <a:latin typeface="Segoe UI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6045AD7561FD54CA694401EF350EFAE" ma:contentTypeVersion="4" ma:contentTypeDescription="Ein neues Dokument erstellen." ma:contentTypeScope="" ma:versionID="4da68b5563d5318203b784adb299401e">
  <xsd:schema xmlns:xsd="http://www.w3.org/2001/XMLSchema" xmlns:xs="http://www.w3.org/2001/XMLSchema" xmlns:p="http://schemas.microsoft.com/office/2006/metadata/properties" xmlns:ns2="2b9e7b5d-5b8a-4bc0-a0ec-9cb005eaf0c4" xmlns:ns3="e0a91268-4c48-4740-bdd2-d270fc497c8c" targetNamespace="http://schemas.microsoft.com/office/2006/metadata/properties" ma:root="true" ma:fieldsID="826cda13f778c04e89162f42e4806be4" ns2:_="" ns3:_="">
    <xsd:import namespace="2b9e7b5d-5b8a-4bc0-a0ec-9cb005eaf0c4"/>
    <xsd:import namespace="e0a91268-4c48-4740-bdd2-d270fc497c8c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Branche" minOccurs="0"/>
                <xsd:element ref="ns3:Themen" minOccurs="0"/>
                <xsd:element ref="ns3:Autor"/>
                <xsd:element ref="ns3:Stichwor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9e7b5d-5b8a-4bc0-a0ec-9cb005eaf0c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a91268-4c48-4740-bdd2-d270fc497c8c" elementFormDefault="qualified">
    <xsd:import namespace="http://schemas.microsoft.com/office/2006/documentManagement/types"/>
    <xsd:import namespace="http://schemas.microsoft.com/office/infopath/2007/PartnerControls"/>
    <xsd:element name="Branche" ma:index="11" nillable="true" ma:displayName="Branche" ma:default="Branchen-unabhängig" ma:internalName="Branche" ma:requiredMultiChoice="tru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Branchen-unabhängig"/>
                    <xsd:enumeration value="Medizintechnik"/>
                    <xsd:enumeration value="Gesundheitswesen"/>
                    <xsd:enumeration value="Energie"/>
                    <xsd:enumeration value="Handel"/>
                    <xsd:enumeration value="Logistik"/>
                    <xsd:enumeration value="Banken"/>
                    <xsd:enumeration value="Versicherungen"/>
                    <xsd:enumeration value="Anlagen- &amp; Maschinenbau"/>
                    <xsd:enumeration value="Automotive"/>
                    <xsd:enumeration value="Bauwesen"/>
                  </xsd:restriction>
                </xsd:simpleType>
              </xsd:element>
            </xsd:sequence>
          </xsd:extension>
        </xsd:complexContent>
      </xsd:complexType>
    </xsd:element>
    <xsd:element name="Themen" ma:index="12" nillable="true" ma:displayName="Themen" ma:default="Themen-übergreifend" ma:internalName="Themen" ma:requiredMultiChoice="tru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Themen-übergreifend"/>
                    <xsd:enumeration value="Software-Entwicklung"/>
                    <xsd:enumeration value="SAP"/>
                    <xsd:enumeration value="CRM &amp; Customer Experience"/>
                    <xsd:enumeration value="KI &amp; Big Data"/>
                    <xsd:enumeration value="Digitale Prozesse"/>
                    <xsd:enumeration value="Qualitätssicherung"/>
                    <xsd:enumeration value="Digitale Transformation"/>
                    <xsd:enumeration value="Beratung"/>
                    <xsd:enumeration value="Support &amp; Service"/>
                  </xsd:restriction>
                </xsd:simpleType>
              </xsd:element>
            </xsd:sequence>
          </xsd:extension>
        </xsd:complexContent>
      </xsd:complexType>
    </xsd:element>
    <xsd:element name="Autor" ma:index="13" ma:displayName="Autor" ma:internalName="Autor">
      <xsd:simpleType>
        <xsd:restriction base="dms:Text">
          <xsd:maxLength value="255"/>
        </xsd:restriction>
      </xsd:simpleType>
    </xsd:element>
    <xsd:element name="Stichworte" ma:index="14" nillable="true" ma:displayName="Stichworte" ma:internalName="Stichwort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tor xmlns="e0a91268-4c48-4740-bdd2-d270fc497c8c">Frank Heise</Autor>
    <Themen xmlns="e0a91268-4c48-4740-bdd2-d270fc497c8c">
      <Value>Qualitätssicherung</Value>
    </Themen>
    <Stichworte xmlns="e0a91268-4c48-4740-bdd2-d270fc497c8c">Inflectra, Spira</Stichworte>
    <Branche xmlns="e0a91268-4c48-4740-bdd2-d270fc497c8c">
      <Value>Branchen-unabhängig</Value>
    </Branche>
    <_dlc_DocId xmlns="2b9e7b5d-5b8a-4bc0-a0ec-9cb005eaf0c4">SWKSCE64NFV6-881477543-8</_dlc_DocId>
    <_dlc_DocIdUrl xmlns="2b9e7b5d-5b8a-4bc0-a0ec-9cb005eaf0c4">
      <Url>https://sharepoint.pta.de/organisation/Allgemein/Vertrieb/_layouts/15/DocIdRedir.aspx?ID=SWKSCE64NFV6-881477543-8</Url>
      <Description>SWKSCE64NFV6-881477543-8</Description>
    </_dlc_DocIdUrl>
  </documentManagement>
</p:properties>
</file>

<file path=customXml/itemProps1.xml><?xml version="1.0" encoding="utf-8"?>
<ds:datastoreItem xmlns:ds="http://schemas.openxmlformats.org/officeDocument/2006/customXml" ds:itemID="{747D5175-2B8B-4498-8453-41A1BC47E2F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9e7b5d-5b8a-4bc0-a0ec-9cb005eaf0c4"/>
    <ds:schemaRef ds:uri="e0a91268-4c48-4740-bdd2-d270fc497c8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FB11CE6-15BD-496B-B278-7A02F099FA69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AE150476-6A02-4A2E-BB25-845CB5B41346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E2AD7004-2863-4C98-AA5A-71F160BCD528}">
  <ds:schemaRefs>
    <ds:schemaRef ds:uri="e0a91268-4c48-4740-bdd2-d270fc497c8c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2b9e7b5d-5b8a-4bc0-a0ec-9cb005eaf0c4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TA_PowerPoint-Vorlage_scr06</Template>
  <TotalTime>0</TotalTime>
  <Words>1337</Words>
  <Application>Microsoft Office PowerPoint</Application>
  <PresentationFormat>Breitbild</PresentationFormat>
  <Paragraphs>238</Paragraphs>
  <Slides>23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31" baseType="lpstr">
      <vt:lpstr>Arial</vt:lpstr>
      <vt:lpstr>Georgia</vt:lpstr>
      <vt:lpstr>Helvetica Neue Thin</vt:lpstr>
      <vt:lpstr>Segoe UI</vt:lpstr>
      <vt:lpstr>Segoe UI Light</vt:lpstr>
      <vt:lpstr>Wingdings</vt:lpstr>
      <vt:lpstr>PTA PowerPoint Vorlage</vt:lpstr>
      <vt:lpstr>think-cell Slide</vt:lpstr>
      <vt:lpstr>Vorstellung Inflectra</vt:lpstr>
      <vt:lpstr>Agenda</vt:lpstr>
      <vt:lpstr>Einführung</vt:lpstr>
      <vt:lpstr>Ein starkes Team</vt:lpstr>
      <vt:lpstr>Inflectra und deren Produkte</vt:lpstr>
      <vt:lpstr>Inflectra</vt:lpstr>
      <vt:lpstr>Funktionsumfang der Spira-Produkte</vt:lpstr>
      <vt:lpstr>Funktionsumfang der Spira-Produkte</vt:lpstr>
      <vt:lpstr>ALM – Application Lifecycle Management</vt:lpstr>
      <vt:lpstr>Auswahl wichtiger Funktionen</vt:lpstr>
      <vt:lpstr>Transparenz und Traceability</vt:lpstr>
      <vt:lpstr>Schnittstellen „Out-of-the-box“</vt:lpstr>
      <vt:lpstr>Rapise® – intelligente Testautomation</vt:lpstr>
      <vt:lpstr>Referenzkunden</vt:lpstr>
      <vt:lpstr>Portfolio der PTA</vt:lpstr>
      <vt:lpstr>Unternehmensprofil PTA GmbH</vt:lpstr>
      <vt:lpstr>Die PTA bietet das gesamte Leistungsspektrum  einer IT-Unternehmensberatung an</vt:lpstr>
      <vt:lpstr>Mehrwert der PTA im Bereich der QS</vt:lpstr>
      <vt:lpstr>Dienstleistungen als Inflectra-Partner</vt:lpstr>
      <vt:lpstr>Hosting der Inflectra-Produkte</vt:lpstr>
      <vt:lpstr>Unternehmensprofil DATIS</vt:lpstr>
      <vt:lpstr>SpiraTeam- und SpiraTest-Hosting-Lösungen von DATIS</vt:lpstr>
      <vt:lpstr>SpiraTeam- und SpiraTest-Hosting-Lösungen von DATIS</vt:lpstr>
    </vt:vector>
  </TitlesOfParts>
  <Manager>Name Nachname</Manager>
  <Company>PTA Unternehmensberatu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youtübersicht</dc:title>
  <dc:creator>Lisa</dc:creator>
  <dc:description>Optimiert für PowerPoint 2016 und Office 365</dc:description>
  <cp:lastModifiedBy>Frank Heise</cp:lastModifiedBy>
  <cp:revision>123</cp:revision>
  <dcterms:created xsi:type="dcterms:W3CDTF">2021-02-10T10:35:19Z</dcterms:created>
  <dcterms:modified xsi:type="dcterms:W3CDTF">2021-11-13T08:44:44Z</dcterms:modified>
  <cp:category>PPT Master Vorlag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045AD7561FD54CA694401EF350EFAE</vt:lpwstr>
  </property>
  <property fmtid="{D5CDD505-2E9C-101B-9397-08002B2CF9AE}" pid="3" name="_dlc_DocIdItemGuid">
    <vt:lpwstr>42f25c86-7c95-4648-b098-1669580faf6a</vt:lpwstr>
  </property>
</Properties>
</file>